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6.xml" ContentType="application/vnd.openxmlformats-officedocument.presentationml.tags+xml"/>
  <Override PartName="/ppt/notesSlides/notesSlide3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9.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21.xml" ContentType="application/vnd.openxmlformats-officedocument.presentationml.tags+xml"/>
  <Override PartName="/ppt/tags/tag2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5.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tags/tag25.xml" ContentType="application/vnd.openxmlformats-officedocument.presentationml.tags+xml"/>
  <Override PartName="/ppt/notesSlides/notesSlide4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4.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57.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58.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33.xml" ContentType="application/vnd.openxmlformats-officedocument.presentationml.tags+xml"/>
  <Override PartName="/ppt/notesSlides/notesSlide5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60.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6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67.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40.xml" ContentType="application/vnd.openxmlformats-officedocument.presentationml.tags+xml"/>
  <Override PartName="/ppt/notesSlides/notesSlide6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7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76.xml" ContentType="application/vnd.openxmlformats-officedocument.presentationml.notesSlide+xml"/>
  <Override PartName="/ppt/tags/tag47.xml" ContentType="application/vnd.openxmlformats-officedocument.presentationml.tags+xml"/>
  <Override PartName="/ppt/notesSlides/notesSlide7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8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83.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84.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tags/tag52.xml" ContentType="application/vnd.openxmlformats-officedocument.presentationml.tags+xml"/>
  <Override PartName="/ppt/notesSlides/notesSlide8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8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91.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92.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tags/tag57.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97.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tags/tag58.xml" ContentType="application/vnd.openxmlformats-officedocument.presentationml.tags+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00.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101.xml" ContentType="application/vnd.openxmlformats-officedocument.presentationml.notesSlide+xml"/>
  <Override PartName="/ppt/tags/tag59.xml" ContentType="application/vnd.openxmlformats-officedocument.presentationml.tags+xml"/>
  <Override PartName="/ppt/notesSlides/notesSlide10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0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106.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24"/>
  </p:sldMasterIdLst>
  <p:notesMasterIdLst>
    <p:notesMasterId r:id="rId134"/>
  </p:notesMasterIdLst>
  <p:handoutMasterIdLst>
    <p:handoutMasterId r:id="rId135"/>
  </p:handoutMasterIdLst>
  <p:sldIdLst>
    <p:sldId id="260" r:id="rId25"/>
    <p:sldId id="258" r:id="rId26"/>
    <p:sldId id="562" r:id="rId27"/>
    <p:sldId id="561" r:id="rId28"/>
    <p:sldId id="534" r:id="rId29"/>
    <p:sldId id="639" r:id="rId30"/>
    <p:sldId id="640" r:id="rId31"/>
    <p:sldId id="641" r:id="rId32"/>
    <p:sldId id="560" r:id="rId33"/>
    <p:sldId id="563" r:id="rId34"/>
    <p:sldId id="564" r:id="rId35"/>
    <p:sldId id="565" r:id="rId36"/>
    <p:sldId id="651" r:id="rId37"/>
    <p:sldId id="652" r:id="rId38"/>
    <p:sldId id="653" r:id="rId39"/>
    <p:sldId id="654" r:id="rId40"/>
    <p:sldId id="567" r:id="rId41"/>
    <p:sldId id="569" r:id="rId42"/>
    <p:sldId id="650" r:id="rId43"/>
    <p:sldId id="571" r:id="rId44"/>
    <p:sldId id="572" r:id="rId45"/>
    <p:sldId id="655" r:id="rId46"/>
    <p:sldId id="656" r:id="rId47"/>
    <p:sldId id="657" r:id="rId48"/>
    <p:sldId id="662" r:id="rId49"/>
    <p:sldId id="658" r:id="rId50"/>
    <p:sldId id="659" r:id="rId51"/>
    <p:sldId id="660" r:id="rId52"/>
    <p:sldId id="661" r:id="rId53"/>
    <p:sldId id="663" r:id="rId54"/>
    <p:sldId id="574" r:id="rId55"/>
    <p:sldId id="576" r:id="rId56"/>
    <p:sldId id="649" r:id="rId57"/>
    <p:sldId id="581" r:id="rId58"/>
    <p:sldId id="582" r:id="rId59"/>
    <p:sldId id="664" r:id="rId60"/>
    <p:sldId id="665" r:id="rId61"/>
    <p:sldId id="703" r:id="rId62"/>
    <p:sldId id="667" r:id="rId63"/>
    <p:sldId id="668" r:id="rId64"/>
    <p:sldId id="587" r:id="rId65"/>
    <p:sldId id="648" r:id="rId66"/>
    <p:sldId id="589" r:id="rId67"/>
    <p:sldId id="590" r:id="rId68"/>
    <p:sldId id="669" r:id="rId69"/>
    <p:sldId id="670" r:id="rId70"/>
    <p:sldId id="671" r:id="rId71"/>
    <p:sldId id="672" r:id="rId72"/>
    <p:sldId id="593" r:id="rId73"/>
    <p:sldId id="595" r:id="rId74"/>
    <p:sldId id="647" r:id="rId75"/>
    <p:sldId id="597" r:id="rId76"/>
    <p:sldId id="598" r:id="rId77"/>
    <p:sldId id="673" r:id="rId78"/>
    <p:sldId id="674" r:id="rId79"/>
    <p:sldId id="675" r:id="rId80"/>
    <p:sldId id="676" r:id="rId81"/>
    <p:sldId id="677" r:id="rId82"/>
    <p:sldId id="678" r:id="rId83"/>
    <p:sldId id="601" r:id="rId84"/>
    <p:sldId id="602" r:id="rId85"/>
    <p:sldId id="679" r:id="rId86"/>
    <p:sldId id="603" r:id="rId87"/>
    <p:sldId id="646" r:id="rId88"/>
    <p:sldId id="605" r:id="rId89"/>
    <p:sldId id="606" r:id="rId90"/>
    <p:sldId id="680" r:id="rId91"/>
    <p:sldId id="681" r:id="rId92"/>
    <p:sldId id="682" r:id="rId93"/>
    <p:sldId id="609" r:id="rId94"/>
    <p:sldId id="610" r:id="rId95"/>
    <p:sldId id="611" r:id="rId96"/>
    <p:sldId id="645" r:id="rId97"/>
    <p:sldId id="613" r:id="rId98"/>
    <p:sldId id="614" r:id="rId99"/>
    <p:sldId id="683" r:id="rId100"/>
    <p:sldId id="615" r:id="rId101"/>
    <p:sldId id="705" r:id="rId102"/>
    <p:sldId id="617" r:id="rId103"/>
    <p:sldId id="619" r:id="rId104"/>
    <p:sldId id="644" r:id="rId105"/>
    <p:sldId id="621" r:id="rId106"/>
    <p:sldId id="622" r:id="rId107"/>
    <p:sldId id="685" r:id="rId108"/>
    <p:sldId id="686" r:id="rId109"/>
    <p:sldId id="687" r:id="rId110"/>
    <p:sldId id="625" r:id="rId111"/>
    <p:sldId id="627" r:id="rId112"/>
    <p:sldId id="643" r:id="rId113"/>
    <p:sldId id="629" r:id="rId114"/>
    <p:sldId id="630" r:id="rId115"/>
    <p:sldId id="688" r:id="rId116"/>
    <p:sldId id="689" r:id="rId117"/>
    <p:sldId id="690" r:id="rId118"/>
    <p:sldId id="691" r:id="rId119"/>
    <p:sldId id="692" r:id="rId120"/>
    <p:sldId id="633" r:id="rId121"/>
    <p:sldId id="693" r:id="rId122"/>
    <p:sldId id="694" r:id="rId123"/>
    <p:sldId id="698" r:id="rId124"/>
    <p:sldId id="695" r:id="rId125"/>
    <p:sldId id="696" r:id="rId126"/>
    <p:sldId id="699" r:id="rId127"/>
    <p:sldId id="701" r:id="rId128"/>
    <p:sldId id="634" r:id="rId129"/>
    <p:sldId id="635" r:id="rId130"/>
    <p:sldId id="642" r:id="rId131"/>
    <p:sldId id="638" r:id="rId132"/>
    <p:sldId id="259" r:id="rId133"/>
  </p:sldIdLst>
  <p:sldSz cx="12192000" cy="6858000"/>
  <p:notesSz cx="6858000" cy="4972050"/>
  <p:custDataLst>
    <p:tags r:id="rId1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1" id="{25ADF4C8-2200-4410-9F45-B05F5BA6D4E6}">
          <p14:sldIdLst>
            <p14:sldId id="561"/>
            <p14:sldId id="534"/>
            <p14:sldId id="639"/>
            <p14:sldId id="640"/>
            <p14:sldId id="641"/>
            <p14:sldId id="560"/>
            <p14:sldId id="563"/>
          </p14:sldIdLst>
        </p14:section>
        <p14:section name="Lesson2" id="{6F639A05-2893-48A9-A600-6681E43668C4}">
          <p14:sldIdLst>
            <p14:sldId id="564"/>
            <p14:sldId id="565"/>
            <p14:sldId id="651"/>
            <p14:sldId id="652"/>
            <p14:sldId id="653"/>
            <p14:sldId id="654"/>
            <p14:sldId id="567"/>
            <p14:sldId id="569"/>
            <p14:sldId id="650"/>
          </p14:sldIdLst>
        </p14:section>
        <p14:section name="Lesson3" id="{555EB127-B06E-428F-91FE-B308FD5309AF}">
          <p14:sldIdLst>
            <p14:sldId id="571"/>
            <p14:sldId id="572"/>
            <p14:sldId id="655"/>
            <p14:sldId id="656"/>
            <p14:sldId id="657"/>
            <p14:sldId id="662"/>
            <p14:sldId id="658"/>
            <p14:sldId id="659"/>
            <p14:sldId id="660"/>
            <p14:sldId id="661"/>
            <p14:sldId id="663"/>
            <p14:sldId id="574"/>
            <p14:sldId id="576"/>
            <p14:sldId id="649"/>
          </p14:sldIdLst>
        </p14:section>
        <p14:section name="Lesson4" id="{4B55BD7E-DE2E-46C0-9F16-66375B32338F}">
          <p14:sldIdLst>
            <p14:sldId id="581"/>
            <p14:sldId id="582"/>
            <p14:sldId id="664"/>
            <p14:sldId id="665"/>
            <p14:sldId id="703"/>
            <p14:sldId id="667"/>
            <p14:sldId id="668"/>
            <p14:sldId id="587"/>
            <p14:sldId id="648"/>
          </p14:sldIdLst>
        </p14:section>
        <p14:section name="Lesson5" id="{2628FE5D-E337-4E16-88BC-EB2743983A1D}">
          <p14:sldIdLst>
            <p14:sldId id="589"/>
            <p14:sldId id="590"/>
            <p14:sldId id="669"/>
            <p14:sldId id="670"/>
            <p14:sldId id="671"/>
            <p14:sldId id="672"/>
            <p14:sldId id="593"/>
            <p14:sldId id="595"/>
            <p14:sldId id="647"/>
          </p14:sldIdLst>
        </p14:section>
        <p14:section name="Lesson6" id="{B6F4AD30-EF8E-421C-B490-0FC0F415C28E}">
          <p14:sldIdLst>
            <p14:sldId id="597"/>
            <p14:sldId id="598"/>
            <p14:sldId id="673"/>
            <p14:sldId id="674"/>
            <p14:sldId id="675"/>
            <p14:sldId id="676"/>
            <p14:sldId id="677"/>
            <p14:sldId id="678"/>
            <p14:sldId id="601"/>
            <p14:sldId id="602"/>
            <p14:sldId id="679"/>
            <p14:sldId id="603"/>
            <p14:sldId id="646"/>
          </p14:sldIdLst>
        </p14:section>
        <p14:section name="Lesson7" id="{92EF6724-6843-4390-914E-49B896651129}">
          <p14:sldIdLst>
            <p14:sldId id="605"/>
            <p14:sldId id="606"/>
            <p14:sldId id="680"/>
            <p14:sldId id="681"/>
            <p14:sldId id="682"/>
            <p14:sldId id="609"/>
            <p14:sldId id="610"/>
            <p14:sldId id="611"/>
            <p14:sldId id="645"/>
          </p14:sldIdLst>
        </p14:section>
        <p14:section name="Lesson8" id="{2DEBD35B-A3D2-47A5-8CED-9DA96C43EB2C}">
          <p14:sldIdLst>
            <p14:sldId id="613"/>
            <p14:sldId id="614"/>
            <p14:sldId id="683"/>
            <p14:sldId id="615"/>
            <p14:sldId id="705"/>
            <p14:sldId id="617"/>
            <p14:sldId id="619"/>
            <p14:sldId id="644"/>
          </p14:sldIdLst>
        </p14:section>
        <p14:section name="Lesson9" id="{D28CEE45-CF1A-4B09-8B38-1D6F32CDE701}">
          <p14:sldIdLst>
            <p14:sldId id="621"/>
            <p14:sldId id="622"/>
            <p14:sldId id="685"/>
            <p14:sldId id="686"/>
            <p14:sldId id="687"/>
            <p14:sldId id="625"/>
            <p14:sldId id="627"/>
            <p14:sldId id="643"/>
          </p14:sldIdLst>
        </p14:section>
        <p14:section name="Lesson10" id="{092BBF7A-0554-4613-80D4-089FEFE687B6}">
          <p14:sldIdLst>
            <p14:sldId id="629"/>
            <p14:sldId id="630"/>
            <p14:sldId id="688"/>
            <p14:sldId id="689"/>
            <p14:sldId id="690"/>
            <p14:sldId id="691"/>
            <p14:sldId id="692"/>
            <p14:sldId id="633"/>
            <p14:sldId id="693"/>
            <p14:sldId id="694"/>
            <p14:sldId id="698"/>
            <p14:sldId id="695"/>
            <p14:sldId id="696"/>
            <p14:sldId id="699"/>
            <p14:sldId id="701"/>
            <p14:sldId id="634"/>
            <p14:sldId id="635"/>
            <p14:sldId id="642"/>
          </p14:sldIdLst>
        </p14:section>
        <p14:section name="End" id="{89768583-45F7-42D1-B624-BC1E36785F9A}">
          <p14:sldIdLst>
            <p14:sldId id="638"/>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0078D4"/>
    <a:srgbClr val="50E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A65A79-B9C7-4B86-9D50-8C0A2F6C4174}" v="63" dt="2020-12-16T22:29:54.079"/>
    <p1510:client id="{69885219-E4FF-4DD6-B62F-1131B753D70C}" v="124" dt="2020-12-16T22:29:15.219"/>
  </p1510:revLst>
</p1510:revInfo>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081" autoAdjust="0"/>
  </p:normalViewPr>
  <p:slideViewPr>
    <p:cSldViewPr snapToGrid="0">
      <p:cViewPr varScale="1">
        <p:scale>
          <a:sx n="36" d="100"/>
          <a:sy n="36" d="100"/>
        </p:scale>
        <p:origin x="1080" y="53"/>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3.xml"/><Relationship Id="rId21" Type="http://schemas.openxmlformats.org/officeDocument/2006/relationships/customXml" Target="../customXml/item21.xml"/><Relationship Id="rId42" Type="http://schemas.openxmlformats.org/officeDocument/2006/relationships/slide" Target="slides/slide18.xml"/><Relationship Id="rId63" Type="http://schemas.openxmlformats.org/officeDocument/2006/relationships/slide" Target="slides/slide39.xml"/><Relationship Id="rId84" Type="http://schemas.openxmlformats.org/officeDocument/2006/relationships/slide" Target="slides/slide60.xml"/><Relationship Id="rId138" Type="http://schemas.openxmlformats.org/officeDocument/2006/relationships/presProps" Target="presProps.xml"/><Relationship Id="rId107" Type="http://schemas.openxmlformats.org/officeDocument/2006/relationships/slide" Target="slides/slide83.xml"/><Relationship Id="rId11" Type="http://schemas.openxmlformats.org/officeDocument/2006/relationships/customXml" Target="../customXml/item11.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28" Type="http://schemas.openxmlformats.org/officeDocument/2006/relationships/slide" Target="slides/slide104.xml"/><Relationship Id="rId5" Type="http://schemas.openxmlformats.org/officeDocument/2006/relationships/customXml" Target="../customXml/item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customXml" Target="../customXml/item22.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134" Type="http://schemas.openxmlformats.org/officeDocument/2006/relationships/notesMaster" Target="notesMasters/notesMaster1.xml"/><Relationship Id="rId139" Type="http://schemas.openxmlformats.org/officeDocument/2006/relationships/viewProps" Target="viewProps.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slide" Target="slides/slide100.xml"/><Relationship Id="rId129" Type="http://schemas.openxmlformats.org/officeDocument/2006/relationships/slide" Target="slides/slide105.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slide" Target="slides/slide90.xml"/><Relationship Id="rId119" Type="http://schemas.openxmlformats.org/officeDocument/2006/relationships/slide" Target="slides/slide95.xml"/><Relationship Id="rId44" Type="http://schemas.openxmlformats.org/officeDocument/2006/relationships/slide" Target="slides/slide20.xml"/><Relationship Id="rId60" Type="http://schemas.openxmlformats.org/officeDocument/2006/relationships/slide" Target="slides/slide36.xml"/><Relationship Id="rId65" Type="http://schemas.openxmlformats.org/officeDocument/2006/relationships/slide" Target="slides/slide41.xml"/><Relationship Id="rId81" Type="http://schemas.openxmlformats.org/officeDocument/2006/relationships/slide" Target="slides/slide57.xml"/><Relationship Id="rId86" Type="http://schemas.openxmlformats.org/officeDocument/2006/relationships/slide" Target="slides/slide62.xml"/><Relationship Id="rId130" Type="http://schemas.openxmlformats.org/officeDocument/2006/relationships/slide" Target="slides/slide106.xml"/><Relationship Id="rId135" Type="http://schemas.openxmlformats.org/officeDocument/2006/relationships/handoutMaster" Target="handoutMasters/handoutMaster1.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tags" Target="tags/tag1.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8" Type="http://schemas.openxmlformats.org/officeDocument/2006/relationships/customXml" Target="../customXml/item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microsoft.com/office/2016/11/relationships/changesInfo" Target="changesInfos/changesInfo1.xml"/><Relationship Id="rId3" Type="http://schemas.openxmlformats.org/officeDocument/2006/relationships/customXml" Target="../customXml/item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commentAuthors" Target="commentAuthors.xml"/><Relationship Id="rId20" Type="http://schemas.openxmlformats.org/officeDocument/2006/relationships/customXml" Target="../customXml/item20.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32" Type="http://schemas.openxmlformats.org/officeDocument/2006/relationships/slide" Target="slides/slide108.xml"/><Relationship Id="rId15" Type="http://schemas.openxmlformats.org/officeDocument/2006/relationships/customXml" Target="../customXml/item15.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 Id="rId127" Type="http://schemas.openxmlformats.org/officeDocument/2006/relationships/slide" Target="slides/slide103.xml"/><Relationship Id="rId10" Type="http://schemas.openxmlformats.org/officeDocument/2006/relationships/customXml" Target="../customXml/item10.xml"/><Relationship Id="rId31" Type="http://schemas.openxmlformats.org/officeDocument/2006/relationships/slide" Target="slides/slide7.xml"/><Relationship Id="rId52" Type="http://schemas.openxmlformats.org/officeDocument/2006/relationships/slide" Target="slides/slide28.xml"/><Relationship Id="rId73" Type="http://schemas.openxmlformats.org/officeDocument/2006/relationships/slide" Target="slides/slide49.xml"/><Relationship Id="rId78" Type="http://schemas.openxmlformats.org/officeDocument/2006/relationships/slide" Target="slides/slide54.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43"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slide" Target="slides/slide2.xml"/><Relationship Id="rId47" Type="http://schemas.openxmlformats.org/officeDocument/2006/relationships/slide" Target="slides/slide23.xml"/><Relationship Id="rId68" Type="http://schemas.openxmlformats.org/officeDocument/2006/relationships/slide" Target="slides/slide44.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6" Type="http://schemas.openxmlformats.org/officeDocument/2006/relationships/customXml" Target="../customXml/item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zwan Hassan" userId="04ec4a88-24aa-4abd-b901-af898e55845d" providerId="ADAL" clId="{69885219-E4FF-4DD6-B62F-1131B753D70C}"/>
    <pc:docChg chg="addSld delSld modSld modSection">
      <pc:chgData name="Rizwan Hassan" userId="04ec4a88-24aa-4abd-b901-af898e55845d" providerId="ADAL" clId="{69885219-E4FF-4DD6-B62F-1131B753D70C}" dt="2020-12-16T22:29:15.219" v="119" actId="20577"/>
      <pc:docMkLst>
        <pc:docMk/>
      </pc:docMkLst>
      <pc:sldChg chg="del">
        <pc:chgData name="Rizwan Hassan" userId="04ec4a88-24aa-4abd-b901-af898e55845d" providerId="ADAL" clId="{69885219-E4FF-4DD6-B62F-1131B753D70C}" dt="2020-12-16T22:28:03.712" v="91" actId="2696"/>
        <pc:sldMkLst>
          <pc:docMk/>
          <pc:sldMk cId="377581410" sldId="704"/>
        </pc:sldMkLst>
      </pc:sldChg>
      <pc:sldChg chg="modSp add mod modAnim">
        <pc:chgData name="Rizwan Hassan" userId="04ec4a88-24aa-4abd-b901-af898e55845d" providerId="ADAL" clId="{69885219-E4FF-4DD6-B62F-1131B753D70C}" dt="2020-12-16T22:24:40.225" v="9" actId="14100"/>
        <pc:sldMkLst>
          <pc:docMk/>
          <pc:sldMk cId="1787149797" sldId="704"/>
        </pc:sldMkLst>
        <pc:spChg chg="mod">
          <ac:chgData name="Rizwan Hassan" userId="04ec4a88-24aa-4abd-b901-af898e55845d" providerId="ADAL" clId="{69885219-E4FF-4DD6-B62F-1131B753D70C}" dt="2020-12-16T22:24:40.225" v="9" actId="14100"/>
          <ac:spMkLst>
            <pc:docMk/>
            <pc:sldMk cId="1787149797" sldId="704"/>
            <ac:spMk id="5" creationId="{9ECC95CC-AD82-4D69-9FD4-92BA118F725A}"/>
          </ac:spMkLst>
        </pc:spChg>
      </pc:sldChg>
      <pc:sldChg chg="addSp modSp mod">
        <pc:chgData name="Rizwan Hassan" userId="04ec4a88-24aa-4abd-b901-af898e55845d" providerId="ADAL" clId="{69885219-E4FF-4DD6-B62F-1131B753D70C}" dt="2020-12-16T22:29:15.219" v="119" actId="20577"/>
        <pc:sldMkLst>
          <pc:docMk/>
          <pc:sldMk cId="1787149797" sldId="705"/>
        </pc:sldMkLst>
        <pc:spChg chg="mod">
          <ac:chgData name="Rizwan Hassan" userId="04ec4a88-24aa-4abd-b901-af898e55845d" providerId="ADAL" clId="{69885219-E4FF-4DD6-B62F-1131B753D70C}" dt="2020-12-16T22:25:02.203" v="10" actId="255"/>
          <ac:spMkLst>
            <pc:docMk/>
            <pc:sldMk cId="1787149797" sldId="705"/>
            <ac:spMk id="5" creationId="{9ECC95CC-AD82-4D69-9FD4-92BA118F725A}"/>
          </ac:spMkLst>
        </pc:spChg>
        <pc:spChg chg="mod">
          <ac:chgData name="Rizwan Hassan" userId="04ec4a88-24aa-4abd-b901-af898e55845d" providerId="ADAL" clId="{69885219-E4FF-4DD6-B62F-1131B753D70C}" dt="2020-12-16T22:27:06.659" v="86" actId="1076"/>
          <ac:spMkLst>
            <pc:docMk/>
            <pc:sldMk cId="1787149797" sldId="705"/>
            <ac:spMk id="6" creationId="{79276B74-4E71-4825-B73E-9628CAD1C2AA}"/>
          </ac:spMkLst>
        </pc:spChg>
        <pc:spChg chg="add mod">
          <ac:chgData name="Rizwan Hassan" userId="04ec4a88-24aa-4abd-b901-af898e55845d" providerId="ADAL" clId="{69885219-E4FF-4DD6-B62F-1131B753D70C}" dt="2020-12-16T22:28:48.924" v="106" actId="1076"/>
          <ac:spMkLst>
            <pc:docMk/>
            <pc:sldMk cId="1787149797" sldId="705"/>
            <ac:spMk id="39" creationId="{18135282-4093-4C2B-8150-FBB408C9F858}"/>
          </ac:spMkLst>
        </pc:spChg>
        <pc:spChg chg="add mod">
          <ac:chgData name="Rizwan Hassan" userId="04ec4a88-24aa-4abd-b901-af898e55845d" providerId="ADAL" clId="{69885219-E4FF-4DD6-B62F-1131B753D70C}" dt="2020-12-16T22:29:15.219" v="119" actId="20577"/>
          <ac:spMkLst>
            <pc:docMk/>
            <pc:sldMk cId="1787149797" sldId="705"/>
            <ac:spMk id="41" creationId="{DE152902-89D8-425C-80BF-B1F3B141563C}"/>
          </ac:spMkLst>
        </pc:spChg>
        <pc:picChg chg="add mod">
          <ac:chgData name="Rizwan Hassan" userId="04ec4a88-24aa-4abd-b901-af898e55845d" providerId="ADAL" clId="{69885219-E4FF-4DD6-B62F-1131B753D70C}" dt="2020-12-16T22:27:25.371" v="88" actId="1440"/>
          <ac:picMkLst>
            <pc:docMk/>
            <pc:sldMk cId="1787149797" sldId="705"/>
            <ac:picMk id="36" creationId="{5BCCD1A8-DD0B-44D4-ACF7-3DADB43B72DB}"/>
          </ac:picMkLst>
        </pc:picChg>
        <pc:picChg chg="add mod">
          <ac:chgData name="Rizwan Hassan" userId="04ec4a88-24aa-4abd-b901-af898e55845d" providerId="ADAL" clId="{69885219-E4FF-4DD6-B62F-1131B753D70C}" dt="2020-12-16T22:27:35.697" v="90" actId="1076"/>
          <ac:picMkLst>
            <pc:docMk/>
            <pc:sldMk cId="1787149797" sldId="705"/>
            <ac:picMk id="38" creationId="{DE7840E2-484F-4657-9948-9673CA10A570}"/>
          </ac:picMkLst>
        </pc:picChg>
      </pc:sldChg>
    </pc:docChg>
  </pc:docChgLst>
  <pc:docChgLst>
    <pc:chgData name="Batuhan Yildiz" userId="90f344fc-4655-4923-aeaf-697bba59c1a7" providerId="ADAL" clId="{47A65A79-B9C7-4B86-9D50-8C0A2F6C4174}"/>
    <pc:docChg chg="undo custSel addSld delSld modSld modSection">
      <pc:chgData name="Batuhan Yildiz" userId="90f344fc-4655-4923-aeaf-697bba59c1a7" providerId="ADAL" clId="{47A65A79-B9C7-4B86-9D50-8C0A2F6C4174}" dt="2020-12-16T22:29:54.079" v="112" actId="47"/>
      <pc:docMkLst>
        <pc:docMk/>
      </pc:docMkLst>
      <pc:sldChg chg="modSp mod">
        <pc:chgData name="Batuhan Yildiz" userId="90f344fc-4655-4923-aeaf-697bba59c1a7" providerId="ADAL" clId="{47A65A79-B9C7-4B86-9D50-8C0A2F6C4174}" dt="2020-12-16T21:58:24.042" v="69" actId="20577"/>
        <pc:sldMkLst>
          <pc:docMk/>
          <pc:sldMk cId="1841328874" sldId="615"/>
        </pc:sldMkLst>
        <pc:spChg chg="mod">
          <ac:chgData name="Batuhan Yildiz" userId="90f344fc-4655-4923-aeaf-697bba59c1a7" providerId="ADAL" clId="{47A65A79-B9C7-4B86-9D50-8C0A2F6C4174}" dt="2020-12-16T21:56:11.177" v="28" actId="20577"/>
          <ac:spMkLst>
            <pc:docMk/>
            <pc:sldMk cId="1841328874" sldId="615"/>
            <ac:spMk id="12" creationId="{C90D1E53-94A1-4ED0-B535-C453AECA9346}"/>
          </ac:spMkLst>
        </pc:spChg>
        <pc:spChg chg="mod">
          <ac:chgData name="Batuhan Yildiz" userId="90f344fc-4655-4923-aeaf-697bba59c1a7" providerId="ADAL" clId="{47A65A79-B9C7-4B86-9D50-8C0A2F6C4174}" dt="2020-12-16T21:58:11.387" v="61" actId="20577"/>
          <ac:spMkLst>
            <pc:docMk/>
            <pc:sldMk cId="1841328874" sldId="615"/>
            <ac:spMk id="13" creationId="{21A18B97-9543-479D-B1C4-CBC4A85F6DB4}"/>
          </ac:spMkLst>
        </pc:spChg>
        <pc:spChg chg="mod">
          <ac:chgData name="Batuhan Yildiz" userId="90f344fc-4655-4923-aeaf-697bba59c1a7" providerId="ADAL" clId="{47A65A79-B9C7-4B86-9D50-8C0A2F6C4174}" dt="2020-12-16T21:58:24.042" v="69" actId="20577"/>
          <ac:spMkLst>
            <pc:docMk/>
            <pc:sldMk cId="1841328874" sldId="615"/>
            <ac:spMk id="14" creationId="{3F8044A9-7283-4A2F-8DD8-E732295E985A}"/>
          </ac:spMkLst>
        </pc:spChg>
        <pc:grpChg chg="mod">
          <ac:chgData name="Batuhan Yildiz" userId="90f344fc-4655-4923-aeaf-697bba59c1a7" providerId="ADAL" clId="{47A65A79-B9C7-4B86-9D50-8C0A2F6C4174}" dt="2020-12-16T21:56:46.717" v="53" actId="1076"/>
          <ac:grpSpMkLst>
            <pc:docMk/>
            <pc:sldMk cId="1841328874" sldId="615"/>
            <ac:grpSpMk id="10" creationId="{998FA78B-D417-49D2-B784-EA23A146FEB4}"/>
          </ac:grpSpMkLst>
        </pc:grpChg>
        <pc:graphicFrameChg chg="mod modGraphic">
          <ac:chgData name="Batuhan Yildiz" userId="90f344fc-4655-4923-aeaf-697bba59c1a7" providerId="ADAL" clId="{47A65A79-B9C7-4B86-9D50-8C0A2F6C4174}" dt="2020-12-16T21:56:42.609" v="52" actId="20577"/>
          <ac:graphicFrameMkLst>
            <pc:docMk/>
            <pc:sldMk cId="1841328874" sldId="615"/>
            <ac:graphicFrameMk id="25" creationId="{5C60C51E-1026-47F4-82E3-2E43AE539775}"/>
          </ac:graphicFrameMkLst>
        </pc:graphicFrameChg>
        <pc:cxnChg chg="mod">
          <ac:chgData name="Batuhan Yildiz" userId="90f344fc-4655-4923-aeaf-697bba59c1a7" providerId="ADAL" clId="{47A65A79-B9C7-4B86-9D50-8C0A2F6C4174}" dt="2020-12-16T21:56:46.717" v="53" actId="1076"/>
          <ac:cxnSpMkLst>
            <pc:docMk/>
            <pc:sldMk cId="1841328874" sldId="615"/>
            <ac:cxnSpMk id="24" creationId="{59CC64DE-AA19-4979-9800-2DA0A171E3CD}"/>
          </ac:cxnSpMkLst>
        </pc:cxnChg>
      </pc:sldChg>
      <pc:sldChg chg="addSp delSp modSp del mod addAnim delAnim">
        <pc:chgData name="Batuhan Yildiz" userId="90f344fc-4655-4923-aeaf-697bba59c1a7" providerId="ADAL" clId="{47A65A79-B9C7-4B86-9D50-8C0A2F6C4174}" dt="2020-12-16T22:29:54.079" v="112" actId="47"/>
        <pc:sldMkLst>
          <pc:docMk/>
          <pc:sldMk cId="3926643301" sldId="684"/>
        </pc:sldMkLst>
        <pc:spChg chg="mod">
          <ac:chgData name="Batuhan Yildiz" userId="90f344fc-4655-4923-aeaf-697bba59c1a7" providerId="ADAL" clId="{47A65A79-B9C7-4B86-9D50-8C0A2F6C4174}" dt="2020-12-16T22:05:24.769" v="87" actId="6549"/>
          <ac:spMkLst>
            <pc:docMk/>
            <pc:sldMk cId="3926643301" sldId="684"/>
            <ac:spMk id="6" creationId="{79276B74-4E71-4825-B73E-9628CAD1C2AA}"/>
          </ac:spMkLst>
        </pc:spChg>
        <pc:spChg chg="mod">
          <ac:chgData name="Batuhan Yildiz" userId="90f344fc-4655-4923-aeaf-697bba59c1a7" providerId="ADAL" clId="{47A65A79-B9C7-4B86-9D50-8C0A2F6C4174}" dt="2020-12-16T22:20:26.932" v="111" actId="14100"/>
          <ac:spMkLst>
            <pc:docMk/>
            <pc:sldMk cId="3926643301" sldId="684"/>
            <ac:spMk id="9" creationId="{C2BB39D3-1FD3-498A-B2B3-91E60A87FB12}"/>
          </ac:spMkLst>
        </pc:spChg>
        <pc:spChg chg="mod">
          <ac:chgData name="Batuhan Yildiz" userId="90f344fc-4655-4923-aeaf-697bba59c1a7" providerId="ADAL" clId="{47A65A79-B9C7-4B86-9D50-8C0A2F6C4174}" dt="2020-12-16T22:20:03.674" v="109" actId="14100"/>
          <ac:spMkLst>
            <pc:docMk/>
            <pc:sldMk cId="3926643301" sldId="684"/>
            <ac:spMk id="10" creationId="{F95EF591-A6DF-45C5-9EF1-3149BC87DDB5}"/>
          </ac:spMkLst>
        </pc:spChg>
        <pc:spChg chg="add mod ord">
          <ac:chgData name="Batuhan Yildiz" userId="90f344fc-4655-4923-aeaf-697bba59c1a7" providerId="ADAL" clId="{47A65A79-B9C7-4B86-9D50-8C0A2F6C4174}" dt="2020-12-16T22:19:41.237" v="104" actId="167"/>
          <ac:spMkLst>
            <pc:docMk/>
            <pc:sldMk cId="3926643301" sldId="684"/>
            <ac:spMk id="40" creationId="{ABAC8F17-3105-4E72-B48E-3C0215DF55BF}"/>
          </ac:spMkLst>
        </pc:spChg>
        <pc:grpChg chg="add del mod">
          <ac:chgData name="Batuhan Yildiz" userId="90f344fc-4655-4923-aeaf-697bba59c1a7" providerId="ADAL" clId="{47A65A79-B9C7-4B86-9D50-8C0A2F6C4174}" dt="2020-12-16T22:20:00.614" v="108" actId="1076"/>
          <ac:grpSpMkLst>
            <pc:docMk/>
            <pc:sldMk cId="3926643301" sldId="684"/>
            <ac:grpSpMk id="7" creationId="{8BDCD466-6247-45DD-8679-53E2E535BCC4}"/>
          </ac:grpSpMkLst>
        </pc:grpChg>
        <pc:picChg chg="del">
          <ac:chgData name="Batuhan Yildiz" userId="90f344fc-4655-4923-aeaf-697bba59c1a7" providerId="ADAL" clId="{47A65A79-B9C7-4B86-9D50-8C0A2F6C4174}" dt="2020-12-16T22:18:13.377" v="91" actId="478"/>
          <ac:picMkLst>
            <pc:docMk/>
            <pc:sldMk cId="3926643301" sldId="684"/>
            <ac:picMk id="8" creationId="{9A6DD4B8-FD1C-46CB-BBCD-168F9FEA3D84}"/>
          </ac:picMkLst>
        </pc:picChg>
        <pc:picChg chg="del">
          <ac:chgData name="Batuhan Yildiz" userId="90f344fc-4655-4923-aeaf-697bba59c1a7" providerId="ADAL" clId="{47A65A79-B9C7-4B86-9D50-8C0A2F6C4174}" dt="2020-12-16T22:17:26.470" v="88" actId="478"/>
          <ac:picMkLst>
            <pc:docMk/>
            <pc:sldMk cId="3926643301" sldId="684"/>
            <ac:picMk id="11" creationId="{904C3827-8F4C-4CB7-8EE8-48D23D7F738B}"/>
          </ac:picMkLst>
        </pc:picChg>
        <pc:picChg chg="add mod">
          <ac:chgData name="Batuhan Yildiz" userId="90f344fc-4655-4923-aeaf-697bba59c1a7" providerId="ADAL" clId="{47A65A79-B9C7-4B86-9D50-8C0A2F6C4174}" dt="2020-12-16T22:19:49.064" v="106" actId="1076"/>
          <ac:picMkLst>
            <pc:docMk/>
            <pc:sldMk cId="3926643301" sldId="684"/>
            <ac:picMk id="36" creationId="{AC2A4B63-C2EC-44B4-9230-88DC44C03BEE}"/>
          </ac:picMkLst>
        </pc:picChg>
        <pc:picChg chg="add mod">
          <ac:chgData name="Batuhan Yildiz" userId="90f344fc-4655-4923-aeaf-697bba59c1a7" providerId="ADAL" clId="{47A65A79-B9C7-4B86-9D50-8C0A2F6C4174}" dt="2020-12-16T22:19:51.980" v="107" actId="1076"/>
          <ac:picMkLst>
            <pc:docMk/>
            <pc:sldMk cId="3926643301" sldId="684"/>
            <ac:picMk id="38" creationId="{0795F2BC-DA11-4BC0-8DE0-EC6A325F5CEC}"/>
          </ac:picMkLst>
        </pc:picChg>
      </pc:sldChg>
      <pc:sldChg chg="add">
        <pc:chgData name="Batuhan Yildiz" userId="90f344fc-4655-4923-aeaf-697bba59c1a7" providerId="ADAL" clId="{47A65A79-B9C7-4B86-9D50-8C0A2F6C4174}" dt="2020-12-16T22:05:01.993" v="72"/>
        <pc:sldMkLst>
          <pc:docMk/>
          <pc:sldMk cId="377581410" sldId="704"/>
        </pc:sldMkLst>
      </pc:sldChg>
    </pc:docChg>
  </pc:docChgLst>
  <pc:docChgLst>
    <pc:chgData name="Batuhan Yildiz" userId="90f344fc-4655-4923-aeaf-697bba59c1a7" providerId="ADAL" clId="{0AFA5538-60A0-43EA-8484-C58698C25F67}"/>
    <pc:docChg chg="undo custSel addSld delSld modSld modSection">
      <pc:chgData name="Batuhan Yildiz" userId="90f344fc-4655-4923-aeaf-697bba59c1a7" providerId="ADAL" clId="{0AFA5538-60A0-43EA-8484-C58698C25F67}" dt="2020-04-01T17:30:40.151" v="134" actId="13782"/>
      <pc:docMkLst>
        <pc:docMk/>
      </pc:docMkLst>
      <pc:sldChg chg="modSp">
        <pc:chgData name="Batuhan Yildiz" userId="90f344fc-4655-4923-aeaf-697bba59c1a7" providerId="ADAL" clId="{0AFA5538-60A0-43EA-8484-C58698C25F67}" dt="2020-04-01T17:25:30.869" v="131" actId="12100"/>
        <pc:sldMkLst>
          <pc:docMk/>
          <pc:sldMk cId="1841328874" sldId="615"/>
        </pc:sldMkLst>
        <pc:graphicFrameChg chg="mod">
          <ac:chgData name="Batuhan Yildiz" userId="90f344fc-4655-4923-aeaf-697bba59c1a7" providerId="ADAL" clId="{0AFA5538-60A0-43EA-8484-C58698C25F67}" dt="2020-04-01T17:25:30.869" v="131" actId="12100"/>
          <ac:graphicFrameMkLst>
            <pc:docMk/>
            <pc:sldMk cId="1841328874" sldId="615"/>
            <ac:graphicFrameMk id="26" creationId="{C5BC69F0-EB73-41B5-B4A7-F76867B3AC87}"/>
          </ac:graphicFrameMkLst>
        </pc:graphicFrameChg>
      </pc:sldChg>
      <pc:sldChg chg="modSp modAnim">
        <pc:chgData name="Batuhan Yildiz" userId="90f344fc-4655-4923-aeaf-697bba59c1a7" providerId="ADAL" clId="{0AFA5538-60A0-43EA-8484-C58698C25F67}" dt="2020-04-01T17:30:40.151" v="134" actId="13782"/>
        <pc:sldMkLst>
          <pc:docMk/>
          <pc:sldMk cId="815604796" sldId="638"/>
        </pc:sldMkLst>
        <pc:graphicFrameChg chg="mod">
          <ac:chgData name="Batuhan Yildiz" userId="90f344fc-4655-4923-aeaf-697bba59c1a7" providerId="ADAL" clId="{0AFA5538-60A0-43EA-8484-C58698C25F67}" dt="2020-04-01T17:30:40.151" v="134" actId="13782"/>
          <ac:graphicFrameMkLst>
            <pc:docMk/>
            <pc:sldMk cId="815604796" sldId="638"/>
            <ac:graphicFrameMk id="6" creationId="{F3715BFE-C7EC-4FE6-B9DF-3730800EAB3C}"/>
          </ac:graphicFrameMkLst>
        </pc:graphicFrameChg>
      </pc:sldChg>
      <pc:sldChg chg="addSp delSp modSp modAnim">
        <pc:chgData name="Batuhan Yildiz" userId="90f344fc-4655-4923-aeaf-697bba59c1a7" providerId="ADAL" clId="{0AFA5538-60A0-43EA-8484-C58698C25F67}" dt="2020-04-01T16:42:38.650" v="1" actId="12100"/>
        <pc:sldMkLst>
          <pc:docMk/>
          <pc:sldMk cId="237758153" sldId="665"/>
        </pc:sldMkLst>
        <pc:spChg chg="del">
          <ac:chgData name="Batuhan Yildiz" userId="90f344fc-4655-4923-aeaf-697bba59c1a7" providerId="ADAL" clId="{0AFA5538-60A0-43EA-8484-C58698C25F67}" dt="2020-04-01T16:42:32.372" v="0" actId="12084"/>
          <ac:spMkLst>
            <pc:docMk/>
            <pc:sldMk cId="237758153" sldId="665"/>
            <ac:spMk id="3" creationId="{70DC4747-7802-46DF-94B4-DF7922896757}"/>
          </ac:spMkLst>
        </pc:spChg>
        <pc:graphicFrameChg chg="add mod">
          <ac:chgData name="Batuhan Yildiz" userId="90f344fc-4655-4923-aeaf-697bba59c1a7" providerId="ADAL" clId="{0AFA5538-60A0-43EA-8484-C58698C25F67}" dt="2020-04-01T16:42:38.650" v="1" actId="12100"/>
          <ac:graphicFrameMkLst>
            <pc:docMk/>
            <pc:sldMk cId="237758153" sldId="665"/>
            <ac:graphicFrameMk id="4" creationId="{E8275E22-5A11-428F-ABA0-6E1E55962C85}"/>
          </ac:graphicFrameMkLst>
        </pc:graphicFrameChg>
      </pc:sldChg>
      <pc:sldChg chg="del">
        <pc:chgData name="Batuhan Yildiz" userId="90f344fc-4655-4923-aeaf-697bba59c1a7" providerId="ADAL" clId="{0AFA5538-60A0-43EA-8484-C58698C25F67}" dt="2020-04-01T17:19:47.820" v="127" actId="47"/>
        <pc:sldMkLst>
          <pc:docMk/>
          <pc:sldMk cId="702538412" sldId="666"/>
        </pc:sldMkLst>
      </pc:sldChg>
      <pc:sldChg chg="modSp">
        <pc:chgData name="Batuhan Yildiz" userId="90f344fc-4655-4923-aeaf-697bba59c1a7" providerId="ADAL" clId="{0AFA5538-60A0-43EA-8484-C58698C25F67}" dt="2020-04-01T17:20:23.177" v="129" actId="12100"/>
        <pc:sldMkLst>
          <pc:docMk/>
          <pc:sldMk cId="602176277" sldId="667"/>
        </pc:sldMkLst>
        <pc:graphicFrameChg chg="mod">
          <ac:chgData name="Batuhan Yildiz" userId="90f344fc-4655-4923-aeaf-697bba59c1a7" providerId="ADAL" clId="{0AFA5538-60A0-43EA-8484-C58698C25F67}" dt="2020-04-01T17:20:23.177" v="129" actId="12100"/>
          <ac:graphicFrameMkLst>
            <pc:docMk/>
            <pc:sldMk cId="602176277" sldId="667"/>
            <ac:graphicFrameMk id="4" creationId="{06F5A6B1-4BD2-404D-A18D-CE4A90133381}"/>
          </ac:graphicFrameMkLst>
        </pc:graphicFrameChg>
      </pc:sldChg>
      <pc:sldChg chg="modSp">
        <pc:chgData name="Batuhan Yildiz" userId="90f344fc-4655-4923-aeaf-697bba59c1a7" providerId="ADAL" clId="{0AFA5538-60A0-43EA-8484-C58698C25F67}" dt="2020-04-01T17:20:55.450" v="130" actId="12100"/>
        <pc:sldMkLst>
          <pc:docMk/>
          <pc:sldMk cId="3219170857" sldId="668"/>
        </pc:sldMkLst>
        <pc:graphicFrameChg chg="mod">
          <ac:chgData name="Batuhan Yildiz" userId="90f344fc-4655-4923-aeaf-697bba59c1a7" providerId="ADAL" clId="{0AFA5538-60A0-43EA-8484-C58698C25F67}" dt="2020-04-01T17:20:55.450" v="130" actId="12100"/>
          <ac:graphicFrameMkLst>
            <pc:docMk/>
            <pc:sldMk cId="3219170857" sldId="668"/>
            <ac:graphicFrameMk id="4" creationId="{5A6413BB-0179-42BA-B5EA-977B29E8FDEE}"/>
          </ac:graphicFrameMkLst>
        </pc:graphicFrameChg>
      </pc:sldChg>
      <pc:sldChg chg="modSp">
        <pc:chgData name="Batuhan Yildiz" userId="90f344fc-4655-4923-aeaf-697bba59c1a7" providerId="ADAL" clId="{0AFA5538-60A0-43EA-8484-C58698C25F67}" dt="2020-04-01T17:28:36.464" v="132" actId="12100"/>
        <pc:sldMkLst>
          <pc:docMk/>
          <pc:sldMk cId="3745596632" sldId="692"/>
        </pc:sldMkLst>
        <pc:graphicFrameChg chg="mod">
          <ac:chgData name="Batuhan Yildiz" userId="90f344fc-4655-4923-aeaf-697bba59c1a7" providerId="ADAL" clId="{0AFA5538-60A0-43EA-8484-C58698C25F67}" dt="2020-04-01T17:28:36.464" v="132" actId="12100"/>
          <ac:graphicFrameMkLst>
            <pc:docMk/>
            <pc:sldMk cId="3745596632" sldId="692"/>
            <ac:graphicFrameMk id="4" creationId="{D04C4CC6-4338-494B-850D-7305A037FCE4}"/>
          </ac:graphicFrameMkLst>
        </pc:graphicFrameChg>
      </pc:sldChg>
      <pc:sldChg chg="modSp">
        <pc:chgData name="Batuhan Yildiz" userId="90f344fc-4655-4923-aeaf-697bba59c1a7" providerId="ADAL" clId="{0AFA5538-60A0-43EA-8484-C58698C25F67}" dt="2020-04-01T17:29:01.153" v="133" actId="12100"/>
        <pc:sldMkLst>
          <pc:docMk/>
          <pc:sldMk cId="2729530483" sldId="694"/>
        </pc:sldMkLst>
        <pc:graphicFrameChg chg="mod">
          <ac:chgData name="Batuhan Yildiz" userId="90f344fc-4655-4923-aeaf-697bba59c1a7" providerId="ADAL" clId="{0AFA5538-60A0-43EA-8484-C58698C25F67}" dt="2020-04-01T17:29:01.153" v="133" actId="12100"/>
          <ac:graphicFrameMkLst>
            <pc:docMk/>
            <pc:sldMk cId="2729530483" sldId="694"/>
            <ac:graphicFrameMk id="4" creationId="{94B72629-560A-4424-A744-84C769A525B8}"/>
          </ac:graphicFrameMkLst>
        </pc:graphicFrameChg>
      </pc:sldChg>
      <pc:sldChg chg="modSp new del mod">
        <pc:chgData name="Batuhan Yildiz" userId="90f344fc-4655-4923-aeaf-697bba59c1a7" providerId="ADAL" clId="{0AFA5538-60A0-43EA-8484-C58698C25F67}" dt="2020-04-01T17:19:49.855" v="128" actId="47"/>
        <pc:sldMkLst>
          <pc:docMk/>
          <pc:sldMk cId="3947666000" sldId="702"/>
        </pc:sldMkLst>
        <pc:spChg chg="mod">
          <ac:chgData name="Batuhan Yildiz" userId="90f344fc-4655-4923-aeaf-697bba59c1a7" providerId="ADAL" clId="{0AFA5538-60A0-43EA-8484-C58698C25F67}" dt="2020-04-01T16:43:26.210" v="4" actId="27636"/>
          <ac:spMkLst>
            <pc:docMk/>
            <pc:sldMk cId="3947666000" sldId="702"/>
            <ac:spMk id="4" creationId="{676F573B-F11B-4D77-98FE-2327751B95EE}"/>
          </ac:spMkLst>
        </pc:spChg>
      </pc:sldChg>
      <pc:sldChg chg="addSp delSp modSp new mod modNotesTx">
        <pc:chgData name="Batuhan Yildiz" userId="90f344fc-4655-4923-aeaf-697bba59c1a7" providerId="ADAL" clId="{0AFA5538-60A0-43EA-8484-C58698C25F67}" dt="2020-04-01T17:19:44.251" v="126"/>
        <pc:sldMkLst>
          <pc:docMk/>
          <pc:sldMk cId="134441809" sldId="703"/>
        </pc:sldMkLst>
        <pc:spChg chg="mod">
          <ac:chgData name="Batuhan Yildiz" userId="90f344fc-4655-4923-aeaf-697bba59c1a7" providerId="ADAL" clId="{0AFA5538-60A0-43EA-8484-C58698C25F67}" dt="2020-04-01T17:19:37.821" v="125"/>
          <ac:spMkLst>
            <pc:docMk/>
            <pc:sldMk cId="134441809" sldId="703"/>
            <ac:spMk id="2" creationId="{5AA7C3D2-9F0A-4D38-A50E-4CD3857B9651}"/>
          </ac:spMkLst>
        </pc:spChg>
        <pc:spChg chg="del mod">
          <ac:chgData name="Batuhan Yildiz" userId="90f344fc-4655-4923-aeaf-697bba59c1a7" providerId="ADAL" clId="{0AFA5538-60A0-43EA-8484-C58698C25F67}" dt="2020-04-01T16:49:00.852" v="22" actId="12084"/>
          <ac:spMkLst>
            <pc:docMk/>
            <pc:sldMk cId="134441809" sldId="703"/>
            <ac:spMk id="3" creationId="{89189473-AFF9-49F7-B8EA-322F2DF7CBFD}"/>
          </ac:spMkLst>
        </pc:spChg>
        <pc:spChg chg="del mod">
          <ac:chgData name="Batuhan Yildiz" userId="90f344fc-4655-4923-aeaf-697bba59c1a7" providerId="ADAL" clId="{0AFA5538-60A0-43EA-8484-C58698C25F67}" dt="2020-04-01T16:51:06.523" v="30" actId="22"/>
          <ac:spMkLst>
            <pc:docMk/>
            <pc:sldMk cId="134441809" sldId="703"/>
            <ac:spMk id="4" creationId="{6C08A688-1085-48DF-9506-7EDD18CEECA2}"/>
          </ac:spMkLst>
        </pc:spChg>
        <pc:spChg chg="add mod">
          <ac:chgData name="Batuhan Yildiz" userId="90f344fc-4655-4923-aeaf-697bba59c1a7" providerId="ADAL" clId="{0AFA5538-60A0-43EA-8484-C58698C25F67}" dt="2020-04-01T17:10:25.908" v="96" actId="14100"/>
          <ac:spMkLst>
            <pc:docMk/>
            <pc:sldMk cId="134441809" sldId="703"/>
            <ac:spMk id="7" creationId="{49FE6338-CE0C-49B6-A8FF-E5173065ECAD}"/>
          </ac:spMkLst>
        </pc:spChg>
        <pc:spChg chg="add del mod">
          <ac:chgData name="Batuhan Yildiz" userId="90f344fc-4655-4923-aeaf-697bba59c1a7" providerId="ADAL" clId="{0AFA5538-60A0-43EA-8484-C58698C25F67}" dt="2020-04-01T16:53:38.641" v="40" actId="478"/>
          <ac:spMkLst>
            <pc:docMk/>
            <pc:sldMk cId="134441809" sldId="703"/>
            <ac:spMk id="8" creationId="{A89DCE22-B1A1-4C18-AF9E-ACCAC25E7B98}"/>
          </ac:spMkLst>
        </pc:spChg>
        <pc:spChg chg="add mod">
          <ac:chgData name="Batuhan Yildiz" userId="90f344fc-4655-4923-aeaf-697bba59c1a7" providerId="ADAL" clId="{0AFA5538-60A0-43EA-8484-C58698C25F67}" dt="2020-04-01T17:19:03.321" v="123" actId="1076"/>
          <ac:spMkLst>
            <pc:docMk/>
            <pc:sldMk cId="134441809" sldId="703"/>
            <ac:spMk id="9" creationId="{1BEB8036-A8D9-48A8-AA87-245A0D1E0B19}"/>
          </ac:spMkLst>
        </pc:spChg>
        <pc:spChg chg="add mod">
          <ac:chgData name="Batuhan Yildiz" userId="90f344fc-4655-4923-aeaf-697bba59c1a7" providerId="ADAL" clId="{0AFA5538-60A0-43EA-8484-C58698C25F67}" dt="2020-04-01T17:19:08.631" v="124" actId="1076"/>
          <ac:spMkLst>
            <pc:docMk/>
            <pc:sldMk cId="134441809" sldId="703"/>
            <ac:spMk id="11" creationId="{B333935B-4A69-42B6-B691-BF1065BB536B}"/>
          </ac:spMkLst>
        </pc:spChg>
        <pc:spChg chg="add mod">
          <ac:chgData name="Batuhan Yildiz" userId="90f344fc-4655-4923-aeaf-697bba59c1a7" providerId="ADAL" clId="{0AFA5538-60A0-43EA-8484-C58698C25F67}" dt="2020-04-01T17:18:42.576" v="118" actId="1076"/>
          <ac:spMkLst>
            <pc:docMk/>
            <pc:sldMk cId="134441809" sldId="703"/>
            <ac:spMk id="13" creationId="{69B265BD-B729-4A75-BA00-ABF23C7625ED}"/>
          </ac:spMkLst>
        </pc:spChg>
        <pc:spChg chg="add del mod">
          <ac:chgData name="Batuhan Yildiz" userId="90f344fc-4655-4923-aeaf-697bba59c1a7" providerId="ADAL" clId="{0AFA5538-60A0-43EA-8484-C58698C25F67}" dt="2020-04-01T17:09:24.371" v="87" actId="478"/>
          <ac:spMkLst>
            <pc:docMk/>
            <pc:sldMk cId="134441809" sldId="703"/>
            <ac:spMk id="15" creationId="{A0D13A7A-0744-43BE-B6C9-88C5159D66C3}"/>
          </ac:spMkLst>
        </pc:spChg>
        <pc:spChg chg="add del mod">
          <ac:chgData name="Batuhan Yildiz" userId="90f344fc-4655-4923-aeaf-697bba59c1a7" providerId="ADAL" clId="{0AFA5538-60A0-43EA-8484-C58698C25F67}" dt="2020-04-01T17:09:27.700" v="88" actId="478"/>
          <ac:spMkLst>
            <pc:docMk/>
            <pc:sldMk cId="134441809" sldId="703"/>
            <ac:spMk id="17" creationId="{52CF290C-EC2E-49DD-B709-B1B4FA2B2E31}"/>
          </ac:spMkLst>
        </pc:spChg>
        <pc:graphicFrameChg chg="add mod">
          <ac:chgData name="Batuhan Yildiz" userId="90f344fc-4655-4923-aeaf-697bba59c1a7" providerId="ADAL" clId="{0AFA5538-60A0-43EA-8484-C58698C25F67}" dt="2020-04-01T16:50:05.945" v="27" actId="14100"/>
          <ac:graphicFrameMkLst>
            <pc:docMk/>
            <pc:sldMk cId="134441809" sldId="703"/>
            <ac:graphicFrameMk id="5" creationId="{A87D0FD1-61BE-4405-A578-95847304B9CB}"/>
          </ac:graphicFrameMkLst>
        </pc:graphicFrameChg>
      </pc:sldChg>
    </pc:docChg>
  </pc:docChgLst>
  <pc:docChgLst>
    <pc:chgData name="Batuhan Yildiz" userId="90f344fc-4655-4923-aeaf-697bba59c1a7" providerId="ADAL" clId="{D93E0B6F-02B8-40F6-8784-3C7FFACF7813}"/>
    <pc:docChg chg="undo custSel modSld">
      <pc:chgData name="Batuhan Yildiz" userId="90f344fc-4655-4923-aeaf-697bba59c1a7" providerId="ADAL" clId="{D93E0B6F-02B8-40F6-8784-3C7FFACF7813}" dt="2020-04-30T19:26:18.600" v="204"/>
      <pc:docMkLst>
        <pc:docMk/>
      </pc:docMkLst>
      <pc:sldChg chg="modSp">
        <pc:chgData name="Batuhan Yildiz" userId="90f344fc-4655-4923-aeaf-697bba59c1a7" providerId="ADAL" clId="{D93E0B6F-02B8-40F6-8784-3C7FFACF7813}" dt="2020-04-30T19:16:15.744" v="125" actId="14100"/>
        <pc:sldMkLst>
          <pc:docMk/>
          <pc:sldMk cId="3735096506" sldId="563"/>
        </pc:sldMkLst>
        <pc:graphicFrameChg chg="mod">
          <ac:chgData name="Batuhan Yildiz" userId="90f344fc-4655-4923-aeaf-697bba59c1a7" providerId="ADAL" clId="{D93E0B6F-02B8-40F6-8784-3C7FFACF7813}" dt="2020-04-30T19:16:15.744" v="125" actId="14100"/>
          <ac:graphicFrameMkLst>
            <pc:docMk/>
            <pc:sldMk cId="3735096506" sldId="563"/>
            <ac:graphicFrameMk id="3" creationId="{9484E1FE-7534-495E-863C-657A46F5E628}"/>
          </ac:graphicFrameMkLst>
        </pc:graphicFrameChg>
      </pc:sldChg>
      <pc:sldChg chg="modSp mod modNotesTx">
        <pc:chgData name="Batuhan Yildiz" userId="90f344fc-4655-4923-aeaf-697bba59c1a7" providerId="ADAL" clId="{D93E0B6F-02B8-40F6-8784-3C7FFACF7813}" dt="2020-04-30T17:44:11.477" v="9" actId="20577"/>
        <pc:sldMkLst>
          <pc:docMk/>
          <pc:sldMk cId="670385602" sldId="567"/>
        </pc:sldMkLst>
        <pc:spChg chg="mod">
          <ac:chgData name="Batuhan Yildiz" userId="90f344fc-4655-4923-aeaf-697bba59c1a7" providerId="ADAL" clId="{D93E0B6F-02B8-40F6-8784-3C7FFACF7813}" dt="2020-04-30T17:43:52.314" v="1" actId="20577"/>
          <ac:spMkLst>
            <pc:docMk/>
            <pc:sldMk cId="670385602" sldId="567"/>
            <ac:spMk id="3" creationId="{8F64A22E-2B43-4FC6-AF08-0CDB3F9E9269}"/>
          </ac:spMkLst>
        </pc:spChg>
        <pc:spChg chg="mod">
          <ac:chgData name="Batuhan Yildiz" userId="90f344fc-4655-4923-aeaf-697bba59c1a7" providerId="ADAL" clId="{D93E0B6F-02B8-40F6-8784-3C7FFACF7813}" dt="2020-04-30T17:44:02.040" v="6" actId="15"/>
          <ac:spMkLst>
            <pc:docMk/>
            <pc:sldMk cId="670385602" sldId="567"/>
            <ac:spMk id="6" creationId="{637E159C-9ACF-48AE-927A-D5FB13695C7F}"/>
          </ac:spMkLst>
        </pc:spChg>
      </pc:sldChg>
      <pc:sldChg chg="modSp mod modNotesTx">
        <pc:chgData name="Batuhan Yildiz" userId="90f344fc-4655-4923-aeaf-697bba59c1a7" providerId="ADAL" clId="{D93E0B6F-02B8-40F6-8784-3C7FFACF7813}" dt="2020-04-30T17:44:52.075" v="20" actId="20577"/>
        <pc:sldMkLst>
          <pc:docMk/>
          <pc:sldMk cId="1487953619" sldId="574"/>
        </pc:sldMkLst>
        <pc:spChg chg="mod">
          <ac:chgData name="Batuhan Yildiz" userId="90f344fc-4655-4923-aeaf-697bba59c1a7" providerId="ADAL" clId="{D93E0B6F-02B8-40F6-8784-3C7FFACF7813}" dt="2020-04-30T17:44:25.468" v="12" actId="20577"/>
          <ac:spMkLst>
            <pc:docMk/>
            <pc:sldMk cId="1487953619" sldId="574"/>
            <ac:spMk id="3" creationId="{8F64A22E-2B43-4FC6-AF08-0CDB3F9E9269}"/>
          </ac:spMkLst>
        </pc:spChg>
        <pc:spChg chg="mod">
          <ac:chgData name="Batuhan Yildiz" userId="90f344fc-4655-4923-aeaf-697bba59c1a7" providerId="ADAL" clId="{D93E0B6F-02B8-40F6-8784-3C7FFACF7813}" dt="2020-04-30T17:44:41.741" v="17" actId="15"/>
          <ac:spMkLst>
            <pc:docMk/>
            <pc:sldMk cId="1487953619" sldId="574"/>
            <ac:spMk id="6" creationId="{637E159C-9ACF-48AE-927A-D5FB13695C7F}"/>
          </ac:spMkLst>
        </pc:spChg>
      </pc:sldChg>
      <pc:sldChg chg="modSp mod modNotesTx">
        <pc:chgData name="Batuhan Yildiz" userId="90f344fc-4655-4923-aeaf-697bba59c1a7" providerId="ADAL" clId="{D93E0B6F-02B8-40F6-8784-3C7FFACF7813}" dt="2020-04-30T17:45:30.091" v="30" actId="20577"/>
        <pc:sldMkLst>
          <pc:docMk/>
          <pc:sldMk cId="743308310" sldId="593"/>
        </pc:sldMkLst>
        <pc:spChg chg="mod">
          <ac:chgData name="Batuhan Yildiz" userId="90f344fc-4655-4923-aeaf-697bba59c1a7" providerId="ADAL" clId="{D93E0B6F-02B8-40F6-8784-3C7FFACF7813}" dt="2020-04-30T17:45:09.424" v="22" actId="20577"/>
          <ac:spMkLst>
            <pc:docMk/>
            <pc:sldMk cId="743308310" sldId="593"/>
            <ac:spMk id="3" creationId="{8F64A22E-2B43-4FC6-AF08-0CDB3F9E9269}"/>
          </ac:spMkLst>
        </pc:spChg>
        <pc:spChg chg="mod">
          <ac:chgData name="Batuhan Yildiz" userId="90f344fc-4655-4923-aeaf-697bba59c1a7" providerId="ADAL" clId="{D93E0B6F-02B8-40F6-8784-3C7FFACF7813}" dt="2020-04-30T17:45:20.349" v="27" actId="15"/>
          <ac:spMkLst>
            <pc:docMk/>
            <pc:sldMk cId="743308310" sldId="593"/>
            <ac:spMk id="6" creationId="{637E159C-9ACF-48AE-927A-D5FB13695C7F}"/>
          </ac:spMkLst>
        </pc:spChg>
      </pc:sldChg>
      <pc:sldChg chg="modSp mod modNotesTx">
        <pc:chgData name="Batuhan Yildiz" userId="90f344fc-4655-4923-aeaf-697bba59c1a7" providerId="ADAL" clId="{D93E0B6F-02B8-40F6-8784-3C7FFACF7813}" dt="2020-04-30T17:46:05.446" v="41" actId="15"/>
        <pc:sldMkLst>
          <pc:docMk/>
          <pc:sldMk cId="3871311965" sldId="601"/>
        </pc:sldMkLst>
        <pc:spChg chg="mod">
          <ac:chgData name="Batuhan Yildiz" userId="90f344fc-4655-4923-aeaf-697bba59c1a7" providerId="ADAL" clId="{D93E0B6F-02B8-40F6-8784-3C7FFACF7813}" dt="2020-04-30T17:45:52.353" v="36" actId="20577"/>
          <ac:spMkLst>
            <pc:docMk/>
            <pc:sldMk cId="3871311965" sldId="601"/>
            <ac:spMk id="3" creationId="{8F64A22E-2B43-4FC6-AF08-0CDB3F9E9269}"/>
          </ac:spMkLst>
        </pc:spChg>
        <pc:spChg chg="mod">
          <ac:chgData name="Batuhan Yildiz" userId="90f344fc-4655-4923-aeaf-697bba59c1a7" providerId="ADAL" clId="{D93E0B6F-02B8-40F6-8784-3C7FFACF7813}" dt="2020-04-30T17:46:05.446" v="41" actId="15"/>
          <ac:spMkLst>
            <pc:docMk/>
            <pc:sldMk cId="3871311965" sldId="601"/>
            <ac:spMk id="6" creationId="{637E159C-9ACF-48AE-927A-D5FB13695C7F}"/>
          </ac:spMkLst>
        </pc:spChg>
      </pc:sldChg>
      <pc:sldChg chg="modNotesTx">
        <pc:chgData name="Batuhan Yildiz" userId="90f344fc-4655-4923-aeaf-697bba59c1a7" providerId="ADAL" clId="{D93E0B6F-02B8-40F6-8784-3C7FFACF7813}" dt="2020-04-30T17:46:21.111" v="42"/>
        <pc:sldMkLst>
          <pc:docMk/>
          <pc:sldMk cId="239796647" sldId="602"/>
        </pc:sldMkLst>
      </pc:sldChg>
      <pc:sldChg chg="modSp mod modNotesTx">
        <pc:chgData name="Batuhan Yildiz" userId="90f344fc-4655-4923-aeaf-697bba59c1a7" providerId="ADAL" clId="{D93E0B6F-02B8-40F6-8784-3C7FFACF7813}" dt="2020-04-30T17:47:04.450" v="52" actId="20577"/>
        <pc:sldMkLst>
          <pc:docMk/>
          <pc:sldMk cId="13571892" sldId="609"/>
        </pc:sldMkLst>
        <pc:spChg chg="mod">
          <ac:chgData name="Batuhan Yildiz" userId="90f344fc-4655-4923-aeaf-697bba59c1a7" providerId="ADAL" clId="{D93E0B6F-02B8-40F6-8784-3C7FFACF7813}" dt="2020-04-30T17:46:40.074" v="44" actId="20577"/>
          <ac:spMkLst>
            <pc:docMk/>
            <pc:sldMk cId="13571892" sldId="609"/>
            <ac:spMk id="3" creationId="{8F64A22E-2B43-4FC6-AF08-0CDB3F9E9269}"/>
          </ac:spMkLst>
        </pc:spChg>
        <pc:spChg chg="mod">
          <ac:chgData name="Batuhan Yildiz" userId="90f344fc-4655-4923-aeaf-697bba59c1a7" providerId="ADAL" clId="{D93E0B6F-02B8-40F6-8784-3C7FFACF7813}" dt="2020-04-30T17:46:50.773" v="49" actId="15"/>
          <ac:spMkLst>
            <pc:docMk/>
            <pc:sldMk cId="13571892" sldId="609"/>
            <ac:spMk id="6" creationId="{637E159C-9ACF-48AE-927A-D5FB13695C7F}"/>
          </ac:spMkLst>
        </pc:spChg>
      </pc:sldChg>
      <pc:sldChg chg="modNotesTx">
        <pc:chgData name="Batuhan Yildiz" userId="90f344fc-4655-4923-aeaf-697bba59c1a7" providerId="ADAL" clId="{D93E0B6F-02B8-40F6-8784-3C7FFACF7813}" dt="2020-04-30T17:47:14.106" v="53"/>
        <pc:sldMkLst>
          <pc:docMk/>
          <pc:sldMk cId="2713247343" sldId="610"/>
        </pc:sldMkLst>
      </pc:sldChg>
      <pc:sldChg chg="delSp mod">
        <pc:chgData name="Batuhan Yildiz" userId="90f344fc-4655-4923-aeaf-697bba59c1a7" providerId="ADAL" clId="{D93E0B6F-02B8-40F6-8784-3C7FFACF7813}" dt="2020-04-30T19:21:54.290" v="152" actId="478"/>
        <pc:sldMkLst>
          <pc:docMk/>
          <pc:sldMk cId="1841328874" sldId="615"/>
        </pc:sldMkLst>
        <pc:spChg chg="del">
          <ac:chgData name="Batuhan Yildiz" userId="90f344fc-4655-4923-aeaf-697bba59c1a7" providerId="ADAL" clId="{D93E0B6F-02B8-40F6-8784-3C7FFACF7813}" dt="2020-04-30T19:21:54.290" v="152" actId="478"/>
          <ac:spMkLst>
            <pc:docMk/>
            <pc:sldMk cId="1841328874" sldId="615"/>
            <ac:spMk id="4" creationId="{F3616A99-090F-45E1-9334-58D58B148205}"/>
          </ac:spMkLst>
        </pc:spChg>
      </pc:sldChg>
      <pc:sldChg chg="modSp mod modNotesTx">
        <pc:chgData name="Batuhan Yildiz" userId="90f344fc-4655-4923-aeaf-697bba59c1a7" providerId="ADAL" clId="{D93E0B6F-02B8-40F6-8784-3C7FFACF7813}" dt="2020-04-30T17:48:03.351" v="66" actId="20577"/>
        <pc:sldMkLst>
          <pc:docMk/>
          <pc:sldMk cId="1689261473" sldId="617"/>
        </pc:sldMkLst>
        <pc:spChg chg="mod">
          <ac:chgData name="Batuhan Yildiz" userId="90f344fc-4655-4923-aeaf-697bba59c1a7" providerId="ADAL" clId="{D93E0B6F-02B8-40F6-8784-3C7FFACF7813}" dt="2020-04-30T17:47:33.620" v="56" actId="20577"/>
          <ac:spMkLst>
            <pc:docMk/>
            <pc:sldMk cId="1689261473" sldId="617"/>
            <ac:spMk id="3" creationId="{8F64A22E-2B43-4FC6-AF08-0CDB3F9E9269}"/>
          </ac:spMkLst>
        </pc:spChg>
        <pc:spChg chg="mod">
          <ac:chgData name="Batuhan Yildiz" userId="90f344fc-4655-4923-aeaf-697bba59c1a7" providerId="ADAL" clId="{D93E0B6F-02B8-40F6-8784-3C7FFACF7813}" dt="2020-04-30T17:47:47.454" v="63" actId="15"/>
          <ac:spMkLst>
            <pc:docMk/>
            <pc:sldMk cId="1689261473" sldId="617"/>
            <ac:spMk id="6" creationId="{637E159C-9ACF-48AE-927A-D5FB13695C7F}"/>
          </ac:spMkLst>
        </pc:spChg>
      </pc:sldChg>
      <pc:sldChg chg="modSp mod modNotesTx">
        <pc:chgData name="Batuhan Yildiz" userId="90f344fc-4655-4923-aeaf-697bba59c1a7" providerId="ADAL" clId="{D93E0B6F-02B8-40F6-8784-3C7FFACF7813}" dt="2020-04-30T17:48:45.039" v="76" actId="20577"/>
        <pc:sldMkLst>
          <pc:docMk/>
          <pc:sldMk cId="3122286986" sldId="625"/>
        </pc:sldMkLst>
        <pc:spChg chg="mod">
          <ac:chgData name="Batuhan Yildiz" userId="90f344fc-4655-4923-aeaf-697bba59c1a7" providerId="ADAL" clId="{D93E0B6F-02B8-40F6-8784-3C7FFACF7813}" dt="2020-04-30T17:48:23.550" v="68" actId="20577"/>
          <ac:spMkLst>
            <pc:docMk/>
            <pc:sldMk cId="3122286986" sldId="625"/>
            <ac:spMk id="3" creationId="{8F64A22E-2B43-4FC6-AF08-0CDB3F9E9269}"/>
          </ac:spMkLst>
        </pc:spChg>
        <pc:spChg chg="mod">
          <ac:chgData name="Batuhan Yildiz" userId="90f344fc-4655-4923-aeaf-697bba59c1a7" providerId="ADAL" clId="{D93E0B6F-02B8-40F6-8784-3C7FFACF7813}" dt="2020-04-30T17:48:32.841" v="73" actId="15"/>
          <ac:spMkLst>
            <pc:docMk/>
            <pc:sldMk cId="3122286986" sldId="625"/>
            <ac:spMk id="6" creationId="{637E159C-9ACF-48AE-927A-D5FB13695C7F}"/>
          </ac:spMkLst>
        </pc:spChg>
      </pc:sldChg>
      <pc:sldChg chg="modSp mod modNotesTx">
        <pc:chgData name="Batuhan Yildiz" userId="90f344fc-4655-4923-aeaf-697bba59c1a7" providerId="ADAL" clId="{D93E0B6F-02B8-40F6-8784-3C7FFACF7813}" dt="2020-04-30T17:49:21.541" v="92" actId="20577"/>
        <pc:sldMkLst>
          <pc:docMk/>
          <pc:sldMk cId="4053386836" sldId="633"/>
        </pc:sldMkLst>
        <pc:spChg chg="mod">
          <ac:chgData name="Batuhan Yildiz" userId="90f344fc-4655-4923-aeaf-697bba59c1a7" providerId="ADAL" clId="{D93E0B6F-02B8-40F6-8784-3C7FFACF7813}" dt="2020-04-30T17:48:56.653" v="80" actId="20577"/>
          <ac:spMkLst>
            <pc:docMk/>
            <pc:sldMk cId="4053386836" sldId="633"/>
            <ac:spMk id="3" creationId="{8F64A22E-2B43-4FC6-AF08-0CDB3F9E9269}"/>
          </ac:spMkLst>
        </pc:spChg>
        <pc:spChg chg="mod">
          <ac:chgData name="Batuhan Yildiz" userId="90f344fc-4655-4923-aeaf-697bba59c1a7" providerId="ADAL" clId="{D93E0B6F-02B8-40F6-8784-3C7FFACF7813}" dt="2020-04-30T17:49:12.811" v="90" actId="15"/>
          <ac:spMkLst>
            <pc:docMk/>
            <pc:sldMk cId="4053386836" sldId="633"/>
            <ac:spMk id="6" creationId="{637E159C-9ACF-48AE-927A-D5FB13695C7F}"/>
          </ac:spMkLst>
        </pc:spChg>
      </pc:sldChg>
      <pc:sldChg chg="modNotesTx">
        <pc:chgData name="Batuhan Yildiz" userId="90f344fc-4655-4923-aeaf-697bba59c1a7" providerId="ADAL" clId="{D93E0B6F-02B8-40F6-8784-3C7FFACF7813}" dt="2020-04-30T17:50:29.270" v="117"/>
        <pc:sldMkLst>
          <pc:docMk/>
          <pc:sldMk cId="2366583079" sldId="634"/>
        </pc:sldMkLst>
      </pc:sldChg>
      <pc:sldChg chg="delSp mod">
        <pc:chgData name="Batuhan Yildiz" userId="90f344fc-4655-4923-aeaf-697bba59c1a7" providerId="ADAL" clId="{D93E0B6F-02B8-40F6-8784-3C7FFACF7813}" dt="2020-04-30T19:15:46.551" v="118" actId="478"/>
        <pc:sldMkLst>
          <pc:docMk/>
          <pc:sldMk cId="643880474" sldId="639"/>
        </pc:sldMkLst>
        <pc:spChg chg="del">
          <ac:chgData name="Batuhan Yildiz" userId="90f344fc-4655-4923-aeaf-697bba59c1a7" providerId="ADAL" clId="{D93E0B6F-02B8-40F6-8784-3C7FFACF7813}" dt="2020-04-30T19:15:46.551" v="118" actId="478"/>
          <ac:spMkLst>
            <pc:docMk/>
            <pc:sldMk cId="643880474" sldId="639"/>
            <ac:spMk id="3" creationId="{5CCE366E-BAD6-4A66-B593-D8A629C5682C}"/>
          </ac:spMkLst>
        </pc:spChg>
      </pc:sldChg>
      <pc:sldChg chg="delSp mod">
        <pc:chgData name="Batuhan Yildiz" userId="90f344fc-4655-4923-aeaf-697bba59c1a7" providerId="ADAL" clId="{D93E0B6F-02B8-40F6-8784-3C7FFACF7813}" dt="2020-04-30T19:15:53.298" v="119" actId="478"/>
        <pc:sldMkLst>
          <pc:docMk/>
          <pc:sldMk cId="2854273515" sldId="640"/>
        </pc:sldMkLst>
        <pc:spChg chg="del">
          <ac:chgData name="Batuhan Yildiz" userId="90f344fc-4655-4923-aeaf-697bba59c1a7" providerId="ADAL" clId="{D93E0B6F-02B8-40F6-8784-3C7FFACF7813}" dt="2020-04-30T19:15:53.298" v="119" actId="478"/>
          <ac:spMkLst>
            <pc:docMk/>
            <pc:sldMk cId="2854273515" sldId="640"/>
            <ac:spMk id="3" creationId="{5CCE366E-BAD6-4A66-B593-D8A629C5682C}"/>
          </ac:spMkLst>
        </pc:spChg>
      </pc:sldChg>
      <pc:sldChg chg="modSp">
        <pc:chgData name="Batuhan Yildiz" userId="90f344fc-4655-4923-aeaf-697bba59c1a7" providerId="ADAL" clId="{D93E0B6F-02B8-40F6-8784-3C7FFACF7813}" dt="2020-04-30T19:26:18.600" v="204"/>
        <pc:sldMkLst>
          <pc:docMk/>
          <pc:sldMk cId="2990827464" sldId="642"/>
        </pc:sldMkLst>
        <pc:graphicFrameChg chg="mod">
          <ac:chgData name="Batuhan Yildiz" userId="90f344fc-4655-4923-aeaf-697bba59c1a7" providerId="ADAL" clId="{D93E0B6F-02B8-40F6-8784-3C7FFACF7813}" dt="2020-04-30T19:26:18.600" v="204"/>
          <ac:graphicFrameMkLst>
            <pc:docMk/>
            <pc:sldMk cId="2990827464" sldId="642"/>
            <ac:graphicFrameMk id="3" creationId="{9484E1FE-7534-495E-863C-657A46F5E628}"/>
          </ac:graphicFrameMkLst>
        </pc:graphicFrameChg>
      </pc:sldChg>
      <pc:sldChg chg="modSp">
        <pc:chgData name="Batuhan Yildiz" userId="90f344fc-4655-4923-aeaf-697bba59c1a7" providerId="ADAL" clId="{D93E0B6F-02B8-40F6-8784-3C7FFACF7813}" dt="2020-04-30T19:23:34.268" v="169" actId="14100"/>
        <pc:sldMkLst>
          <pc:docMk/>
          <pc:sldMk cId="2517738057" sldId="643"/>
        </pc:sldMkLst>
        <pc:graphicFrameChg chg="mod">
          <ac:chgData name="Batuhan Yildiz" userId="90f344fc-4655-4923-aeaf-697bba59c1a7" providerId="ADAL" clId="{D93E0B6F-02B8-40F6-8784-3C7FFACF7813}" dt="2020-04-30T19:23:34.268" v="169" actId="14100"/>
          <ac:graphicFrameMkLst>
            <pc:docMk/>
            <pc:sldMk cId="2517738057" sldId="643"/>
            <ac:graphicFrameMk id="3" creationId="{9484E1FE-7534-495E-863C-657A46F5E628}"/>
          </ac:graphicFrameMkLst>
        </pc:graphicFrameChg>
      </pc:sldChg>
      <pc:sldChg chg="modSp">
        <pc:chgData name="Batuhan Yildiz" userId="90f344fc-4655-4923-aeaf-697bba59c1a7" providerId="ADAL" clId="{D93E0B6F-02B8-40F6-8784-3C7FFACF7813}" dt="2020-04-30T19:22:16.204" v="158" actId="14100"/>
        <pc:sldMkLst>
          <pc:docMk/>
          <pc:sldMk cId="2816314315" sldId="644"/>
        </pc:sldMkLst>
        <pc:graphicFrameChg chg="mod">
          <ac:chgData name="Batuhan Yildiz" userId="90f344fc-4655-4923-aeaf-697bba59c1a7" providerId="ADAL" clId="{D93E0B6F-02B8-40F6-8784-3C7FFACF7813}" dt="2020-04-30T19:22:16.204" v="158" actId="14100"/>
          <ac:graphicFrameMkLst>
            <pc:docMk/>
            <pc:sldMk cId="2816314315" sldId="644"/>
            <ac:graphicFrameMk id="3" creationId="{9484E1FE-7534-495E-863C-657A46F5E628}"/>
          </ac:graphicFrameMkLst>
        </pc:graphicFrameChg>
      </pc:sldChg>
      <pc:sldChg chg="modSp">
        <pc:chgData name="Batuhan Yildiz" userId="90f344fc-4655-4923-aeaf-697bba59c1a7" providerId="ADAL" clId="{D93E0B6F-02B8-40F6-8784-3C7FFACF7813}" dt="2020-04-30T19:21:35.619" v="151" actId="14100"/>
        <pc:sldMkLst>
          <pc:docMk/>
          <pc:sldMk cId="2637280707" sldId="645"/>
        </pc:sldMkLst>
        <pc:graphicFrameChg chg="mod">
          <ac:chgData name="Batuhan Yildiz" userId="90f344fc-4655-4923-aeaf-697bba59c1a7" providerId="ADAL" clId="{D93E0B6F-02B8-40F6-8784-3C7FFACF7813}" dt="2020-04-30T19:21:35.619" v="151" actId="14100"/>
          <ac:graphicFrameMkLst>
            <pc:docMk/>
            <pc:sldMk cId="2637280707" sldId="645"/>
            <ac:graphicFrameMk id="3" creationId="{9484E1FE-7534-495E-863C-657A46F5E628}"/>
          </ac:graphicFrameMkLst>
        </pc:graphicFrameChg>
      </pc:sldChg>
      <pc:sldChg chg="modSp">
        <pc:chgData name="Batuhan Yildiz" userId="90f344fc-4655-4923-aeaf-697bba59c1a7" providerId="ADAL" clId="{D93E0B6F-02B8-40F6-8784-3C7FFACF7813}" dt="2020-04-30T19:21:06.714" v="148" actId="14100"/>
        <pc:sldMkLst>
          <pc:docMk/>
          <pc:sldMk cId="1361087952" sldId="646"/>
        </pc:sldMkLst>
        <pc:graphicFrameChg chg="mod">
          <ac:chgData name="Batuhan Yildiz" userId="90f344fc-4655-4923-aeaf-697bba59c1a7" providerId="ADAL" clId="{D93E0B6F-02B8-40F6-8784-3C7FFACF7813}" dt="2020-04-30T19:21:06.714" v="148" actId="14100"/>
          <ac:graphicFrameMkLst>
            <pc:docMk/>
            <pc:sldMk cId="1361087952" sldId="646"/>
            <ac:graphicFrameMk id="3" creationId="{9484E1FE-7534-495E-863C-657A46F5E628}"/>
          </ac:graphicFrameMkLst>
        </pc:graphicFrameChg>
      </pc:sldChg>
      <pc:sldChg chg="modSp">
        <pc:chgData name="Batuhan Yildiz" userId="90f344fc-4655-4923-aeaf-697bba59c1a7" providerId="ADAL" clId="{D93E0B6F-02B8-40F6-8784-3C7FFACF7813}" dt="2020-04-30T19:19:50.713" v="138" actId="14100"/>
        <pc:sldMkLst>
          <pc:docMk/>
          <pc:sldMk cId="3626538139" sldId="647"/>
        </pc:sldMkLst>
        <pc:graphicFrameChg chg="mod">
          <ac:chgData name="Batuhan Yildiz" userId="90f344fc-4655-4923-aeaf-697bba59c1a7" providerId="ADAL" clId="{D93E0B6F-02B8-40F6-8784-3C7FFACF7813}" dt="2020-04-30T19:19:50.713" v="138" actId="14100"/>
          <ac:graphicFrameMkLst>
            <pc:docMk/>
            <pc:sldMk cId="3626538139" sldId="647"/>
            <ac:graphicFrameMk id="3" creationId="{9484E1FE-7534-495E-863C-657A46F5E628}"/>
          </ac:graphicFrameMkLst>
        </pc:graphicFrameChg>
      </pc:sldChg>
      <pc:sldChg chg="modSp">
        <pc:chgData name="Batuhan Yildiz" userId="90f344fc-4655-4923-aeaf-697bba59c1a7" providerId="ADAL" clId="{D93E0B6F-02B8-40F6-8784-3C7FFACF7813}" dt="2020-04-30T19:19:26.348" v="137" actId="14100"/>
        <pc:sldMkLst>
          <pc:docMk/>
          <pc:sldMk cId="174269151" sldId="648"/>
        </pc:sldMkLst>
        <pc:graphicFrameChg chg="mod">
          <ac:chgData name="Batuhan Yildiz" userId="90f344fc-4655-4923-aeaf-697bba59c1a7" providerId="ADAL" clId="{D93E0B6F-02B8-40F6-8784-3C7FFACF7813}" dt="2020-04-30T19:19:26.348" v="137" actId="14100"/>
          <ac:graphicFrameMkLst>
            <pc:docMk/>
            <pc:sldMk cId="174269151" sldId="648"/>
            <ac:graphicFrameMk id="3" creationId="{9484E1FE-7534-495E-863C-657A46F5E628}"/>
          </ac:graphicFrameMkLst>
        </pc:graphicFrameChg>
      </pc:sldChg>
      <pc:sldChg chg="modSp">
        <pc:chgData name="Batuhan Yildiz" userId="90f344fc-4655-4923-aeaf-697bba59c1a7" providerId="ADAL" clId="{D93E0B6F-02B8-40F6-8784-3C7FFACF7813}" dt="2020-04-30T19:18:53.591" v="135" actId="14100"/>
        <pc:sldMkLst>
          <pc:docMk/>
          <pc:sldMk cId="4214907563" sldId="649"/>
        </pc:sldMkLst>
        <pc:graphicFrameChg chg="mod">
          <ac:chgData name="Batuhan Yildiz" userId="90f344fc-4655-4923-aeaf-697bba59c1a7" providerId="ADAL" clId="{D93E0B6F-02B8-40F6-8784-3C7FFACF7813}" dt="2020-04-30T19:18:53.591" v="135" actId="14100"/>
          <ac:graphicFrameMkLst>
            <pc:docMk/>
            <pc:sldMk cId="4214907563" sldId="649"/>
            <ac:graphicFrameMk id="3" creationId="{9484E1FE-7534-495E-863C-657A46F5E628}"/>
          </ac:graphicFrameMkLst>
        </pc:graphicFrameChg>
      </pc:sldChg>
      <pc:sldChg chg="modSp">
        <pc:chgData name="Batuhan Yildiz" userId="90f344fc-4655-4923-aeaf-697bba59c1a7" providerId="ADAL" clId="{D93E0B6F-02B8-40F6-8784-3C7FFACF7813}" dt="2020-04-30T19:17:07.214" v="133" actId="14100"/>
        <pc:sldMkLst>
          <pc:docMk/>
          <pc:sldMk cId="3377701618" sldId="650"/>
        </pc:sldMkLst>
        <pc:graphicFrameChg chg="mod">
          <ac:chgData name="Batuhan Yildiz" userId="90f344fc-4655-4923-aeaf-697bba59c1a7" providerId="ADAL" clId="{D93E0B6F-02B8-40F6-8784-3C7FFACF7813}" dt="2020-04-30T19:17:07.214" v="133" actId="14100"/>
          <ac:graphicFrameMkLst>
            <pc:docMk/>
            <pc:sldMk cId="3377701618" sldId="650"/>
            <ac:graphicFrameMk id="3" creationId="{9484E1FE-7534-495E-863C-657A46F5E628}"/>
          </ac:graphicFrameMkLst>
        </pc:graphicFrameChg>
      </pc:sldChg>
      <pc:sldChg chg="modSp">
        <pc:chgData name="Batuhan Yildiz" userId="90f344fc-4655-4923-aeaf-697bba59c1a7" providerId="ADAL" clId="{D93E0B6F-02B8-40F6-8784-3C7FFACF7813}" dt="2020-04-30T19:16:35.840" v="126" actId="12100"/>
        <pc:sldMkLst>
          <pc:docMk/>
          <pc:sldMk cId="630716458" sldId="653"/>
        </pc:sldMkLst>
        <pc:graphicFrameChg chg="mod">
          <ac:chgData name="Batuhan Yildiz" userId="90f344fc-4655-4923-aeaf-697bba59c1a7" providerId="ADAL" clId="{D93E0B6F-02B8-40F6-8784-3C7FFACF7813}" dt="2020-04-30T19:16:35.840" v="126" actId="12100"/>
          <ac:graphicFrameMkLst>
            <pc:docMk/>
            <pc:sldMk cId="630716458" sldId="653"/>
            <ac:graphicFrameMk id="4" creationId="{4E7FB55A-2C6D-400F-8F89-6CCD7B42531C}"/>
          </ac:graphicFrameMkLst>
        </pc:graphicFrameChg>
      </pc:sldChg>
      <pc:sldChg chg="delSp mod">
        <pc:chgData name="Batuhan Yildiz" userId="90f344fc-4655-4923-aeaf-697bba59c1a7" providerId="ADAL" clId="{D93E0B6F-02B8-40F6-8784-3C7FFACF7813}" dt="2020-04-30T19:16:46.830" v="127" actId="478"/>
        <pc:sldMkLst>
          <pc:docMk/>
          <pc:sldMk cId="1794916588" sldId="654"/>
        </pc:sldMkLst>
        <pc:spChg chg="del">
          <ac:chgData name="Batuhan Yildiz" userId="90f344fc-4655-4923-aeaf-697bba59c1a7" providerId="ADAL" clId="{D93E0B6F-02B8-40F6-8784-3C7FFACF7813}" dt="2020-04-30T19:16:46.830" v="127" actId="478"/>
          <ac:spMkLst>
            <pc:docMk/>
            <pc:sldMk cId="1794916588" sldId="654"/>
            <ac:spMk id="3" creationId="{9634D9FC-0A5A-4361-A2DB-C3A5663F0396}"/>
          </ac:spMkLst>
        </pc:spChg>
      </pc:sldChg>
      <pc:sldChg chg="delSp mod">
        <pc:chgData name="Batuhan Yildiz" userId="90f344fc-4655-4923-aeaf-697bba59c1a7" providerId="ADAL" clId="{D93E0B6F-02B8-40F6-8784-3C7FFACF7813}" dt="2020-04-30T19:19:14.069" v="136" actId="478"/>
        <pc:sldMkLst>
          <pc:docMk/>
          <pc:sldMk cId="602176277" sldId="667"/>
        </pc:sldMkLst>
        <pc:spChg chg="del">
          <ac:chgData name="Batuhan Yildiz" userId="90f344fc-4655-4923-aeaf-697bba59c1a7" providerId="ADAL" clId="{D93E0B6F-02B8-40F6-8784-3C7FFACF7813}" dt="2020-04-30T19:19:14.069" v="136" actId="478"/>
          <ac:spMkLst>
            <pc:docMk/>
            <pc:sldMk cId="602176277" sldId="667"/>
            <ac:spMk id="3" creationId="{70DC4747-7802-46DF-94B4-DF7922896757}"/>
          </ac:spMkLst>
        </pc:spChg>
      </pc:sldChg>
      <pc:sldChg chg="delSp mod">
        <pc:chgData name="Batuhan Yildiz" userId="90f344fc-4655-4923-aeaf-697bba59c1a7" providerId="ADAL" clId="{D93E0B6F-02B8-40F6-8784-3C7FFACF7813}" dt="2020-04-30T19:20:07.290" v="139" actId="478"/>
        <pc:sldMkLst>
          <pc:docMk/>
          <pc:sldMk cId="431266411" sldId="676"/>
        </pc:sldMkLst>
        <pc:spChg chg="del">
          <ac:chgData name="Batuhan Yildiz" userId="90f344fc-4655-4923-aeaf-697bba59c1a7" providerId="ADAL" clId="{D93E0B6F-02B8-40F6-8784-3C7FFACF7813}" dt="2020-04-30T19:20:07.290" v="139" actId="478"/>
          <ac:spMkLst>
            <pc:docMk/>
            <pc:sldMk cId="431266411" sldId="676"/>
            <ac:spMk id="3" creationId="{68D176DE-5432-4386-9B9A-374FFD7F7F29}"/>
          </ac:spMkLst>
        </pc:spChg>
      </pc:sldChg>
      <pc:sldChg chg="addSp delSp modSp mod addAnim delAnim">
        <pc:chgData name="Batuhan Yildiz" userId="90f344fc-4655-4923-aeaf-697bba59c1a7" providerId="ADAL" clId="{D93E0B6F-02B8-40F6-8784-3C7FFACF7813}" dt="2020-04-30T19:20:26.068" v="143" actId="478"/>
        <pc:sldMkLst>
          <pc:docMk/>
          <pc:sldMk cId="621496957" sldId="677"/>
        </pc:sldMkLst>
        <pc:spChg chg="del">
          <ac:chgData name="Batuhan Yildiz" userId="90f344fc-4655-4923-aeaf-697bba59c1a7" providerId="ADAL" clId="{D93E0B6F-02B8-40F6-8784-3C7FFACF7813}" dt="2020-04-30T19:20:26.068" v="143" actId="478"/>
          <ac:spMkLst>
            <pc:docMk/>
            <pc:sldMk cId="621496957" sldId="677"/>
            <ac:spMk id="3" creationId="{68D176DE-5432-4386-9B9A-374FFD7F7F29}"/>
          </ac:spMkLst>
        </pc:spChg>
        <pc:graphicFrameChg chg="add del mod">
          <ac:chgData name="Batuhan Yildiz" userId="90f344fc-4655-4923-aeaf-697bba59c1a7" providerId="ADAL" clId="{D93E0B6F-02B8-40F6-8784-3C7FFACF7813}" dt="2020-04-30T19:20:22.724" v="142" actId="14100"/>
          <ac:graphicFrameMkLst>
            <pc:docMk/>
            <pc:sldMk cId="621496957" sldId="677"/>
            <ac:graphicFrameMk id="7" creationId="{C210E1AC-C10D-4071-AF19-94F4A9176715}"/>
          </ac:graphicFrameMkLst>
        </pc:graphicFrameChg>
      </pc:sldChg>
      <pc:sldChg chg="delSp mod">
        <pc:chgData name="Batuhan Yildiz" userId="90f344fc-4655-4923-aeaf-697bba59c1a7" providerId="ADAL" clId="{D93E0B6F-02B8-40F6-8784-3C7FFACF7813}" dt="2020-04-30T19:20:41.327" v="144" actId="478"/>
        <pc:sldMkLst>
          <pc:docMk/>
          <pc:sldMk cId="2280637435" sldId="678"/>
        </pc:sldMkLst>
        <pc:spChg chg="del">
          <ac:chgData name="Batuhan Yildiz" userId="90f344fc-4655-4923-aeaf-697bba59c1a7" providerId="ADAL" clId="{D93E0B6F-02B8-40F6-8784-3C7FFACF7813}" dt="2020-04-30T19:20:41.327" v="144" actId="478"/>
          <ac:spMkLst>
            <pc:docMk/>
            <pc:sldMk cId="2280637435" sldId="678"/>
            <ac:spMk id="3" creationId="{68D176DE-5432-4386-9B9A-374FFD7F7F29}"/>
          </ac:spMkLst>
        </pc:spChg>
      </pc:sldChg>
      <pc:sldChg chg="delSp mod">
        <pc:chgData name="Batuhan Yildiz" userId="90f344fc-4655-4923-aeaf-697bba59c1a7" providerId="ADAL" clId="{D93E0B6F-02B8-40F6-8784-3C7FFACF7813}" dt="2020-04-30T19:20:52.918" v="145" actId="478"/>
        <pc:sldMkLst>
          <pc:docMk/>
          <pc:sldMk cId="1498292930" sldId="679"/>
        </pc:sldMkLst>
        <pc:spChg chg="del">
          <ac:chgData name="Batuhan Yildiz" userId="90f344fc-4655-4923-aeaf-697bba59c1a7" providerId="ADAL" clId="{D93E0B6F-02B8-40F6-8784-3C7FFACF7813}" dt="2020-04-30T19:20:52.918" v="145" actId="478"/>
          <ac:spMkLst>
            <pc:docMk/>
            <pc:sldMk cId="1498292930" sldId="679"/>
            <ac:spMk id="3" creationId="{B017FD64-101C-4126-9D92-1A1C9CF56E8E}"/>
          </ac:spMkLst>
        </pc:spChg>
      </pc:sldChg>
      <pc:sldChg chg="delSp mod">
        <pc:chgData name="Batuhan Yildiz" userId="90f344fc-4655-4923-aeaf-697bba59c1a7" providerId="ADAL" clId="{D93E0B6F-02B8-40F6-8784-3C7FFACF7813}" dt="2020-04-30T19:21:16.869" v="149" actId="478"/>
        <pc:sldMkLst>
          <pc:docMk/>
          <pc:sldMk cId="945245103" sldId="680"/>
        </pc:sldMkLst>
        <pc:spChg chg="del">
          <ac:chgData name="Batuhan Yildiz" userId="90f344fc-4655-4923-aeaf-697bba59c1a7" providerId="ADAL" clId="{D93E0B6F-02B8-40F6-8784-3C7FFACF7813}" dt="2020-04-30T19:21:16.869" v="149" actId="478"/>
          <ac:spMkLst>
            <pc:docMk/>
            <pc:sldMk cId="945245103" sldId="680"/>
            <ac:spMk id="3" creationId="{7B328F90-8744-49C0-9EF2-0307FC023C72}"/>
          </ac:spMkLst>
        </pc:spChg>
      </pc:sldChg>
      <pc:sldChg chg="delSp modSp mod">
        <pc:chgData name="Batuhan Yildiz" userId="90f344fc-4655-4923-aeaf-697bba59c1a7" providerId="ADAL" clId="{D93E0B6F-02B8-40F6-8784-3C7FFACF7813}" dt="2020-04-30T19:22:47.007" v="160" actId="478"/>
        <pc:sldMkLst>
          <pc:docMk/>
          <pc:sldMk cId="2559332806" sldId="686"/>
        </pc:sldMkLst>
        <pc:spChg chg="del">
          <ac:chgData name="Batuhan Yildiz" userId="90f344fc-4655-4923-aeaf-697bba59c1a7" providerId="ADAL" clId="{D93E0B6F-02B8-40F6-8784-3C7FFACF7813}" dt="2020-04-30T19:22:47.007" v="160" actId="478"/>
          <ac:spMkLst>
            <pc:docMk/>
            <pc:sldMk cId="2559332806" sldId="686"/>
            <ac:spMk id="3" creationId="{77249A71-4FEF-4700-8427-A758E035F07E}"/>
          </ac:spMkLst>
        </pc:spChg>
        <pc:graphicFrameChg chg="mod">
          <ac:chgData name="Batuhan Yildiz" userId="90f344fc-4655-4923-aeaf-697bba59c1a7" providerId="ADAL" clId="{D93E0B6F-02B8-40F6-8784-3C7FFACF7813}" dt="2020-04-30T19:22:37.851" v="159" actId="12100"/>
          <ac:graphicFrameMkLst>
            <pc:docMk/>
            <pc:sldMk cId="2559332806" sldId="686"/>
            <ac:graphicFrameMk id="63" creationId="{68B29237-EA36-4C5C-B7F7-795F0B6E15F6}"/>
          </ac:graphicFrameMkLst>
        </pc:graphicFrameChg>
      </pc:sldChg>
      <pc:sldChg chg="addSp delSp modSp mod addAnim delAnim">
        <pc:chgData name="Batuhan Yildiz" userId="90f344fc-4655-4923-aeaf-697bba59c1a7" providerId="ADAL" clId="{D93E0B6F-02B8-40F6-8784-3C7FFACF7813}" dt="2020-04-30T19:23:17.834" v="165" actId="14100"/>
        <pc:sldMkLst>
          <pc:docMk/>
          <pc:sldMk cId="1066392282" sldId="687"/>
        </pc:sldMkLst>
        <pc:graphicFrameChg chg="add del mod">
          <ac:chgData name="Batuhan Yildiz" userId="90f344fc-4655-4923-aeaf-697bba59c1a7" providerId="ADAL" clId="{D93E0B6F-02B8-40F6-8784-3C7FFACF7813}" dt="2020-04-30T19:23:17.834" v="165" actId="14100"/>
          <ac:graphicFrameMkLst>
            <pc:docMk/>
            <pc:sldMk cId="1066392282" sldId="687"/>
            <ac:graphicFrameMk id="8" creationId="{B3FE8885-35C4-4AFD-989A-40D9C461D9F5}"/>
          </ac:graphicFrameMkLst>
        </pc:graphicFrameChg>
      </pc:sldChg>
      <pc:sldChg chg="delSp modSp mod">
        <pc:chgData name="Batuhan Yildiz" userId="90f344fc-4655-4923-aeaf-697bba59c1a7" providerId="ADAL" clId="{D93E0B6F-02B8-40F6-8784-3C7FFACF7813}" dt="2020-04-30T19:23:53.070" v="171" actId="12100"/>
        <pc:sldMkLst>
          <pc:docMk/>
          <pc:sldMk cId="3584439836" sldId="688"/>
        </pc:sldMkLst>
        <pc:spChg chg="del">
          <ac:chgData name="Batuhan Yildiz" userId="90f344fc-4655-4923-aeaf-697bba59c1a7" providerId="ADAL" clId="{D93E0B6F-02B8-40F6-8784-3C7FFACF7813}" dt="2020-04-30T19:23:45.479" v="170" actId="478"/>
          <ac:spMkLst>
            <pc:docMk/>
            <pc:sldMk cId="3584439836" sldId="688"/>
            <ac:spMk id="3" creationId="{2DB7971A-3041-4A25-8EAC-DD97EB877C3C}"/>
          </ac:spMkLst>
        </pc:spChg>
        <pc:graphicFrameChg chg="mod">
          <ac:chgData name="Batuhan Yildiz" userId="90f344fc-4655-4923-aeaf-697bba59c1a7" providerId="ADAL" clId="{D93E0B6F-02B8-40F6-8784-3C7FFACF7813}" dt="2020-04-30T19:23:53.070" v="171" actId="12100"/>
          <ac:graphicFrameMkLst>
            <pc:docMk/>
            <pc:sldMk cId="3584439836" sldId="688"/>
            <ac:graphicFrameMk id="4" creationId="{CEB83125-D7BB-46F3-A727-E480DA74AE24}"/>
          </ac:graphicFrameMkLst>
        </pc:graphicFrameChg>
      </pc:sldChg>
      <pc:sldChg chg="delSp mod">
        <pc:chgData name="Batuhan Yildiz" userId="90f344fc-4655-4923-aeaf-697bba59c1a7" providerId="ADAL" clId="{D93E0B6F-02B8-40F6-8784-3C7FFACF7813}" dt="2020-04-30T19:24:05.426" v="172" actId="478"/>
        <pc:sldMkLst>
          <pc:docMk/>
          <pc:sldMk cId="3435379314" sldId="690"/>
        </pc:sldMkLst>
        <pc:spChg chg="del">
          <ac:chgData name="Batuhan Yildiz" userId="90f344fc-4655-4923-aeaf-697bba59c1a7" providerId="ADAL" clId="{D93E0B6F-02B8-40F6-8784-3C7FFACF7813}" dt="2020-04-30T19:24:05.426" v="172" actId="478"/>
          <ac:spMkLst>
            <pc:docMk/>
            <pc:sldMk cId="3435379314" sldId="690"/>
            <ac:spMk id="3" creationId="{2DB7971A-3041-4A25-8EAC-DD97EB877C3C}"/>
          </ac:spMkLst>
        </pc:spChg>
      </pc:sldChg>
      <pc:sldChg chg="delSp mod">
        <pc:chgData name="Batuhan Yildiz" userId="90f344fc-4655-4923-aeaf-697bba59c1a7" providerId="ADAL" clId="{D93E0B6F-02B8-40F6-8784-3C7FFACF7813}" dt="2020-04-30T19:24:22.578" v="173" actId="478"/>
        <pc:sldMkLst>
          <pc:docMk/>
          <pc:sldMk cId="1701640623" sldId="691"/>
        </pc:sldMkLst>
        <pc:spChg chg="del">
          <ac:chgData name="Batuhan Yildiz" userId="90f344fc-4655-4923-aeaf-697bba59c1a7" providerId="ADAL" clId="{D93E0B6F-02B8-40F6-8784-3C7FFACF7813}" dt="2020-04-30T19:24:22.578" v="173" actId="478"/>
          <ac:spMkLst>
            <pc:docMk/>
            <pc:sldMk cId="1701640623" sldId="691"/>
            <ac:spMk id="3" creationId="{2DB7971A-3041-4A25-8EAC-DD97EB877C3C}"/>
          </ac:spMkLst>
        </pc:spChg>
      </pc:sldChg>
      <pc:sldChg chg="delSp mod">
        <pc:chgData name="Batuhan Yildiz" userId="90f344fc-4655-4923-aeaf-697bba59c1a7" providerId="ADAL" clId="{D93E0B6F-02B8-40F6-8784-3C7FFACF7813}" dt="2020-04-30T19:24:30.123" v="174" actId="478"/>
        <pc:sldMkLst>
          <pc:docMk/>
          <pc:sldMk cId="3745596632" sldId="692"/>
        </pc:sldMkLst>
        <pc:spChg chg="del">
          <ac:chgData name="Batuhan Yildiz" userId="90f344fc-4655-4923-aeaf-697bba59c1a7" providerId="ADAL" clId="{D93E0B6F-02B8-40F6-8784-3C7FFACF7813}" dt="2020-04-30T19:24:30.123" v="174" actId="478"/>
          <ac:spMkLst>
            <pc:docMk/>
            <pc:sldMk cId="3745596632" sldId="692"/>
            <ac:spMk id="3" creationId="{2DB7971A-3041-4A25-8EAC-DD97EB877C3C}"/>
          </ac:spMkLst>
        </pc:spChg>
      </pc:sldChg>
      <pc:sldChg chg="delSp mod">
        <pc:chgData name="Batuhan Yildiz" userId="90f344fc-4655-4923-aeaf-697bba59c1a7" providerId="ADAL" clId="{D93E0B6F-02B8-40F6-8784-3C7FFACF7813}" dt="2020-04-30T19:24:38.396" v="175" actId="478"/>
        <pc:sldMkLst>
          <pc:docMk/>
          <pc:sldMk cId="2189967666" sldId="693"/>
        </pc:sldMkLst>
        <pc:spChg chg="del">
          <ac:chgData name="Batuhan Yildiz" userId="90f344fc-4655-4923-aeaf-697bba59c1a7" providerId="ADAL" clId="{D93E0B6F-02B8-40F6-8784-3C7FFACF7813}" dt="2020-04-30T19:24:38.396" v="175" actId="478"/>
          <ac:spMkLst>
            <pc:docMk/>
            <pc:sldMk cId="2189967666" sldId="693"/>
            <ac:spMk id="3" creationId="{B0AEF067-DA60-4AB4-962E-F950822CD7A0}"/>
          </ac:spMkLst>
        </pc:spChg>
      </pc:sldChg>
      <pc:sldChg chg="delSp mod">
        <pc:chgData name="Batuhan Yildiz" userId="90f344fc-4655-4923-aeaf-697bba59c1a7" providerId="ADAL" clId="{D93E0B6F-02B8-40F6-8784-3C7FFACF7813}" dt="2020-04-30T19:24:44.419" v="176" actId="478"/>
        <pc:sldMkLst>
          <pc:docMk/>
          <pc:sldMk cId="2729530483" sldId="694"/>
        </pc:sldMkLst>
        <pc:spChg chg="del">
          <ac:chgData name="Batuhan Yildiz" userId="90f344fc-4655-4923-aeaf-697bba59c1a7" providerId="ADAL" clId="{D93E0B6F-02B8-40F6-8784-3C7FFACF7813}" dt="2020-04-30T19:24:44.419" v="176" actId="478"/>
          <ac:spMkLst>
            <pc:docMk/>
            <pc:sldMk cId="2729530483" sldId="694"/>
            <ac:spMk id="3" creationId="{B0AEF067-DA60-4AB4-962E-F950822CD7A0}"/>
          </ac:spMkLst>
        </pc:spChg>
      </pc:sldChg>
      <pc:sldChg chg="delSp mod">
        <pc:chgData name="Batuhan Yildiz" userId="90f344fc-4655-4923-aeaf-697bba59c1a7" providerId="ADAL" clId="{D93E0B6F-02B8-40F6-8784-3C7FFACF7813}" dt="2020-04-30T19:24:54.841" v="177" actId="478"/>
        <pc:sldMkLst>
          <pc:docMk/>
          <pc:sldMk cId="687763397" sldId="695"/>
        </pc:sldMkLst>
        <pc:spChg chg="del">
          <ac:chgData name="Batuhan Yildiz" userId="90f344fc-4655-4923-aeaf-697bba59c1a7" providerId="ADAL" clId="{D93E0B6F-02B8-40F6-8784-3C7FFACF7813}" dt="2020-04-30T19:24:54.841" v="177" actId="478"/>
          <ac:spMkLst>
            <pc:docMk/>
            <pc:sldMk cId="687763397" sldId="695"/>
            <ac:spMk id="3" creationId="{B0AEF067-DA60-4AB4-962E-F950822CD7A0}"/>
          </ac:spMkLst>
        </pc:spChg>
      </pc:sldChg>
      <pc:sldChg chg="delSp modSp mod">
        <pc:chgData name="Batuhan Yildiz" userId="90f344fc-4655-4923-aeaf-697bba59c1a7" providerId="ADAL" clId="{D93E0B6F-02B8-40F6-8784-3C7FFACF7813}" dt="2020-04-30T19:25:19.184" v="179" actId="12100"/>
        <pc:sldMkLst>
          <pc:docMk/>
          <pc:sldMk cId="3356156530" sldId="696"/>
        </pc:sldMkLst>
        <pc:spChg chg="del">
          <ac:chgData name="Batuhan Yildiz" userId="90f344fc-4655-4923-aeaf-697bba59c1a7" providerId="ADAL" clId="{D93E0B6F-02B8-40F6-8784-3C7FFACF7813}" dt="2020-04-30T19:25:10.126" v="178" actId="478"/>
          <ac:spMkLst>
            <pc:docMk/>
            <pc:sldMk cId="3356156530" sldId="696"/>
            <ac:spMk id="3" creationId="{B0AEF067-DA60-4AB4-962E-F950822CD7A0}"/>
          </ac:spMkLst>
        </pc:spChg>
        <pc:graphicFrameChg chg="mod">
          <ac:chgData name="Batuhan Yildiz" userId="90f344fc-4655-4923-aeaf-697bba59c1a7" providerId="ADAL" clId="{D93E0B6F-02B8-40F6-8784-3C7FFACF7813}" dt="2020-04-30T19:25:19.184" v="179" actId="12100"/>
          <ac:graphicFrameMkLst>
            <pc:docMk/>
            <pc:sldMk cId="3356156530" sldId="696"/>
            <ac:graphicFrameMk id="23" creationId="{E2CFB2A8-F63C-45D8-AA78-AEB6B2644A21}"/>
          </ac:graphicFrameMkLst>
        </pc:graphicFrameChg>
      </pc:sldChg>
      <pc:sldChg chg="modSp mod modNotesTx">
        <pc:chgData name="Batuhan Yildiz" userId="90f344fc-4655-4923-aeaf-697bba59c1a7" providerId="ADAL" clId="{D93E0B6F-02B8-40F6-8784-3C7FFACF7813}" dt="2020-04-30T17:49:52.682" v="104" actId="20577"/>
        <pc:sldMkLst>
          <pc:docMk/>
          <pc:sldMk cId="811236764" sldId="698"/>
        </pc:sldMkLst>
        <pc:spChg chg="mod">
          <ac:chgData name="Batuhan Yildiz" userId="90f344fc-4655-4923-aeaf-697bba59c1a7" providerId="ADAL" clId="{D93E0B6F-02B8-40F6-8784-3C7FFACF7813}" dt="2020-04-30T17:49:30.916" v="96" actId="20577"/>
          <ac:spMkLst>
            <pc:docMk/>
            <pc:sldMk cId="811236764" sldId="698"/>
            <ac:spMk id="3" creationId="{8F64A22E-2B43-4FC6-AF08-0CDB3F9E9269}"/>
          </ac:spMkLst>
        </pc:spChg>
        <pc:spChg chg="mod">
          <ac:chgData name="Batuhan Yildiz" userId="90f344fc-4655-4923-aeaf-697bba59c1a7" providerId="ADAL" clId="{D93E0B6F-02B8-40F6-8784-3C7FFACF7813}" dt="2020-04-30T17:49:42.951" v="101" actId="15"/>
          <ac:spMkLst>
            <pc:docMk/>
            <pc:sldMk cId="811236764" sldId="698"/>
            <ac:spMk id="6" creationId="{637E159C-9ACF-48AE-927A-D5FB13695C7F}"/>
          </ac:spMkLst>
        </pc:spChg>
      </pc:sldChg>
      <pc:sldChg chg="delSp mod">
        <pc:chgData name="Batuhan Yildiz" userId="90f344fc-4655-4923-aeaf-697bba59c1a7" providerId="ADAL" clId="{D93E0B6F-02B8-40F6-8784-3C7FFACF7813}" dt="2020-04-30T19:25:28.615" v="180" actId="478"/>
        <pc:sldMkLst>
          <pc:docMk/>
          <pc:sldMk cId="2984374178" sldId="699"/>
        </pc:sldMkLst>
        <pc:spChg chg="del">
          <ac:chgData name="Batuhan Yildiz" userId="90f344fc-4655-4923-aeaf-697bba59c1a7" providerId="ADAL" clId="{D93E0B6F-02B8-40F6-8784-3C7FFACF7813}" dt="2020-04-30T19:25:28.615" v="180" actId="478"/>
          <ac:spMkLst>
            <pc:docMk/>
            <pc:sldMk cId="2984374178" sldId="699"/>
            <ac:spMk id="3" creationId="{B0AEF067-DA60-4AB4-962E-F950822CD7A0}"/>
          </ac:spMkLst>
        </pc:spChg>
      </pc:sldChg>
      <pc:sldChg chg="modSp mod modNotesTx">
        <pc:chgData name="Batuhan Yildiz" userId="90f344fc-4655-4923-aeaf-697bba59c1a7" providerId="ADAL" clId="{D93E0B6F-02B8-40F6-8784-3C7FFACF7813}" dt="2020-04-30T17:50:18.644" v="116" actId="20577"/>
        <pc:sldMkLst>
          <pc:docMk/>
          <pc:sldMk cId="2787079526" sldId="701"/>
        </pc:sldMkLst>
        <pc:spChg chg="mod">
          <ac:chgData name="Batuhan Yildiz" userId="90f344fc-4655-4923-aeaf-697bba59c1a7" providerId="ADAL" clId="{D93E0B6F-02B8-40F6-8784-3C7FFACF7813}" dt="2020-04-30T17:50:02.604" v="108" actId="20577"/>
          <ac:spMkLst>
            <pc:docMk/>
            <pc:sldMk cId="2787079526" sldId="701"/>
            <ac:spMk id="3" creationId="{8F64A22E-2B43-4FC6-AF08-0CDB3F9E9269}"/>
          </ac:spMkLst>
        </pc:spChg>
        <pc:spChg chg="mod">
          <ac:chgData name="Batuhan Yildiz" userId="90f344fc-4655-4923-aeaf-697bba59c1a7" providerId="ADAL" clId="{D93E0B6F-02B8-40F6-8784-3C7FFACF7813}" dt="2020-04-30T17:50:10.961" v="113" actId="15"/>
          <ac:spMkLst>
            <pc:docMk/>
            <pc:sldMk cId="2787079526" sldId="701"/>
            <ac:spMk id="6" creationId="{637E159C-9ACF-48AE-927A-D5FB13695C7F}"/>
          </ac:spMkLst>
        </pc:spChg>
      </pc:sldChg>
    </pc:docChg>
  </pc:docChgLst>
  <pc:docChgLst>
    <pc:chgData name="Kavitha Saravanan" userId="S::kasarava@microsoft.com::3b757fa3-84ac-459e-8671-80b7dc3d418f" providerId="AD" clId="Web-{ADEF86CF-3BAC-E484-72B2-9C30815C306D}"/>
    <pc:docChg chg="modSld">
      <pc:chgData name="Kavitha Saravanan" userId="S::kasarava@microsoft.com::3b757fa3-84ac-459e-8671-80b7dc3d418f" providerId="AD" clId="Web-{ADEF86CF-3BAC-E484-72B2-9C30815C306D}" dt="2020-07-28T00:25:41.181" v="49"/>
      <pc:docMkLst>
        <pc:docMk/>
      </pc:docMkLst>
      <pc:sldChg chg="modNotes">
        <pc:chgData name="Kavitha Saravanan" userId="S::kasarava@microsoft.com::3b757fa3-84ac-459e-8671-80b7dc3d418f" providerId="AD" clId="Web-{ADEF86CF-3BAC-E484-72B2-9C30815C306D}" dt="2020-07-28T00:25:41.181" v="49"/>
        <pc:sldMkLst>
          <pc:docMk/>
          <pc:sldMk cId="743308310" sldId="593"/>
        </pc:sldMkLst>
      </pc:sldChg>
    </pc:docChg>
  </pc:docChgLst>
  <pc:docChgLst>
    <pc:chgData name="Renata Festa" userId="6f22df47-533b-4c2a-a3c1-7f9ad1d63e10" providerId="ADAL" clId="{09EBC500-CCD1-4D38-83DD-0D27B16FD925}"/>
    <pc:docChg chg="undo custSel mod addSld delSld modSld sldOrd modSection">
      <pc:chgData name="Renata Festa" userId="6f22df47-533b-4c2a-a3c1-7f9ad1d63e10" providerId="ADAL" clId="{09EBC500-CCD1-4D38-83DD-0D27B16FD925}" dt="2020-03-30T11:44:29.648" v="1758"/>
      <pc:docMkLst>
        <pc:docMk/>
      </pc:docMkLst>
      <pc:sldChg chg="del">
        <pc:chgData name="Renata Festa" userId="6f22df47-533b-4c2a-a3c1-7f9ad1d63e10" providerId="ADAL" clId="{09EBC500-CCD1-4D38-83DD-0D27B16FD925}" dt="2020-03-30T09:49:41.598" v="91" actId="47"/>
        <pc:sldMkLst>
          <pc:docMk/>
          <pc:sldMk cId="3235270007" sldId="257"/>
        </pc:sldMkLst>
      </pc:sldChg>
      <pc:sldChg chg="addSp">
        <pc:chgData name="Renata Festa" userId="6f22df47-533b-4c2a-a3c1-7f9ad1d63e10" providerId="ADAL" clId="{09EBC500-CCD1-4D38-83DD-0D27B16FD925}" dt="2020-03-26T20:37:14.656" v="0"/>
        <pc:sldMkLst>
          <pc:docMk/>
          <pc:sldMk cId="1196121053" sldId="260"/>
        </pc:sldMkLst>
        <pc:spChg chg="add">
          <ac:chgData name="Renata Festa" userId="6f22df47-533b-4c2a-a3c1-7f9ad1d63e10" providerId="ADAL" clId="{09EBC500-CCD1-4D38-83DD-0D27B16FD925}" dt="2020-03-26T20:37:14.656" v="0"/>
          <ac:spMkLst>
            <pc:docMk/>
            <pc:sldMk cId="1196121053" sldId="260"/>
            <ac:spMk id="16" creationId="{6265AA7F-62A0-4E76-9076-CAC88344460B}"/>
          </ac:spMkLst>
        </pc:spChg>
        <pc:grpChg chg="add">
          <ac:chgData name="Renata Festa" userId="6f22df47-533b-4c2a-a3c1-7f9ad1d63e10" providerId="ADAL" clId="{09EBC500-CCD1-4D38-83DD-0D27B16FD925}" dt="2020-03-26T20:37:14.656" v="0"/>
          <ac:grpSpMkLst>
            <pc:docMk/>
            <pc:sldMk cId="1196121053" sldId="260"/>
            <ac:grpSpMk id="7" creationId="{025C296D-2BF1-4187-8FD1-E72779D8FDE7}"/>
          </ac:grpSpMkLst>
        </pc:grpChg>
      </pc:sldChg>
      <pc:sldChg chg="del">
        <pc:chgData name="Renata Festa" userId="6f22df47-533b-4c2a-a3c1-7f9ad1d63e10" providerId="ADAL" clId="{09EBC500-CCD1-4D38-83DD-0D27B16FD925}" dt="2020-03-30T09:49:41.598" v="91" actId="47"/>
        <pc:sldMkLst>
          <pc:docMk/>
          <pc:sldMk cId="4267675391" sldId="531"/>
        </pc:sldMkLst>
      </pc:sldChg>
      <pc:sldChg chg="del">
        <pc:chgData name="Renata Festa" userId="6f22df47-533b-4c2a-a3c1-7f9ad1d63e10" providerId="ADAL" clId="{09EBC500-CCD1-4D38-83DD-0D27B16FD925}" dt="2020-03-30T09:49:41.598" v="91" actId="47"/>
        <pc:sldMkLst>
          <pc:docMk/>
          <pc:sldMk cId="1861621179" sldId="535"/>
        </pc:sldMkLst>
      </pc:sldChg>
      <pc:sldChg chg="modNotesTx">
        <pc:chgData name="Renata Festa" userId="6f22df47-533b-4c2a-a3c1-7f9ad1d63e10" providerId="ADAL" clId="{09EBC500-CCD1-4D38-83DD-0D27B16FD925}" dt="2020-03-30T09:45:38.824" v="7" actId="20577"/>
        <pc:sldMkLst>
          <pc:docMk/>
          <pc:sldMk cId="1615560134" sldId="562"/>
        </pc:sldMkLst>
      </pc:sldChg>
      <pc:sldChg chg="modSp modAnim">
        <pc:chgData name="Renata Festa" userId="6f22df47-533b-4c2a-a3c1-7f9ad1d63e10" providerId="ADAL" clId="{09EBC500-CCD1-4D38-83DD-0D27B16FD925}" dt="2020-03-30T09:50:17.847" v="97"/>
        <pc:sldMkLst>
          <pc:docMk/>
          <pc:sldMk cId="3735096506" sldId="563"/>
        </pc:sldMkLst>
        <pc:graphicFrameChg chg="mod">
          <ac:chgData name="Renata Festa" userId="6f22df47-533b-4c2a-a3c1-7f9ad1d63e10" providerId="ADAL" clId="{09EBC500-CCD1-4D38-83DD-0D27B16FD925}" dt="2020-03-30T09:49:57.960" v="95" actId="20577"/>
          <ac:graphicFrameMkLst>
            <pc:docMk/>
            <pc:sldMk cId="3735096506" sldId="563"/>
            <ac:graphicFrameMk id="3" creationId="{9484E1FE-7534-495E-863C-657A46F5E628}"/>
          </ac:graphicFrameMkLst>
        </pc:graphicFrameChg>
      </pc:sldChg>
      <pc:sldChg chg="del">
        <pc:chgData name="Renata Festa" userId="6f22df47-533b-4c2a-a3c1-7f9ad1d63e10" providerId="ADAL" clId="{09EBC500-CCD1-4D38-83DD-0D27B16FD925}" dt="2020-03-30T10:01:02.197" v="220" actId="47"/>
        <pc:sldMkLst>
          <pc:docMk/>
          <pc:sldMk cId="4221783869" sldId="566"/>
        </pc:sldMkLst>
      </pc:sldChg>
      <pc:sldChg chg="modSp mod">
        <pc:chgData name="Renata Festa" userId="6f22df47-533b-4c2a-a3c1-7f9ad1d63e10" providerId="ADAL" clId="{09EBC500-CCD1-4D38-83DD-0D27B16FD925}" dt="2020-03-30T10:01:19.884" v="228" actId="20577"/>
        <pc:sldMkLst>
          <pc:docMk/>
          <pc:sldMk cId="670385602" sldId="567"/>
        </pc:sldMkLst>
        <pc:spChg chg="mod">
          <ac:chgData name="Renata Festa" userId="6f22df47-533b-4c2a-a3c1-7f9ad1d63e10" providerId="ADAL" clId="{09EBC500-CCD1-4D38-83DD-0D27B16FD925}" dt="2020-03-30T10:01:10.937" v="224"/>
          <ac:spMkLst>
            <pc:docMk/>
            <pc:sldMk cId="670385602" sldId="567"/>
            <ac:spMk id="3" creationId="{8F64A22E-2B43-4FC6-AF08-0CDB3F9E9269}"/>
          </ac:spMkLst>
        </pc:spChg>
        <pc:spChg chg="mod">
          <ac:chgData name="Renata Festa" userId="6f22df47-533b-4c2a-a3c1-7f9ad1d63e10" providerId="ADAL" clId="{09EBC500-CCD1-4D38-83DD-0D27B16FD925}" dt="2020-03-30T10:01:19.884" v="228" actId="20577"/>
          <ac:spMkLst>
            <pc:docMk/>
            <pc:sldMk cId="670385602" sldId="567"/>
            <ac:spMk id="6" creationId="{637E159C-9ACF-48AE-927A-D5FB13695C7F}"/>
          </ac:spMkLst>
        </pc:spChg>
      </pc:sldChg>
      <pc:sldChg chg="del">
        <pc:chgData name="Renata Festa" userId="6f22df47-533b-4c2a-a3c1-7f9ad1d63e10" providerId="ADAL" clId="{09EBC500-CCD1-4D38-83DD-0D27B16FD925}" dt="2020-03-30T10:01:28.751" v="229" actId="47"/>
        <pc:sldMkLst>
          <pc:docMk/>
          <pc:sldMk cId="2147177822" sldId="568"/>
        </pc:sldMkLst>
      </pc:sldChg>
      <pc:sldChg chg="del">
        <pc:chgData name="Renata Festa" userId="6f22df47-533b-4c2a-a3c1-7f9ad1d63e10" providerId="ADAL" clId="{09EBC500-CCD1-4D38-83DD-0D27B16FD925}" dt="2020-03-30T10:01:50.526" v="233" actId="47"/>
        <pc:sldMkLst>
          <pc:docMk/>
          <pc:sldMk cId="2346840044" sldId="570"/>
        </pc:sldMkLst>
      </pc:sldChg>
      <pc:sldChg chg="del">
        <pc:chgData name="Renata Festa" userId="6f22df47-533b-4c2a-a3c1-7f9ad1d63e10" providerId="ADAL" clId="{09EBC500-CCD1-4D38-83DD-0D27B16FD925}" dt="2020-03-30T10:30:50.861" v="879" actId="47"/>
        <pc:sldMkLst>
          <pc:docMk/>
          <pc:sldMk cId="4248838292" sldId="573"/>
        </pc:sldMkLst>
      </pc:sldChg>
      <pc:sldChg chg="modSp mod">
        <pc:chgData name="Renata Festa" userId="6f22df47-533b-4c2a-a3c1-7f9ad1d63e10" providerId="ADAL" clId="{09EBC500-CCD1-4D38-83DD-0D27B16FD925}" dt="2020-03-30T10:31:26.568" v="892" actId="20577"/>
        <pc:sldMkLst>
          <pc:docMk/>
          <pc:sldMk cId="1487953619" sldId="574"/>
        </pc:sldMkLst>
        <pc:spChg chg="mod">
          <ac:chgData name="Renata Festa" userId="6f22df47-533b-4c2a-a3c1-7f9ad1d63e10" providerId="ADAL" clId="{09EBC500-CCD1-4D38-83DD-0D27B16FD925}" dt="2020-03-30T10:31:16.456" v="884" actId="20577"/>
          <ac:spMkLst>
            <pc:docMk/>
            <pc:sldMk cId="1487953619" sldId="574"/>
            <ac:spMk id="3" creationId="{8F64A22E-2B43-4FC6-AF08-0CDB3F9E9269}"/>
          </ac:spMkLst>
        </pc:spChg>
        <pc:spChg chg="mod">
          <ac:chgData name="Renata Festa" userId="6f22df47-533b-4c2a-a3c1-7f9ad1d63e10" providerId="ADAL" clId="{09EBC500-CCD1-4D38-83DD-0D27B16FD925}" dt="2020-03-30T10:31:26.568" v="892" actId="20577"/>
          <ac:spMkLst>
            <pc:docMk/>
            <pc:sldMk cId="1487953619" sldId="574"/>
            <ac:spMk id="6" creationId="{637E159C-9ACF-48AE-927A-D5FB13695C7F}"/>
          </ac:spMkLst>
        </pc:spChg>
      </pc:sldChg>
      <pc:sldChg chg="del">
        <pc:chgData name="Renata Festa" userId="6f22df47-533b-4c2a-a3c1-7f9ad1d63e10" providerId="ADAL" clId="{09EBC500-CCD1-4D38-83DD-0D27B16FD925}" dt="2020-03-30T10:31:43.834" v="893" actId="47"/>
        <pc:sldMkLst>
          <pc:docMk/>
          <pc:sldMk cId="3563492871" sldId="575"/>
        </pc:sldMkLst>
      </pc:sldChg>
      <pc:sldChg chg="del">
        <pc:chgData name="Renata Festa" userId="6f22df47-533b-4c2a-a3c1-7f9ad1d63e10" providerId="ADAL" clId="{09EBC500-CCD1-4D38-83DD-0D27B16FD925}" dt="2020-03-30T10:32:05.265" v="897" actId="47"/>
        <pc:sldMkLst>
          <pc:docMk/>
          <pc:sldMk cId="4206133277" sldId="577"/>
        </pc:sldMkLst>
      </pc:sldChg>
      <pc:sldChg chg="del">
        <pc:chgData name="Renata Festa" userId="6f22df47-533b-4c2a-a3c1-7f9ad1d63e10" providerId="ADAL" clId="{09EBC500-CCD1-4D38-83DD-0D27B16FD925}" dt="2020-03-30T09:49:41.598" v="91" actId="47"/>
        <pc:sldMkLst>
          <pc:docMk/>
          <pc:sldMk cId="3372985199" sldId="578"/>
        </pc:sldMkLst>
      </pc:sldChg>
      <pc:sldChg chg="del">
        <pc:chgData name="Renata Festa" userId="6f22df47-533b-4c2a-a3c1-7f9ad1d63e10" providerId="ADAL" clId="{09EBC500-CCD1-4D38-83DD-0D27B16FD925}" dt="2020-03-30T10:01:02.197" v="220" actId="47"/>
        <pc:sldMkLst>
          <pc:docMk/>
          <pc:sldMk cId="1341499553" sldId="579"/>
        </pc:sldMkLst>
      </pc:sldChg>
      <pc:sldChg chg="del">
        <pc:chgData name="Renata Festa" userId="6f22df47-533b-4c2a-a3c1-7f9ad1d63e10" providerId="ADAL" clId="{09EBC500-CCD1-4D38-83DD-0D27B16FD925}" dt="2020-03-30T10:31:09.210" v="881" actId="47"/>
        <pc:sldMkLst>
          <pc:docMk/>
          <pc:sldMk cId="1094321790" sldId="580"/>
        </pc:sldMkLst>
      </pc:sldChg>
      <pc:sldChg chg="del">
        <pc:chgData name="Renata Festa" userId="6f22df47-533b-4c2a-a3c1-7f9ad1d63e10" providerId="ADAL" clId="{09EBC500-CCD1-4D38-83DD-0D27B16FD925}" dt="2020-03-30T10:43:28.496" v="1040" actId="47"/>
        <pc:sldMkLst>
          <pc:docMk/>
          <pc:sldMk cId="2386412994" sldId="583"/>
        </pc:sldMkLst>
      </pc:sldChg>
      <pc:sldChg chg="del">
        <pc:chgData name="Renata Festa" userId="6f22df47-533b-4c2a-a3c1-7f9ad1d63e10" providerId="ADAL" clId="{09EBC500-CCD1-4D38-83DD-0D27B16FD925}" dt="2020-03-30T10:43:29.197" v="1041" actId="47"/>
        <pc:sldMkLst>
          <pc:docMk/>
          <pc:sldMk cId="3232890173" sldId="584"/>
        </pc:sldMkLst>
      </pc:sldChg>
      <pc:sldChg chg="del">
        <pc:chgData name="Renata Festa" userId="6f22df47-533b-4c2a-a3c1-7f9ad1d63e10" providerId="ADAL" clId="{09EBC500-CCD1-4D38-83DD-0D27B16FD925}" dt="2020-03-30T10:43:30.051" v="1042" actId="47"/>
        <pc:sldMkLst>
          <pc:docMk/>
          <pc:sldMk cId="3248240733" sldId="585"/>
        </pc:sldMkLst>
      </pc:sldChg>
      <pc:sldChg chg="del">
        <pc:chgData name="Renata Festa" userId="6f22df47-533b-4c2a-a3c1-7f9ad1d63e10" providerId="ADAL" clId="{09EBC500-CCD1-4D38-83DD-0D27B16FD925}" dt="2020-03-30T10:43:31.798" v="1043" actId="47"/>
        <pc:sldMkLst>
          <pc:docMk/>
          <pc:sldMk cId="3484333957" sldId="586"/>
        </pc:sldMkLst>
      </pc:sldChg>
      <pc:sldChg chg="del">
        <pc:chgData name="Renata Festa" userId="6f22df47-533b-4c2a-a3c1-7f9ad1d63e10" providerId="ADAL" clId="{09EBC500-CCD1-4D38-83DD-0D27B16FD925}" dt="2020-03-30T10:43:58.377" v="1049" actId="47"/>
        <pc:sldMkLst>
          <pc:docMk/>
          <pc:sldMk cId="1852011538" sldId="588"/>
        </pc:sldMkLst>
      </pc:sldChg>
      <pc:sldChg chg="del">
        <pc:chgData name="Renata Festa" userId="6f22df47-533b-4c2a-a3c1-7f9ad1d63e10" providerId="ADAL" clId="{09EBC500-CCD1-4D38-83DD-0D27B16FD925}" dt="2020-03-30T10:50:33.713" v="1119" actId="47"/>
        <pc:sldMkLst>
          <pc:docMk/>
          <pc:sldMk cId="1059276625" sldId="591"/>
        </pc:sldMkLst>
      </pc:sldChg>
      <pc:sldChg chg="del">
        <pc:chgData name="Renata Festa" userId="6f22df47-533b-4c2a-a3c1-7f9ad1d63e10" providerId="ADAL" clId="{09EBC500-CCD1-4D38-83DD-0D27B16FD925}" dt="2020-03-30T10:50:34.559" v="1120" actId="47"/>
        <pc:sldMkLst>
          <pc:docMk/>
          <pc:sldMk cId="1852285946" sldId="592"/>
        </pc:sldMkLst>
      </pc:sldChg>
      <pc:sldChg chg="modSp mod">
        <pc:chgData name="Renata Festa" userId="6f22df47-533b-4c2a-a3c1-7f9ad1d63e10" providerId="ADAL" clId="{09EBC500-CCD1-4D38-83DD-0D27B16FD925}" dt="2020-03-30T10:50:56.058" v="1129" actId="12"/>
        <pc:sldMkLst>
          <pc:docMk/>
          <pc:sldMk cId="743308310" sldId="593"/>
        </pc:sldMkLst>
        <pc:spChg chg="mod">
          <ac:chgData name="Renata Festa" userId="6f22df47-533b-4c2a-a3c1-7f9ad1d63e10" providerId="ADAL" clId="{09EBC500-CCD1-4D38-83DD-0D27B16FD925}" dt="2020-03-30T10:50:47.037" v="1124"/>
          <ac:spMkLst>
            <pc:docMk/>
            <pc:sldMk cId="743308310" sldId="593"/>
            <ac:spMk id="3" creationId="{8F64A22E-2B43-4FC6-AF08-0CDB3F9E9269}"/>
          </ac:spMkLst>
        </pc:spChg>
        <pc:spChg chg="mod">
          <ac:chgData name="Renata Festa" userId="6f22df47-533b-4c2a-a3c1-7f9ad1d63e10" providerId="ADAL" clId="{09EBC500-CCD1-4D38-83DD-0D27B16FD925}" dt="2020-03-30T10:50:56.058" v="1129" actId="12"/>
          <ac:spMkLst>
            <pc:docMk/>
            <pc:sldMk cId="743308310" sldId="593"/>
            <ac:spMk id="6" creationId="{637E159C-9ACF-48AE-927A-D5FB13695C7F}"/>
          </ac:spMkLst>
        </pc:spChg>
      </pc:sldChg>
      <pc:sldChg chg="del">
        <pc:chgData name="Renata Festa" userId="6f22df47-533b-4c2a-a3c1-7f9ad1d63e10" providerId="ADAL" clId="{09EBC500-CCD1-4D38-83DD-0D27B16FD925}" dt="2020-03-30T10:50:36.664" v="1121" actId="47"/>
        <pc:sldMkLst>
          <pc:docMk/>
          <pc:sldMk cId="1914771392" sldId="594"/>
        </pc:sldMkLst>
      </pc:sldChg>
      <pc:sldChg chg="del">
        <pc:chgData name="Renata Festa" userId="6f22df47-533b-4c2a-a3c1-7f9ad1d63e10" providerId="ADAL" clId="{09EBC500-CCD1-4D38-83DD-0D27B16FD925}" dt="2020-03-30T10:51:21.092" v="1135" actId="47"/>
        <pc:sldMkLst>
          <pc:docMk/>
          <pc:sldMk cId="862627893" sldId="596"/>
        </pc:sldMkLst>
      </pc:sldChg>
      <pc:sldChg chg="del">
        <pc:chgData name="Renata Festa" userId="6f22df47-533b-4c2a-a3c1-7f9ad1d63e10" providerId="ADAL" clId="{09EBC500-CCD1-4D38-83DD-0D27B16FD925}" dt="2020-03-30T11:04:48.899" v="1278" actId="47"/>
        <pc:sldMkLst>
          <pc:docMk/>
          <pc:sldMk cId="151032775" sldId="599"/>
        </pc:sldMkLst>
      </pc:sldChg>
      <pc:sldChg chg="del">
        <pc:chgData name="Renata Festa" userId="6f22df47-533b-4c2a-a3c1-7f9ad1d63e10" providerId="ADAL" clId="{09EBC500-CCD1-4D38-83DD-0D27B16FD925}" dt="2020-03-30T11:04:49.630" v="1279" actId="47"/>
        <pc:sldMkLst>
          <pc:docMk/>
          <pc:sldMk cId="90841938" sldId="600"/>
        </pc:sldMkLst>
      </pc:sldChg>
      <pc:sldChg chg="modSp mod">
        <pc:chgData name="Renata Festa" userId="6f22df47-533b-4c2a-a3c1-7f9ad1d63e10" providerId="ADAL" clId="{09EBC500-CCD1-4D38-83DD-0D27B16FD925}" dt="2020-03-30T11:05:05.175" v="1286" actId="20577"/>
        <pc:sldMkLst>
          <pc:docMk/>
          <pc:sldMk cId="3871311965" sldId="601"/>
        </pc:sldMkLst>
        <pc:spChg chg="mod">
          <ac:chgData name="Renata Festa" userId="6f22df47-533b-4c2a-a3c1-7f9ad1d63e10" providerId="ADAL" clId="{09EBC500-CCD1-4D38-83DD-0D27B16FD925}" dt="2020-03-30T11:04:57.764" v="1282" actId="20577"/>
          <ac:spMkLst>
            <pc:docMk/>
            <pc:sldMk cId="3871311965" sldId="601"/>
            <ac:spMk id="3" creationId="{8F64A22E-2B43-4FC6-AF08-0CDB3F9E9269}"/>
          </ac:spMkLst>
        </pc:spChg>
        <pc:spChg chg="mod">
          <ac:chgData name="Renata Festa" userId="6f22df47-533b-4c2a-a3c1-7f9ad1d63e10" providerId="ADAL" clId="{09EBC500-CCD1-4D38-83DD-0D27B16FD925}" dt="2020-03-30T11:05:05.175" v="1286" actId="20577"/>
          <ac:spMkLst>
            <pc:docMk/>
            <pc:sldMk cId="3871311965" sldId="601"/>
            <ac:spMk id="6" creationId="{637E159C-9ACF-48AE-927A-D5FB13695C7F}"/>
          </ac:spMkLst>
        </pc:spChg>
      </pc:sldChg>
      <pc:sldChg chg="modSp mod">
        <pc:chgData name="Renata Festa" userId="6f22df47-533b-4c2a-a3c1-7f9ad1d63e10" providerId="ADAL" clId="{09EBC500-CCD1-4D38-83DD-0D27B16FD925}" dt="2020-03-30T11:05:31.712" v="1296" actId="20577"/>
        <pc:sldMkLst>
          <pc:docMk/>
          <pc:sldMk cId="239796647" sldId="602"/>
        </pc:sldMkLst>
        <pc:spChg chg="mod">
          <ac:chgData name="Renata Festa" userId="6f22df47-533b-4c2a-a3c1-7f9ad1d63e10" providerId="ADAL" clId="{09EBC500-CCD1-4D38-83DD-0D27B16FD925}" dt="2020-03-30T11:05:17.388" v="1287"/>
          <ac:spMkLst>
            <pc:docMk/>
            <pc:sldMk cId="239796647" sldId="602"/>
            <ac:spMk id="2" creationId="{BC57B38C-8413-4861-A4F5-7DF656AEAD0D}"/>
          </ac:spMkLst>
        </pc:spChg>
        <pc:spChg chg="mod">
          <ac:chgData name="Renata Festa" userId="6f22df47-533b-4c2a-a3c1-7f9ad1d63e10" providerId="ADAL" clId="{09EBC500-CCD1-4D38-83DD-0D27B16FD925}" dt="2020-03-30T11:05:31.712" v="1296" actId="20577"/>
          <ac:spMkLst>
            <pc:docMk/>
            <pc:sldMk cId="239796647" sldId="602"/>
            <ac:spMk id="3" creationId="{4897B8F8-26DF-42FB-ACB0-59929F1C2344}"/>
          </ac:spMkLst>
        </pc:spChg>
      </pc:sldChg>
      <pc:sldChg chg="del">
        <pc:chgData name="Renata Festa" userId="6f22df47-533b-4c2a-a3c1-7f9ad1d63e10" providerId="ADAL" clId="{09EBC500-CCD1-4D38-83DD-0D27B16FD925}" dt="2020-03-30T11:06:32.593" v="1304" actId="47"/>
        <pc:sldMkLst>
          <pc:docMk/>
          <pc:sldMk cId="1755723414" sldId="604"/>
        </pc:sldMkLst>
      </pc:sldChg>
      <pc:sldChg chg="modNotesTx">
        <pc:chgData name="Renata Festa" userId="6f22df47-533b-4c2a-a3c1-7f9ad1d63e10" providerId="ADAL" clId="{09EBC500-CCD1-4D38-83DD-0D27B16FD925}" dt="2020-03-30T11:06:54.615" v="1305" actId="113"/>
        <pc:sldMkLst>
          <pc:docMk/>
          <pc:sldMk cId="358314968" sldId="606"/>
        </pc:sldMkLst>
      </pc:sldChg>
      <pc:sldChg chg="del">
        <pc:chgData name="Renata Festa" userId="6f22df47-533b-4c2a-a3c1-7f9ad1d63e10" providerId="ADAL" clId="{09EBC500-CCD1-4D38-83DD-0D27B16FD925}" dt="2020-03-30T11:17:36.828" v="1402" actId="47"/>
        <pc:sldMkLst>
          <pc:docMk/>
          <pc:sldMk cId="1178682529" sldId="607"/>
        </pc:sldMkLst>
      </pc:sldChg>
      <pc:sldChg chg="del">
        <pc:chgData name="Renata Festa" userId="6f22df47-533b-4c2a-a3c1-7f9ad1d63e10" providerId="ADAL" clId="{09EBC500-CCD1-4D38-83DD-0D27B16FD925}" dt="2020-03-30T11:17:37.433" v="1403" actId="47"/>
        <pc:sldMkLst>
          <pc:docMk/>
          <pc:sldMk cId="2437950049" sldId="608"/>
        </pc:sldMkLst>
      </pc:sldChg>
      <pc:sldChg chg="modSp mod">
        <pc:chgData name="Renata Festa" userId="6f22df47-533b-4c2a-a3c1-7f9ad1d63e10" providerId="ADAL" clId="{09EBC500-CCD1-4D38-83DD-0D27B16FD925}" dt="2020-03-30T11:18:02.051" v="1411" actId="20577"/>
        <pc:sldMkLst>
          <pc:docMk/>
          <pc:sldMk cId="13571892" sldId="609"/>
        </pc:sldMkLst>
        <pc:spChg chg="mod">
          <ac:chgData name="Renata Festa" userId="6f22df47-533b-4c2a-a3c1-7f9ad1d63e10" providerId="ADAL" clId="{09EBC500-CCD1-4D38-83DD-0D27B16FD925}" dt="2020-03-30T11:17:49.466" v="1408" actId="20577"/>
          <ac:spMkLst>
            <pc:docMk/>
            <pc:sldMk cId="13571892" sldId="609"/>
            <ac:spMk id="3" creationId="{8F64A22E-2B43-4FC6-AF08-0CDB3F9E9269}"/>
          </ac:spMkLst>
        </pc:spChg>
        <pc:spChg chg="mod">
          <ac:chgData name="Renata Festa" userId="6f22df47-533b-4c2a-a3c1-7f9ad1d63e10" providerId="ADAL" clId="{09EBC500-CCD1-4D38-83DD-0D27B16FD925}" dt="2020-03-30T11:18:02.051" v="1411" actId="20577"/>
          <ac:spMkLst>
            <pc:docMk/>
            <pc:sldMk cId="13571892" sldId="609"/>
            <ac:spMk id="6" creationId="{637E159C-9ACF-48AE-927A-D5FB13695C7F}"/>
          </ac:spMkLst>
        </pc:spChg>
      </pc:sldChg>
      <pc:sldChg chg="modSp mod">
        <pc:chgData name="Renata Festa" userId="6f22df47-533b-4c2a-a3c1-7f9ad1d63e10" providerId="ADAL" clId="{09EBC500-CCD1-4D38-83DD-0D27B16FD925}" dt="2020-03-30T11:18:20.411" v="1416" actId="12"/>
        <pc:sldMkLst>
          <pc:docMk/>
          <pc:sldMk cId="2713247343" sldId="610"/>
        </pc:sldMkLst>
        <pc:spChg chg="mod">
          <ac:chgData name="Renata Festa" userId="6f22df47-533b-4c2a-a3c1-7f9ad1d63e10" providerId="ADAL" clId="{09EBC500-CCD1-4D38-83DD-0D27B16FD925}" dt="2020-03-30T11:18:12.871" v="1412"/>
          <ac:spMkLst>
            <pc:docMk/>
            <pc:sldMk cId="2713247343" sldId="610"/>
            <ac:spMk id="2" creationId="{BC57B38C-8413-4861-A4F5-7DF656AEAD0D}"/>
          </ac:spMkLst>
        </pc:spChg>
        <pc:spChg chg="mod">
          <ac:chgData name="Renata Festa" userId="6f22df47-533b-4c2a-a3c1-7f9ad1d63e10" providerId="ADAL" clId="{09EBC500-CCD1-4D38-83DD-0D27B16FD925}" dt="2020-03-30T11:18:20.411" v="1416" actId="12"/>
          <ac:spMkLst>
            <pc:docMk/>
            <pc:sldMk cId="2713247343" sldId="610"/>
            <ac:spMk id="3" creationId="{4897B8F8-26DF-42FB-ACB0-59929F1C2344}"/>
          </ac:spMkLst>
        </pc:spChg>
      </pc:sldChg>
      <pc:sldChg chg="del">
        <pc:chgData name="Renata Festa" userId="6f22df47-533b-4c2a-a3c1-7f9ad1d63e10" providerId="ADAL" clId="{09EBC500-CCD1-4D38-83DD-0D27B16FD925}" dt="2020-03-30T11:18:39.044" v="1419" actId="47"/>
        <pc:sldMkLst>
          <pc:docMk/>
          <pc:sldMk cId="4070849351" sldId="612"/>
        </pc:sldMkLst>
      </pc:sldChg>
      <pc:sldChg chg="addSp delSp modSp mod modAnim">
        <pc:chgData name="Renata Festa" userId="6f22df47-533b-4c2a-a3c1-7f9ad1d63e10" providerId="ADAL" clId="{09EBC500-CCD1-4D38-83DD-0D27B16FD925}" dt="2020-03-30T11:20:20.508" v="1434" actId="1037"/>
        <pc:sldMkLst>
          <pc:docMk/>
          <pc:sldMk cId="1841328874" sldId="615"/>
        </pc:sldMkLst>
        <pc:spChg chg="mod">
          <ac:chgData name="Renata Festa" userId="6f22df47-533b-4c2a-a3c1-7f9ad1d63e10" providerId="ADAL" clId="{09EBC500-CCD1-4D38-83DD-0D27B16FD925}" dt="2020-03-30T11:19:33.154" v="1426"/>
          <ac:spMkLst>
            <pc:docMk/>
            <pc:sldMk cId="1841328874" sldId="615"/>
            <ac:spMk id="2" creationId="{EB67312A-9819-43C6-8D84-D9136E6CFFCC}"/>
          </ac:spMkLst>
        </pc:spChg>
        <pc:spChg chg="del">
          <ac:chgData name="Renata Festa" userId="6f22df47-533b-4c2a-a3c1-7f9ad1d63e10" providerId="ADAL" clId="{09EBC500-CCD1-4D38-83DD-0D27B16FD925}" dt="2020-03-30T11:19:36.037" v="1427" actId="478"/>
          <ac:spMkLst>
            <pc:docMk/>
            <pc:sldMk cId="1841328874" sldId="615"/>
            <ac:spMk id="3" creationId="{F35E8CBB-5A7D-4DEF-BAF7-8DD5D042F9E0}"/>
          </ac:spMkLst>
        </pc:spChg>
        <pc:spChg chg="add mod">
          <ac:chgData name="Renata Festa" userId="6f22df47-533b-4c2a-a3c1-7f9ad1d63e10" providerId="ADAL" clId="{09EBC500-CCD1-4D38-83DD-0D27B16FD925}" dt="2020-03-30T11:19:53.193" v="1430" actId="14100"/>
          <ac:spMkLst>
            <pc:docMk/>
            <pc:sldMk cId="1841328874" sldId="615"/>
            <ac:spMk id="5" creationId="{61C96EE2-2D2F-49C7-96FA-29D431CA04C8}"/>
          </ac:spMkLst>
        </pc:spChg>
        <pc:spChg chg="add mod">
          <ac:chgData name="Renata Festa" userId="6f22df47-533b-4c2a-a3c1-7f9ad1d63e10" providerId="ADAL" clId="{09EBC500-CCD1-4D38-83DD-0D27B16FD925}" dt="2020-03-30T11:19:53.193" v="1430" actId="14100"/>
          <ac:spMkLst>
            <pc:docMk/>
            <pc:sldMk cId="1841328874" sldId="615"/>
            <ac:spMk id="6" creationId="{4AD1E54A-FB1F-430C-A669-C368FC2690B0}"/>
          </ac:spMkLst>
        </pc:spChg>
        <pc:spChg chg="add mod">
          <ac:chgData name="Renata Festa" userId="6f22df47-533b-4c2a-a3c1-7f9ad1d63e10" providerId="ADAL" clId="{09EBC500-CCD1-4D38-83DD-0D27B16FD925}" dt="2020-03-30T11:19:53.193" v="1430" actId="14100"/>
          <ac:spMkLst>
            <pc:docMk/>
            <pc:sldMk cId="1841328874" sldId="615"/>
            <ac:spMk id="7" creationId="{3F4C3661-7610-471F-88F9-581B645DFF2F}"/>
          </ac:spMkLst>
        </pc:spChg>
        <pc:spChg chg="add mod">
          <ac:chgData name="Renata Festa" userId="6f22df47-533b-4c2a-a3c1-7f9ad1d63e10" providerId="ADAL" clId="{09EBC500-CCD1-4D38-83DD-0D27B16FD925}" dt="2020-03-30T11:20:20.508" v="1434" actId="1037"/>
          <ac:spMkLst>
            <pc:docMk/>
            <pc:sldMk cId="1841328874" sldId="615"/>
            <ac:spMk id="8" creationId="{61581162-773D-4A10-B686-18C2FF64EF4F}"/>
          </ac:spMkLst>
        </pc:spChg>
        <pc:spChg chg="add mod">
          <ac:chgData name="Renata Festa" userId="6f22df47-533b-4c2a-a3c1-7f9ad1d63e10" providerId="ADAL" clId="{09EBC500-CCD1-4D38-83DD-0D27B16FD925}" dt="2020-03-30T11:19:53.193" v="1430" actId="14100"/>
          <ac:spMkLst>
            <pc:docMk/>
            <pc:sldMk cId="1841328874" sldId="615"/>
            <ac:spMk id="9" creationId="{D316E74A-A9A9-44B0-9C02-25474FEC5699}"/>
          </ac:spMkLst>
        </pc:spChg>
        <pc:spChg chg="add mod">
          <ac:chgData name="Renata Festa" userId="6f22df47-533b-4c2a-a3c1-7f9ad1d63e10" providerId="ADAL" clId="{09EBC500-CCD1-4D38-83DD-0D27B16FD925}" dt="2020-03-30T11:20:20.508" v="1434" actId="1037"/>
          <ac:spMkLst>
            <pc:docMk/>
            <pc:sldMk cId="1841328874" sldId="615"/>
            <ac:spMk id="19" creationId="{575DD7D7-B54C-4968-AC86-E10B626899CD}"/>
          </ac:spMkLst>
        </pc:spChg>
        <pc:grpChg chg="add mod">
          <ac:chgData name="Renata Festa" userId="6f22df47-533b-4c2a-a3c1-7f9ad1d63e10" providerId="ADAL" clId="{09EBC500-CCD1-4D38-83DD-0D27B16FD925}" dt="2020-03-30T11:20:20.508" v="1434" actId="1037"/>
          <ac:grpSpMkLst>
            <pc:docMk/>
            <pc:sldMk cId="1841328874" sldId="615"/>
            <ac:grpSpMk id="10" creationId="{998FA78B-D417-49D2-B784-EA23A146FEB4}"/>
          </ac:grpSpMkLst>
        </pc:grpChg>
        <pc:grpChg chg="mod">
          <ac:chgData name="Renata Festa" userId="6f22df47-533b-4c2a-a3c1-7f9ad1d63e10" providerId="ADAL" clId="{09EBC500-CCD1-4D38-83DD-0D27B16FD925}" dt="2020-03-30T11:19:53.193" v="1430" actId="14100"/>
          <ac:grpSpMkLst>
            <pc:docMk/>
            <pc:sldMk cId="1841328874" sldId="615"/>
            <ac:grpSpMk id="11" creationId="{8EEF670B-C404-4795-9A5E-CC2D7A4856A8}"/>
          </ac:grpSpMkLst>
        </pc:grpChg>
        <pc:grpChg chg="add mod">
          <ac:chgData name="Renata Festa" userId="6f22df47-533b-4c2a-a3c1-7f9ad1d63e10" providerId="ADAL" clId="{09EBC500-CCD1-4D38-83DD-0D27B16FD925}" dt="2020-03-30T11:20:20.508" v="1434" actId="1037"/>
          <ac:grpSpMkLst>
            <pc:docMk/>
            <pc:sldMk cId="1841328874" sldId="615"/>
            <ac:grpSpMk id="20" creationId="{BE1E0907-74A9-4955-8D85-B3943B350B32}"/>
          </ac:grpSpMkLst>
        </pc:grpChg>
        <pc:graphicFrameChg chg="add mod">
          <ac:chgData name="Renata Festa" userId="6f22df47-533b-4c2a-a3c1-7f9ad1d63e10" providerId="ADAL" clId="{09EBC500-CCD1-4D38-83DD-0D27B16FD925}" dt="2020-03-30T11:20:20.508" v="1434" actId="1037"/>
          <ac:graphicFrameMkLst>
            <pc:docMk/>
            <pc:sldMk cId="1841328874" sldId="615"/>
            <ac:graphicFrameMk id="25" creationId="{5C60C51E-1026-47F4-82E3-2E43AE539775}"/>
          </ac:graphicFrameMkLst>
        </pc:graphicFrameChg>
        <pc:graphicFrameChg chg="add mod">
          <ac:chgData name="Renata Festa" userId="6f22df47-533b-4c2a-a3c1-7f9ad1d63e10" providerId="ADAL" clId="{09EBC500-CCD1-4D38-83DD-0D27B16FD925}" dt="2020-03-30T11:19:59.064" v="1431" actId="14100"/>
          <ac:graphicFrameMkLst>
            <pc:docMk/>
            <pc:sldMk cId="1841328874" sldId="615"/>
            <ac:graphicFrameMk id="26" creationId="{C5BC69F0-EB73-41B5-B4A7-F76867B3AC87}"/>
          </ac:graphicFrameMkLst>
        </pc:graphicFrameChg>
        <pc:cxnChg chg="add mod">
          <ac:chgData name="Renata Festa" userId="6f22df47-533b-4c2a-a3c1-7f9ad1d63e10" providerId="ADAL" clId="{09EBC500-CCD1-4D38-83DD-0D27B16FD925}" dt="2020-03-30T11:20:20.508" v="1434" actId="1037"/>
          <ac:cxnSpMkLst>
            <pc:docMk/>
            <pc:sldMk cId="1841328874" sldId="615"/>
            <ac:cxnSpMk id="24" creationId="{59CC64DE-AA19-4979-9800-2DA0A171E3CD}"/>
          </ac:cxnSpMkLst>
        </pc:cxnChg>
      </pc:sldChg>
      <pc:sldChg chg="del">
        <pc:chgData name="Renata Festa" userId="6f22df47-533b-4c2a-a3c1-7f9ad1d63e10" providerId="ADAL" clId="{09EBC500-CCD1-4D38-83DD-0D27B16FD925}" dt="2020-03-30T11:24:07.153" v="1475" actId="47"/>
        <pc:sldMkLst>
          <pc:docMk/>
          <pc:sldMk cId="1611013552" sldId="616"/>
        </pc:sldMkLst>
      </pc:sldChg>
      <pc:sldChg chg="modSp mod">
        <pc:chgData name="Renata Festa" userId="6f22df47-533b-4c2a-a3c1-7f9ad1d63e10" providerId="ADAL" clId="{09EBC500-CCD1-4D38-83DD-0D27B16FD925}" dt="2020-03-30T11:24:25.894" v="1483" actId="12"/>
        <pc:sldMkLst>
          <pc:docMk/>
          <pc:sldMk cId="1689261473" sldId="617"/>
        </pc:sldMkLst>
        <pc:spChg chg="mod">
          <ac:chgData name="Renata Festa" userId="6f22df47-533b-4c2a-a3c1-7f9ad1d63e10" providerId="ADAL" clId="{09EBC500-CCD1-4D38-83DD-0D27B16FD925}" dt="2020-03-30T11:24:15.913" v="1478" actId="20577"/>
          <ac:spMkLst>
            <pc:docMk/>
            <pc:sldMk cId="1689261473" sldId="617"/>
            <ac:spMk id="3" creationId="{8F64A22E-2B43-4FC6-AF08-0CDB3F9E9269}"/>
          </ac:spMkLst>
        </pc:spChg>
        <pc:spChg chg="mod">
          <ac:chgData name="Renata Festa" userId="6f22df47-533b-4c2a-a3c1-7f9ad1d63e10" providerId="ADAL" clId="{09EBC500-CCD1-4D38-83DD-0D27B16FD925}" dt="2020-03-30T11:24:25.894" v="1483" actId="12"/>
          <ac:spMkLst>
            <pc:docMk/>
            <pc:sldMk cId="1689261473" sldId="617"/>
            <ac:spMk id="6" creationId="{637E159C-9ACF-48AE-927A-D5FB13695C7F}"/>
          </ac:spMkLst>
        </pc:spChg>
      </pc:sldChg>
      <pc:sldChg chg="del">
        <pc:chgData name="Renata Festa" userId="6f22df47-533b-4c2a-a3c1-7f9ad1d63e10" providerId="ADAL" clId="{09EBC500-CCD1-4D38-83DD-0D27B16FD925}" dt="2020-03-30T11:24:35.486" v="1484" actId="47"/>
        <pc:sldMkLst>
          <pc:docMk/>
          <pc:sldMk cId="2088705689" sldId="618"/>
        </pc:sldMkLst>
      </pc:sldChg>
      <pc:sldChg chg="del">
        <pc:chgData name="Renata Festa" userId="6f22df47-533b-4c2a-a3c1-7f9ad1d63e10" providerId="ADAL" clId="{09EBC500-CCD1-4D38-83DD-0D27B16FD925}" dt="2020-03-30T11:24:36.710" v="1485" actId="47"/>
        <pc:sldMkLst>
          <pc:docMk/>
          <pc:sldMk cId="260310280" sldId="620"/>
        </pc:sldMkLst>
      </pc:sldChg>
      <pc:sldChg chg="del">
        <pc:chgData name="Renata Festa" userId="6f22df47-533b-4c2a-a3c1-7f9ad1d63e10" providerId="ADAL" clId="{09EBC500-CCD1-4D38-83DD-0D27B16FD925}" dt="2020-03-30T11:25:18.572" v="1496" actId="47"/>
        <pc:sldMkLst>
          <pc:docMk/>
          <pc:sldMk cId="1871734696" sldId="623"/>
        </pc:sldMkLst>
      </pc:sldChg>
      <pc:sldChg chg="del">
        <pc:chgData name="Renata Festa" userId="6f22df47-533b-4c2a-a3c1-7f9ad1d63e10" providerId="ADAL" clId="{09EBC500-CCD1-4D38-83DD-0D27B16FD925}" dt="2020-03-30T11:30:01.527" v="1567" actId="47"/>
        <pc:sldMkLst>
          <pc:docMk/>
          <pc:sldMk cId="2330856776" sldId="624"/>
        </pc:sldMkLst>
      </pc:sldChg>
      <pc:sldChg chg="modSp mod">
        <pc:chgData name="Renata Festa" userId="6f22df47-533b-4c2a-a3c1-7f9ad1d63e10" providerId="ADAL" clId="{09EBC500-CCD1-4D38-83DD-0D27B16FD925}" dt="2020-03-30T11:30:19.257" v="1576" actId="20577"/>
        <pc:sldMkLst>
          <pc:docMk/>
          <pc:sldMk cId="3122286986" sldId="625"/>
        </pc:sldMkLst>
        <pc:spChg chg="mod">
          <ac:chgData name="Renata Festa" userId="6f22df47-533b-4c2a-a3c1-7f9ad1d63e10" providerId="ADAL" clId="{09EBC500-CCD1-4D38-83DD-0D27B16FD925}" dt="2020-03-30T11:30:11.679" v="1572"/>
          <ac:spMkLst>
            <pc:docMk/>
            <pc:sldMk cId="3122286986" sldId="625"/>
            <ac:spMk id="3" creationId="{8F64A22E-2B43-4FC6-AF08-0CDB3F9E9269}"/>
          </ac:spMkLst>
        </pc:spChg>
        <pc:spChg chg="mod">
          <ac:chgData name="Renata Festa" userId="6f22df47-533b-4c2a-a3c1-7f9ad1d63e10" providerId="ADAL" clId="{09EBC500-CCD1-4D38-83DD-0D27B16FD925}" dt="2020-03-30T11:30:19.257" v="1576" actId="20577"/>
          <ac:spMkLst>
            <pc:docMk/>
            <pc:sldMk cId="3122286986" sldId="625"/>
            <ac:spMk id="6" creationId="{637E159C-9ACF-48AE-927A-D5FB13695C7F}"/>
          </ac:spMkLst>
        </pc:spChg>
      </pc:sldChg>
      <pc:sldChg chg="del">
        <pc:chgData name="Renata Festa" userId="6f22df47-533b-4c2a-a3c1-7f9ad1d63e10" providerId="ADAL" clId="{09EBC500-CCD1-4D38-83DD-0D27B16FD925}" dt="2020-03-30T11:30:03.091" v="1568" actId="47"/>
        <pc:sldMkLst>
          <pc:docMk/>
          <pc:sldMk cId="2253511517" sldId="626"/>
        </pc:sldMkLst>
      </pc:sldChg>
      <pc:sldChg chg="del">
        <pc:chgData name="Renata Festa" userId="6f22df47-533b-4c2a-a3c1-7f9ad1d63e10" providerId="ADAL" clId="{09EBC500-CCD1-4D38-83DD-0D27B16FD925}" dt="2020-03-30T11:30:46.282" v="1581" actId="47"/>
        <pc:sldMkLst>
          <pc:docMk/>
          <pc:sldMk cId="2392680912" sldId="628"/>
        </pc:sldMkLst>
      </pc:sldChg>
      <pc:sldChg chg="del">
        <pc:chgData name="Renata Festa" userId="6f22df47-533b-4c2a-a3c1-7f9ad1d63e10" providerId="ADAL" clId="{09EBC500-CCD1-4D38-83DD-0D27B16FD925}" dt="2020-03-30T11:35:03.938" v="1635" actId="47"/>
        <pc:sldMkLst>
          <pc:docMk/>
          <pc:sldMk cId="3690196158" sldId="631"/>
        </pc:sldMkLst>
      </pc:sldChg>
      <pc:sldChg chg="del">
        <pc:chgData name="Renata Festa" userId="6f22df47-533b-4c2a-a3c1-7f9ad1d63e10" providerId="ADAL" clId="{09EBC500-CCD1-4D38-83DD-0D27B16FD925}" dt="2020-03-30T11:35:04.522" v="1636" actId="47"/>
        <pc:sldMkLst>
          <pc:docMk/>
          <pc:sldMk cId="2758375177" sldId="632"/>
        </pc:sldMkLst>
      </pc:sldChg>
      <pc:sldChg chg="modSp mod">
        <pc:chgData name="Renata Festa" userId="6f22df47-533b-4c2a-a3c1-7f9ad1d63e10" providerId="ADAL" clId="{09EBC500-CCD1-4D38-83DD-0D27B16FD925}" dt="2020-03-30T11:35:21.218" v="1644" actId="20577"/>
        <pc:sldMkLst>
          <pc:docMk/>
          <pc:sldMk cId="4053386836" sldId="633"/>
        </pc:sldMkLst>
        <pc:spChg chg="mod">
          <ac:chgData name="Renata Festa" userId="6f22df47-533b-4c2a-a3c1-7f9ad1d63e10" providerId="ADAL" clId="{09EBC500-CCD1-4D38-83DD-0D27B16FD925}" dt="2020-03-30T11:35:14.882" v="1640" actId="20577"/>
          <ac:spMkLst>
            <pc:docMk/>
            <pc:sldMk cId="4053386836" sldId="633"/>
            <ac:spMk id="3" creationId="{8F64A22E-2B43-4FC6-AF08-0CDB3F9E9269}"/>
          </ac:spMkLst>
        </pc:spChg>
        <pc:spChg chg="mod">
          <ac:chgData name="Renata Festa" userId="6f22df47-533b-4c2a-a3c1-7f9ad1d63e10" providerId="ADAL" clId="{09EBC500-CCD1-4D38-83DD-0D27B16FD925}" dt="2020-03-30T11:35:21.218" v="1644" actId="20577"/>
          <ac:spMkLst>
            <pc:docMk/>
            <pc:sldMk cId="4053386836" sldId="633"/>
            <ac:spMk id="6" creationId="{637E159C-9ACF-48AE-927A-D5FB13695C7F}"/>
          </ac:spMkLst>
        </pc:spChg>
      </pc:sldChg>
      <pc:sldChg chg="modSp mod">
        <pc:chgData name="Renata Festa" userId="6f22df47-533b-4c2a-a3c1-7f9ad1d63e10" providerId="ADAL" clId="{09EBC500-CCD1-4D38-83DD-0D27B16FD925}" dt="2020-03-30T11:40:48.435" v="1719" actId="20577"/>
        <pc:sldMkLst>
          <pc:docMk/>
          <pc:sldMk cId="2366583079" sldId="634"/>
        </pc:sldMkLst>
        <pc:spChg chg="mod">
          <ac:chgData name="Renata Festa" userId="6f22df47-533b-4c2a-a3c1-7f9ad1d63e10" providerId="ADAL" clId="{09EBC500-CCD1-4D38-83DD-0D27B16FD925}" dt="2020-03-30T11:40:35.524" v="1715"/>
          <ac:spMkLst>
            <pc:docMk/>
            <pc:sldMk cId="2366583079" sldId="634"/>
            <ac:spMk id="2" creationId="{BC57B38C-8413-4861-A4F5-7DF656AEAD0D}"/>
          </ac:spMkLst>
        </pc:spChg>
        <pc:spChg chg="mod">
          <ac:chgData name="Renata Festa" userId="6f22df47-533b-4c2a-a3c1-7f9ad1d63e10" providerId="ADAL" clId="{09EBC500-CCD1-4D38-83DD-0D27B16FD925}" dt="2020-03-30T11:40:48.435" v="1719" actId="20577"/>
          <ac:spMkLst>
            <pc:docMk/>
            <pc:sldMk cId="2366583079" sldId="634"/>
            <ac:spMk id="3" creationId="{4897B8F8-26DF-42FB-ACB0-59929F1C2344}"/>
          </ac:spMkLst>
        </pc:spChg>
      </pc:sldChg>
      <pc:sldChg chg="addSp delSp">
        <pc:chgData name="Renata Festa" userId="6f22df47-533b-4c2a-a3c1-7f9ad1d63e10" providerId="ADAL" clId="{09EBC500-CCD1-4D38-83DD-0D27B16FD925}" dt="2020-03-30T09:50:47.739" v="101"/>
        <pc:sldMkLst>
          <pc:docMk/>
          <pc:sldMk cId="1052679494" sldId="635"/>
        </pc:sldMkLst>
        <pc:spChg chg="add del">
          <ac:chgData name="Renata Festa" userId="6f22df47-533b-4c2a-a3c1-7f9ad1d63e10" providerId="ADAL" clId="{09EBC500-CCD1-4D38-83DD-0D27B16FD925}" dt="2020-03-30T09:50:45.264" v="99"/>
          <ac:spMkLst>
            <pc:docMk/>
            <pc:sldMk cId="1052679494" sldId="635"/>
            <ac:spMk id="3" creationId="{33FDB5BD-DB86-4E65-880E-EB7CE4BBACA9}"/>
          </ac:spMkLst>
        </pc:spChg>
        <pc:spChg chg="add del">
          <ac:chgData name="Renata Festa" userId="6f22df47-533b-4c2a-a3c1-7f9ad1d63e10" providerId="ADAL" clId="{09EBC500-CCD1-4D38-83DD-0D27B16FD925}" dt="2020-03-30T09:50:47.739" v="101"/>
          <ac:spMkLst>
            <pc:docMk/>
            <pc:sldMk cId="1052679494" sldId="635"/>
            <ac:spMk id="4" creationId="{1D87DFB6-AB08-4E61-8E9C-849ADE42CB7F}"/>
          </ac:spMkLst>
        </pc:spChg>
      </pc:sldChg>
      <pc:sldChg chg="del">
        <pc:chgData name="Renata Festa" userId="6f22df47-533b-4c2a-a3c1-7f9ad1d63e10" providerId="ADAL" clId="{09EBC500-CCD1-4D38-83DD-0D27B16FD925}" dt="2020-03-30T11:41:18.397" v="1735" actId="47"/>
        <pc:sldMkLst>
          <pc:docMk/>
          <pc:sldMk cId="75023942" sldId="636"/>
        </pc:sldMkLst>
      </pc:sldChg>
      <pc:sldChg chg="addSp delSp modSp add modAnim">
        <pc:chgData name="Renata Festa" userId="6f22df47-533b-4c2a-a3c1-7f9ad1d63e10" providerId="ADAL" clId="{09EBC500-CCD1-4D38-83DD-0D27B16FD925}" dt="2020-03-30T11:44:29.648" v="1758"/>
        <pc:sldMkLst>
          <pc:docMk/>
          <pc:sldMk cId="815604796" sldId="638"/>
        </pc:sldMkLst>
        <pc:spChg chg="add del mod">
          <ac:chgData name="Renata Festa" userId="6f22df47-533b-4c2a-a3c1-7f9ad1d63e10" providerId="ADAL" clId="{09EBC500-CCD1-4D38-83DD-0D27B16FD925}" dt="2020-03-30T11:43:34.271" v="1753" actId="12084"/>
          <ac:spMkLst>
            <pc:docMk/>
            <pc:sldMk cId="815604796" sldId="638"/>
            <ac:spMk id="3" creationId="{85158D4A-0484-4AAC-974B-AE6CA18251C2}"/>
          </ac:spMkLst>
        </pc:spChg>
        <pc:graphicFrameChg chg="add del mod">
          <ac:chgData name="Renata Festa" userId="6f22df47-533b-4c2a-a3c1-7f9ad1d63e10" providerId="ADAL" clId="{09EBC500-CCD1-4D38-83DD-0D27B16FD925}" dt="2020-03-30T11:42:57.167" v="1752" actId="12084"/>
          <ac:graphicFrameMkLst>
            <pc:docMk/>
            <pc:sldMk cId="815604796" sldId="638"/>
            <ac:graphicFrameMk id="4" creationId="{3F2045ED-3EF2-4B75-B2E4-959F1AB6F316}"/>
          </ac:graphicFrameMkLst>
        </pc:graphicFrameChg>
        <pc:graphicFrameChg chg="del mod">
          <ac:chgData name="Renata Festa" userId="6f22df47-533b-4c2a-a3c1-7f9ad1d63e10" providerId="ADAL" clId="{09EBC500-CCD1-4D38-83DD-0D27B16FD925}" dt="2020-03-30T11:42:27.406" v="1750" actId="11529"/>
          <ac:graphicFrameMkLst>
            <pc:docMk/>
            <pc:sldMk cId="815604796" sldId="638"/>
            <ac:graphicFrameMk id="5" creationId="{9D786396-8886-485A-8B68-490D282F3302}"/>
          </ac:graphicFrameMkLst>
        </pc:graphicFrameChg>
        <pc:graphicFrameChg chg="add mod">
          <ac:chgData name="Renata Festa" userId="6f22df47-533b-4c2a-a3c1-7f9ad1d63e10" providerId="ADAL" clId="{09EBC500-CCD1-4D38-83DD-0D27B16FD925}" dt="2020-03-30T11:44:21.554" v="1756" actId="13782"/>
          <ac:graphicFrameMkLst>
            <pc:docMk/>
            <pc:sldMk cId="815604796" sldId="638"/>
            <ac:graphicFrameMk id="6" creationId="{F3715BFE-C7EC-4FE6-B9DF-3730800EAB3C}"/>
          </ac:graphicFrameMkLst>
        </pc:graphicFrameChg>
      </pc:sldChg>
      <pc:sldChg chg="addSp delSp modSp add mod">
        <pc:chgData name="Renata Festa" userId="6f22df47-533b-4c2a-a3c1-7f9ad1d63e10" providerId="ADAL" clId="{09EBC500-CCD1-4D38-83DD-0D27B16FD925}" dt="2020-03-30T09:47:20.744" v="50" actId="14100"/>
        <pc:sldMkLst>
          <pc:docMk/>
          <pc:sldMk cId="643880474" sldId="639"/>
        </pc:sldMkLst>
        <pc:spChg chg="mod">
          <ac:chgData name="Renata Festa" userId="6f22df47-533b-4c2a-a3c1-7f9ad1d63e10" providerId="ADAL" clId="{09EBC500-CCD1-4D38-83DD-0D27B16FD925}" dt="2020-03-30T09:46:26.478" v="16"/>
          <ac:spMkLst>
            <pc:docMk/>
            <pc:sldMk cId="643880474" sldId="639"/>
            <ac:spMk id="2" creationId="{04B03009-3701-4057-BF65-BFB63A4DFDB3}"/>
          </ac:spMkLst>
        </pc:spChg>
        <pc:spChg chg="add del">
          <ac:chgData name="Renata Festa" userId="6f22df47-533b-4c2a-a3c1-7f9ad1d63e10" providerId="ADAL" clId="{09EBC500-CCD1-4D38-83DD-0D27B16FD925}" dt="2020-03-30T09:46:50.838" v="28" actId="478"/>
          <ac:spMkLst>
            <pc:docMk/>
            <pc:sldMk cId="643880474" sldId="639"/>
            <ac:spMk id="3" creationId="{5CCE366E-BAD6-4A66-B593-D8A629C5682C}"/>
          </ac:spMkLst>
        </pc:spChg>
        <pc:spChg chg="add mod">
          <ac:chgData name="Renata Festa" userId="6f22df47-533b-4c2a-a3c1-7f9ad1d63e10" providerId="ADAL" clId="{09EBC500-CCD1-4D38-83DD-0D27B16FD925}" dt="2020-03-30T09:47:20.744" v="50" actId="14100"/>
          <ac:spMkLst>
            <pc:docMk/>
            <pc:sldMk cId="643880474" sldId="639"/>
            <ac:spMk id="5" creationId="{A9CA751A-07BE-42FF-A19B-7CDAD1AA8D96}"/>
          </ac:spMkLst>
        </pc:spChg>
        <pc:picChg chg="add mod">
          <ac:chgData name="Renata Festa" userId="6f22df47-533b-4c2a-a3c1-7f9ad1d63e10" providerId="ADAL" clId="{09EBC500-CCD1-4D38-83DD-0D27B16FD925}" dt="2020-03-30T09:47:20.744" v="50" actId="14100"/>
          <ac:picMkLst>
            <pc:docMk/>
            <pc:sldMk cId="643880474" sldId="639"/>
            <ac:picMk id="4" creationId="{94D7FDC5-99AC-4A30-97F1-83C10D035182}"/>
          </ac:picMkLst>
        </pc:picChg>
      </pc:sldChg>
      <pc:sldChg chg="addSp modSp add mod">
        <pc:chgData name="Renata Festa" userId="6f22df47-533b-4c2a-a3c1-7f9ad1d63e10" providerId="ADAL" clId="{09EBC500-CCD1-4D38-83DD-0D27B16FD925}" dt="2020-03-30T09:47:58.746" v="73" actId="1036"/>
        <pc:sldMkLst>
          <pc:docMk/>
          <pc:sldMk cId="2854273515" sldId="640"/>
        </pc:sldMkLst>
        <pc:spChg chg="mod">
          <ac:chgData name="Renata Festa" userId="6f22df47-533b-4c2a-a3c1-7f9ad1d63e10" providerId="ADAL" clId="{09EBC500-CCD1-4D38-83DD-0D27B16FD925}" dt="2020-03-30T09:47:35.345" v="52" actId="20577"/>
          <ac:spMkLst>
            <pc:docMk/>
            <pc:sldMk cId="2854273515" sldId="640"/>
            <ac:spMk id="2" creationId="{04B03009-3701-4057-BF65-BFB63A4DFDB3}"/>
          </ac:spMkLst>
        </pc:spChg>
        <pc:grpChg chg="add mod">
          <ac:chgData name="Renata Festa" userId="6f22df47-533b-4c2a-a3c1-7f9ad1d63e10" providerId="ADAL" clId="{09EBC500-CCD1-4D38-83DD-0D27B16FD925}" dt="2020-03-30T09:47:58.746" v="73" actId="1036"/>
          <ac:grpSpMkLst>
            <pc:docMk/>
            <pc:sldMk cId="2854273515" sldId="640"/>
            <ac:grpSpMk id="4" creationId="{BB06C48A-AE3F-4120-880E-268827FDDB04}"/>
          </ac:grpSpMkLst>
        </pc:grpChg>
        <pc:grpChg chg="add mod">
          <ac:chgData name="Renata Festa" userId="6f22df47-533b-4c2a-a3c1-7f9ad1d63e10" providerId="ADAL" clId="{09EBC500-CCD1-4D38-83DD-0D27B16FD925}" dt="2020-03-30T09:47:58.746" v="73" actId="1036"/>
          <ac:grpSpMkLst>
            <pc:docMk/>
            <pc:sldMk cId="2854273515" sldId="640"/>
            <ac:grpSpMk id="7" creationId="{01EC1FB9-8766-4E5E-AA9D-EF0C8BDE9D52}"/>
          </ac:grpSpMkLst>
        </pc:grpChg>
        <pc:grpChg chg="add mod">
          <ac:chgData name="Renata Festa" userId="6f22df47-533b-4c2a-a3c1-7f9ad1d63e10" providerId="ADAL" clId="{09EBC500-CCD1-4D38-83DD-0D27B16FD925}" dt="2020-03-30T09:47:58.746" v="73" actId="1036"/>
          <ac:grpSpMkLst>
            <pc:docMk/>
            <pc:sldMk cId="2854273515" sldId="640"/>
            <ac:grpSpMk id="10" creationId="{FE9A4695-8876-48B2-B824-488EB806624E}"/>
          </ac:grpSpMkLst>
        </pc:grpChg>
        <pc:grpChg chg="add mod">
          <ac:chgData name="Renata Festa" userId="6f22df47-533b-4c2a-a3c1-7f9ad1d63e10" providerId="ADAL" clId="{09EBC500-CCD1-4D38-83DD-0D27B16FD925}" dt="2020-03-30T09:47:58.746" v="73" actId="1036"/>
          <ac:grpSpMkLst>
            <pc:docMk/>
            <pc:sldMk cId="2854273515" sldId="640"/>
            <ac:grpSpMk id="13" creationId="{00019918-949A-4655-9F02-AAF26E17640C}"/>
          </ac:grpSpMkLst>
        </pc:grpChg>
        <pc:grpChg chg="add mod">
          <ac:chgData name="Renata Festa" userId="6f22df47-533b-4c2a-a3c1-7f9ad1d63e10" providerId="ADAL" clId="{09EBC500-CCD1-4D38-83DD-0D27B16FD925}" dt="2020-03-30T09:47:58.746" v="73" actId="1036"/>
          <ac:grpSpMkLst>
            <pc:docMk/>
            <pc:sldMk cId="2854273515" sldId="640"/>
            <ac:grpSpMk id="16" creationId="{A06A55C9-E4F2-402F-ADB7-F2AC127E3997}"/>
          </ac:grpSpMkLst>
        </pc:grpChg>
        <pc:grpChg chg="add mod">
          <ac:chgData name="Renata Festa" userId="6f22df47-533b-4c2a-a3c1-7f9ad1d63e10" providerId="ADAL" clId="{09EBC500-CCD1-4D38-83DD-0D27B16FD925}" dt="2020-03-30T09:47:58.746" v="73" actId="1036"/>
          <ac:grpSpMkLst>
            <pc:docMk/>
            <pc:sldMk cId="2854273515" sldId="640"/>
            <ac:grpSpMk id="19" creationId="{3B2451DB-C81E-4B68-A6C3-745C80F242E6}"/>
          </ac:grpSpMkLst>
        </pc:grpChg>
        <pc:grpChg chg="add mod">
          <ac:chgData name="Renata Festa" userId="6f22df47-533b-4c2a-a3c1-7f9ad1d63e10" providerId="ADAL" clId="{09EBC500-CCD1-4D38-83DD-0D27B16FD925}" dt="2020-03-30T09:47:58.746" v="73" actId="1036"/>
          <ac:grpSpMkLst>
            <pc:docMk/>
            <pc:sldMk cId="2854273515" sldId="640"/>
            <ac:grpSpMk id="22" creationId="{34C1EC2C-FB51-481E-9142-FDB05C004E36}"/>
          </ac:grpSpMkLst>
        </pc:grpChg>
        <pc:grpChg chg="add mod">
          <ac:chgData name="Renata Festa" userId="6f22df47-533b-4c2a-a3c1-7f9ad1d63e10" providerId="ADAL" clId="{09EBC500-CCD1-4D38-83DD-0D27B16FD925}" dt="2020-03-30T09:47:58.746" v="73" actId="1036"/>
          <ac:grpSpMkLst>
            <pc:docMk/>
            <pc:sldMk cId="2854273515" sldId="640"/>
            <ac:grpSpMk id="25" creationId="{C4E65DE3-DD4F-4DA0-82B8-EDE3F6A27778}"/>
          </ac:grpSpMkLst>
        </pc:grpChg>
        <pc:grpChg chg="add mod">
          <ac:chgData name="Renata Festa" userId="6f22df47-533b-4c2a-a3c1-7f9ad1d63e10" providerId="ADAL" clId="{09EBC500-CCD1-4D38-83DD-0D27B16FD925}" dt="2020-03-30T09:47:58.746" v="73" actId="1036"/>
          <ac:grpSpMkLst>
            <pc:docMk/>
            <pc:sldMk cId="2854273515" sldId="640"/>
            <ac:grpSpMk id="28" creationId="{84F8396F-68B1-4DA7-9456-9335C25C2A26}"/>
          </ac:grpSpMkLst>
        </pc:grpChg>
      </pc:sldChg>
      <pc:sldChg chg="addSp modSp add mod">
        <pc:chgData name="Renata Festa" userId="6f22df47-533b-4c2a-a3c1-7f9ad1d63e10" providerId="ADAL" clId="{09EBC500-CCD1-4D38-83DD-0D27B16FD925}" dt="2020-03-30T09:49:13.472" v="90" actId="1035"/>
        <pc:sldMkLst>
          <pc:docMk/>
          <pc:sldMk cId="384087871" sldId="641"/>
        </pc:sldMkLst>
        <pc:spChg chg="mod">
          <ac:chgData name="Renata Festa" userId="6f22df47-533b-4c2a-a3c1-7f9ad1d63e10" providerId="ADAL" clId="{09EBC500-CCD1-4D38-83DD-0D27B16FD925}" dt="2020-03-30T09:48:11.622" v="74"/>
          <ac:spMkLst>
            <pc:docMk/>
            <pc:sldMk cId="384087871" sldId="641"/>
            <ac:spMk id="2" creationId="{04B03009-3701-4057-BF65-BFB63A4DFDB3}"/>
          </ac:spMkLst>
        </pc:spChg>
        <pc:spChg chg="add mod">
          <ac:chgData name="Renata Festa" userId="6f22df47-533b-4c2a-a3c1-7f9ad1d63e10" providerId="ADAL" clId="{09EBC500-CCD1-4D38-83DD-0D27B16FD925}" dt="2020-03-30T09:49:06.615" v="88" actId="1037"/>
          <ac:spMkLst>
            <pc:docMk/>
            <pc:sldMk cId="384087871" sldId="641"/>
            <ac:spMk id="4" creationId="{2AEDA153-CBAD-4463-B3A0-11C720D7959C}"/>
          </ac:spMkLst>
        </pc:spChg>
        <pc:spChg chg="add mod">
          <ac:chgData name="Renata Festa" userId="6f22df47-533b-4c2a-a3c1-7f9ad1d63e10" providerId="ADAL" clId="{09EBC500-CCD1-4D38-83DD-0D27B16FD925}" dt="2020-03-30T09:49:06.615" v="88" actId="1037"/>
          <ac:spMkLst>
            <pc:docMk/>
            <pc:sldMk cId="384087871" sldId="641"/>
            <ac:spMk id="5" creationId="{D02CB713-3C1C-4442-B3F0-B8BB8D5AD9FD}"/>
          </ac:spMkLst>
        </pc:spChg>
        <pc:spChg chg="add mod">
          <ac:chgData name="Renata Festa" userId="6f22df47-533b-4c2a-a3c1-7f9ad1d63e10" providerId="ADAL" clId="{09EBC500-CCD1-4D38-83DD-0D27B16FD925}" dt="2020-03-30T09:49:06.615" v="88" actId="1037"/>
          <ac:spMkLst>
            <pc:docMk/>
            <pc:sldMk cId="384087871" sldId="641"/>
            <ac:spMk id="6" creationId="{8DB321A2-4B13-4E24-B508-8BDDE68535F4}"/>
          </ac:spMkLst>
        </pc:spChg>
        <pc:spChg chg="add mod">
          <ac:chgData name="Renata Festa" userId="6f22df47-533b-4c2a-a3c1-7f9ad1d63e10" providerId="ADAL" clId="{09EBC500-CCD1-4D38-83DD-0D27B16FD925}" dt="2020-03-30T09:49:06.615" v="88" actId="1037"/>
          <ac:spMkLst>
            <pc:docMk/>
            <pc:sldMk cId="384087871" sldId="641"/>
            <ac:spMk id="7" creationId="{BD9376C4-92F2-4FD6-9193-F6BEAC23D6C3}"/>
          </ac:spMkLst>
        </pc:spChg>
        <pc:spChg chg="add mod">
          <ac:chgData name="Renata Festa" userId="6f22df47-533b-4c2a-a3c1-7f9ad1d63e10" providerId="ADAL" clId="{09EBC500-CCD1-4D38-83DD-0D27B16FD925}" dt="2020-03-30T09:49:06.615" v="88" actId="1037"/>
          <ac:spMkLst>
            <pc:docMk/>
            <pc:sldMk cId="384087871" sldId="641"/>
            <ac:spMk id="8" creationId="{086DB2C1-4C7E-483B-A66C-AEBF866A0006}"/>
          </ac:spMkLst>
        </pc:spChg>
        <pc:spChg chg="add mod">
          <ac:chgData name="Renata Festa" userId="6f22df47-533b-4c2a-a3c1-7f9ad1d63e10" providerId="ADAL" clId="{09EBC500-CCD1-4D38-83DD-0D27B16FD925}" dt="2020-03-30T09:48:40.460" v="79" actId="1076"/>
          <ac:spMkLst>
            <pc:docMk/>
            <pc:sldMk cId="384087871" sldId="641"/>
            <ac:spMk id="9" creationId="{999D7D25-4854-480C-96BB-13DF8A401DE9}"/>
          </ac:spMkLst>
        </pc:spChg>
        <pc:spChg chg="add mod">
          <ac:chgData name="Renata Festa" userId="6f22df47-533b-4c2a-a3c1-7f9ad1d63e10" providerId="ADAL" clId="{09EBC500-CCD1-4D38-83DD-0D27B16FD925}" dt="2020-03-30T09:49:06.615" v="88" actId="1037"/>
          <ac:spMkLst>
            <pc:docMk/>
            <pc:sldMk cId="384087871" sldId="641"/>
            <ac:spMk id="11" creationId="{E007AE9E-D839-4ACC-BDFA-384E99F64A90}"/>
          </ac:spMkLst>
        </pc:spChg>
        <pc:spChg chg="add mod">
          <ac:chgData name="Renata Festa" userId="6f22df47-533b-4c2a-a3c1-7f9ad1d63e10" providerId="ADAL" clId="{09EBC500-CCD1-4D38-83DD-0D27B16FD925}" dt="2020-03-30T09:49:06.615" v="88" actId="1037"/>
          <ac:spMkLst>
            <pc:docMk/>
            <pc:sldMk cId="384087871" sldId="641"/>
            <ac:spMk id="15" creationId="{B29BBAB0-630D-4C36-99E1-372F63D9F37A}"/>
          </ac:spMkLst>
        </pc:spChg>
        <pc:spChg chg="add mod">
          <ac:chgData name="Renata Festa" userId="6f22df47-533b-4c2a-a3c1-7f9ad1d63e10" providerId="ADAL" clId="{09EBC500-CCD1-4D38-83DD-0D27B16FD925}" dt="2020-03-30T09:49:06.615" v="88" actId="1037"/>
          <ac:spMkLst>
            <pc:docMk/>
            <pc:sldMk cId="384087871" sldId="641"/>
            <ac:spMk id="27" creationId="{1B14A6AF-6E4C-4DF5-A526-ECF2F7E5D79B}"/>
          </ac:spMkLst>
        </pc:spChg>
        <pc:grpChg chg="add mod">
          <ac:chgData name="Renata Festa" userId="6f22df47-533b-4c2a-a3c1-7f9ad1d63e10" providerId="ADAL" clId="{09EBC500-CCD1-4D38-83DD-0D27B16FD925}" dt="2020-03-30T09:49:06.615" v="88" actId="1037"/>
          <ac:grpSpMkLst>
            <pc:docMk/>
            <pc:sldMk cId="384087871" sldId="641"/>
            <ac:grpSpMk id="16" creationId="{B5D04653-E847-46A7-9547-C7E632DB5E03}"/>
          </ac:grpSpMkLst>
        </pc:grpChg>
        <pc:grpChg chg="mod">
          <ac:chgData name="Renata Festa" userId="6f22df47-533b-4c2a-a3c1-7f9ad1d63e10" providerId="ADAL" clId="{09EBC500-CCD1-4D38-83DD-0D27B16FD925}" dt="2020-03-30T09:49:06.615" v="88" actId="1037"/>
          <ac:grpSpMkLst>
            <pc:docMk/>
            <pc:sldMk cId="384087871" sldId="641"/>
            <ac:grpSpMk id="17" creationId="{5BD1F870-AFB4-4EAC-8F2F-B4C7452B9FE9}"/>
          </ac:grpSpMkLst>
        </pc:grpChg>
        <pc:grpChg chg="mod">
          <ac:chgData name="Renata Festa" userId="6f22df47-533b-4c2a-a3c1-7f9ad1d63e10" providerId="ADAL" clId="{09EBC500-CCD1-4D38-83DD-0D27B16FD925}" dt="2020-03-30T09:49:06.615" v="88" actId="1037"/>
          <ac:grpSpMkLst>
            <pc:docMk/>
            <pc:sldMk cId="384087871" sldId="641"/>
            <ac:grpSpMk id="18" creationId="{6CB11A60-76BB-4C55-BF86-235DBE5F8D6B}"/>
          </ac:grpSpMkLst>
        </pc:grpChg>
        <pc:grpChg chg="mod">
          <ac:chgData name="Renata Festa" userId="6f22df47-533b-4c2a-a3c1-7f9ad1d63e10" providerId="ADAL" clId="{09EBC500-CCD1-4D38-83DD-0D27B16FD925}" dt="2020-03-30T09:49:06.615" v="88" actId="1037"/>
          <ac:grpSpMkLst>
            <pc:docMk/>
            <pc:sldMk cId="384087871" sldId="641"/>
            <ac:grpSpMk id="19" creationId="{F9F45D00-0130-4514-B690-3BE76D06BB30}"/>
          </ac:grpSpMkLst>
        </pc:grpChg>
        <pc:grpChg chg="add mod">
          <ac:chgData name="Renata Festa" userId="6f22df47-533b-4c2a-a3c1-7f9ad1d63e10" providerId="ADAL" clId="{09EBC500-CCD1-4D38-83DD-0D27B16FD925}" dt="2020-03-30T09:49:13.472" v="90" actId="1035"/>
          <ac:grpSpMkLst>
            <pc:docMk/>
            <pc:sldMk cId="384087871" sldId="641"/>
            <ac:grpSpMk id="28" creationId="{6FBC989F-06D3-4EF9-B659-F1342C43B65A}"/>
          </ac:grpSpMkLst>
        </pc:grpChg>
        <pc:grpChg chg="mod">
          <ac:chgData name="Renata Festa" userId="6f22df47-533b-4c2a-a3c1-7f9ad1d63e10" providerId="ADAL" clId="{09EBC500-CCD1-4D38-83DD-0D27B16FD925}" dt="2020-03-30T09:49:06.615" v="88" actId="1037"/>
          <ac:grpSpMkLst>
            <pc:docMk/>
            <pc:sldMk cId="384087871" sldId="641"/>
            <ac:grpSpMk id="30" creationId="{A42CCEEF-19C3-4CF4-BA71-64483D4B6FE6}"/>
          </ac:grpSpMkLst>
        </pc:grpChg>
        <pc:grpChg chg="mod">
          <ac:chgData name="Renata Festa" userId="6f22df47-533b-4c2a-a3c1-7f9ad1d63e10" providerId="ADAL" clId="{09EBC500-CCD1-4D38-83DD-0D27B16FD925}" dt="2020-03-30T09:49:06.615" v="88" actId="1037"/>
          <ac:grpSpMkLst>
            <pc:docMk/>
            <pc:sldMk cId="384087871" sldId="641"/>
            <ac:grpSpMk id="31" creationId="{04E2ADC2-2F8D-45E2-8C10-203EBFF01163}"/>
          </ac:grpSpMkLst>
        </pc:grpChg>
        <pc:graphicFrameChg chg="add mod">
          <ac:chgData name="Renata Festa" userId="6f22df47-533b-4c2a-a3c1-7f9ad1d63e10" providerId="ADAL" clId="{09EBC500-CCD1-4D38-83DD-0D27B16FD925}" dt="2020-03-30T09:48:40.460" v="79" actId="1076"/>
          <ac:graphicFrameMkLst>
            <pc:docMk/>
            <pc:sldMk cId="384087871" sldId="641"/>
            <ac:graphicFrameMk id="10" creationId="{A13FFBFC-D3E9-4F75-8FA3-A0B1EB840D80}"/>
          </ac:graphicFrameMkLst>
        </pc:graphicFrameChg>
        <pc:cxnChg chg="add mod">
          <ac:chgData name="Renata Festa" userId="6f22df47-533b-4c2a-a3c1-7f9ad1d63e10" providerId="ADAL" clId="{09EBC500-CCD1-4D38-83DD-0D27B16FD925}" dt="2020-03-30T09:49:06.615" v="88" actId="1037"/>
          <ac:cxnSpMkLst>
            <pc:docMk/>
            <pc:sldMk cId="384087871" sldId="641"/>
            <ac:cxnSpMk id="12" creationId="{69DC3778-E408-4AD4-9613-815974BDD324}"/>
          </ac:cxnSpMkLst>
        </pc:cxnChg>
        <pc:cxnChg chg="add mod">
          <ac:chgData name="Renata Festa" userId="6f22df47-533b-4c2a-a3c1-7f9ad1d63e10" providerId="ADAL" clId="{09EBC500-CCD1-4D38-83DD-0D27B16FD925}" dt="2020-03-30T09:49:06.615" v="88" actId="1037"/>
          <ac:cxnSpMkLst>
            <pc:docMk/>
            <pc:sldMk cId="384087871" sldId="641"/>
            <ac:cxnSpMk id="13" creationId="{0A20280D-0F28-4BC3-9680-E95533D6EFDF}"/>
          </ac:cxnSpMkLst>
        </pc:cxnChg>
        <pc:cxnChg chg="add mod">
          <ac:chgData name="Renata Festa" userId="6f22df47-533b-4c2a-a3c1-7f9ad1d63e10" providerId="ADAL" clId="{09EBC500-CCD1-4D38-83DD-0D27B16FD925}" dt="2020-03-30T09:49:06.615" v="88" actId="1037"/>
          <ac:cxnSpMkLst>
            <pc:docMk/>
            <pc:sldMk cId="384087871" sldId="641"/>
            <ac:cxnSpMk id="14" creationId="{2725C408-EB34-4DE7-A151-0F35B4EA357D}"/>
          </ac:cxnSpMkLst>
        </pc:cxnChg>
      </pc:sldChg>
      <pc:sldChg chg="add del">
        <pc:chgData name="Renata Festa" userId="6f22df47-533b-4c2a-a3c1-7f9ad1d63e10" providerId="ADAL" clId="{09EBC500-CCD1-4D38-83DD-0D27B16FD925}" dt="2020-03-30T09:49:41.598" v="91" actId="47"/>
        <pc:sldMkLst>
          <pc:docMk/>
          <pc:sldMk cId="322328772" sldId="642"/>
        </pc:sldMkLst>
      </pc:sldChg>
      <pc:sldChg chg="add del">
        <pc:chgData name="Renata Festa" userId="6f22df47-533b-4c2a-a3c1-7f9ad1d63e10" providerId="ADAL" clId="{09EBC500-CCD1-4D38-83DD-0D27B16FD925}" dt="2020-03-30T09:50:55.417" v="103"/>
        <pc:sldMkLst>
          <pc:docMk/>
          <pc:sldMk cId="1456942174" sldId="642"/>
        </pc:sldMkLst>
      </pc:sldChg>
      <pc:sldChg chg="modSp add modAnim modNotesTx">
        <pc:chgData name="Renata Festa" userId="6f22df47-533b-4c2a-a3c1-7f9ad1d63e10" providerId="ADAL" clId="{09EBC500-CCD1-4D38-83DD-0D27B16FD925}" dt="2020-03-30T11:41:13.539" v="1734" actId="20577"/>
        <pc:sldMkLst>
          <pc:docMk/>
          <pc:sldMk cId="2990827464" sldId="642"/>
        </pc:sldMkLst>
        <pc:graphicFrameChg chg="mod">
          <ac:chgData name="Renata Festa" userId="6f22df47-533b-4c2a-a3c1-7f9ad1d63e10" providerId="ADAL" clId="{09EBC500-CCD1-4D38-83DD-0D27B16FD925}" dt="2020-03-30T11:41:07.217" v="1723"/>
          <ac:graphicFrameMkLst>
            <pc:docMk/>
            <pc:sldMk cId="2990827464" sldId="642"/>
            <ac:graphicFrameMk id="3" creationId="{9484E1FE-7534-495E-863C-657A46F5E628}"/>
          </ac:graphicFrameMkLst>
        </pc:graphicFrameChg>
      </pc:sldChg>
      <pc:sldChg chg="modSp add modAnim">
        <pc:chgData name="Renata Festa" userId="6f22df47-533b-4c2a-a3c1-7f9ad1d63e10" providerId="ADAL" clId="{09EBC500-CCD1-4D38-83DD-0D27B16FD925}" dt="2020-03-30T11:30:39.583" v="1580"/>
        <pc:sldMkLst>
          <pc:docMk/>
          <pc:sldMk cId="2517738057" sldId="643"/>
        </pc:sldMkLst>
        <pc:graphicFrameChg chg="mod">
          <ac:chgData name="Renata Festa" userId="6f22df47-533b-4c2a-a3c1-7f9ad1d63e10" providerId="ADAL" clId="{09EBC500-CCD1-4D38-83DD-0D27B16FD925}" dt="2020-03-30T11:30:39.583" v="1580"/>
          <ac:graphicFrameMkLst>
            <pc:docMk/>
            <pc:sldMk cId="2517738057" sldId="643"/>
            <ac:graphicFrameMk id="3" creationId="{9484E1FE-7534-495E-863C-657A46F5E628}"/>
          </ac:graphicFrameMkLst>
        </pc:graphicFrameChg>
      </pc:sldChg>
      <pc:sldChg chg="add del">
        <pc:chgData name="Renata Festa" userId="6f22df47-533b-4c2a-a3c1-7f9ad1d63e10" providerId="ADAL" clId="{09EBC500-CCD1-4D38-83DD-0D27B16FD925}" dt="2020-03-30T09:49:41.598" v="91" actId="47"/>
        <pc:sldMkLst>
          <pc:docMk/>
          <pc:sldMk cId="3394794185" sldId="643"/>
        </pc:sldMkLst>
      </pc:sldChg>
      <pc:sldChg chg="add del">
        <pc:chgData name="Renata Festa" userId="6f22df47-533b-4c2a-a3c1-7f9ad1d63e10" providerId="ADAL" clId="{09EBC500-CCD1-4D38-83DD-0D27B16FD925}" dt="2020-03-30T09:49:41.598" v="91" actId="47"/>
        <pc:sldMkLst>
          <pc:docMk/>
          <pc:sldMk cId="598709823" sldId="644"/>
        </pc:sldMkLst>
      </pc:sldChg>
      <pc:sldChg chg="modSp add modAnim">
        <pc:chgData name="Renata Festa" userId="6f22df47-533b-4c2a-a3c1-7f9ad1d63e10" providerId="ADAL" clId="{09EBC500-CCD1-4D38-83DD-0D27B16FD925}" dt="2020-03-30T11:24:45.046" v="1489"/>
        <pc:sldMkLst>
          <pc:docMk/>
          <pc:sldMk cId="2816314315" sldId="644"/>
        </pc:sldMkLst>
        <pc:graphicFrameChg chg="mod">
          <ac:chgData name="Renata Festa" userId="6f22df47-533b-4c2a-a3c1-7f9ad1d63e10" providerId="ADAL" clId="{09EBC500-CCD1-4D38-83DD-0D27B16FD925}" dt="2020-03-30T11:24:45.046" v="1489"/>
          <ac:graphicFrameMkLst>
            <pc:docMk/>
            <pc:sldMk cId="2816314315" sldId="644"/>
            <ac:graphicFrameMk id="3" creationId="{9484E1FE-7534-495E-863C-657A46F5E628}"/>
          </ac:graphicFrameMkLst>
        </pc:graphicFrameChg>
      </pc:sldChg>
      <pc:sldChg chg="add del">
        <pc:chgData name="Renata Festa" userId="6f22df47-533b-4c2a-a3c1-7f9ad1d63e10" providerId="ADAL" clId="{09EBC500-CCD1-4D38-83DD-0D27B16FD925}" dt="2020-03-30T09:49:41.598" v="91" actId="47"/>
        <pc:sldMkLst>
          <pc:docMk/>
          <pc:sldMk cId="1938306695" sldId="645"/>
        </pc:sldMkLst>
      </pc:sldChg>
      <pc:sldChg chg="modSp add">
        <pc:chgData name="Renata Festa" userId="6f22df47-533b-4c2a-a3c1-7f9ad1d63e10" providerId="ADAL" clId="{09EBC500-CCD1-4D38-83DD-0D27B16FD925}" dt="2020-03-30T11:18:35.474" v="1418"/>
        <pc:sldMkLst>
          <pc:docMk/>
          <pc:sldMk cId="2637280707" sldId="645"/>
        </pc:sldMkLst>
        <pc:graphicFrameChg chg="mod">
          <ac:chgData name="Renata Festa" userId="6f22df47-533b-4c2a-a3c1-7f9ad1d63e10" providerId="ADAL" clId="{09EBC500-CCD1-4D38-83DD-0D27B16FD925}" dt="2020-03-30T11:18:35.474" v="1418"/>
          <ac:graphicFrameMkLst>
            <pc:docMk/>
            <pc:sldMk cId="2637280707" sldId="645"/>
            <ac:graphicFrameMk id="3" creationId="{9484E1FE-7534-495E-863C-657A46F5E628}"/>
          </ac:graphicFrameMkLst>
        </pc:graphicFrameChg>
      </pc:sldChg>
      <pc:sldChg chg="modSp add">
        <pc:chgData name="Renata Festa" userId="6f22df47-533b-4c2a-a3c1-7f9ad1d63e10" providerId="ADAL" clId="{09EBC500-CCD1-4D38-83DD-0D27B16FD925}" dt="2020-03-30T11:06:19.627" v="1303"/>
        <pc:sldMkLst>
          <pc:docMk/>
          <pc:sldMk cId="1361087952" sldId="646"/>
        </pc:sldMkLst>
        <pc:graphicFrameChg chg="mod">
          <ac:chgData name="Renata Festa" userId="6f22df47-533b-4c2a-a3c1-7f9ad1d63e10" providerId="ADAL" clId="{09EBC500-CCD1-4D38-83DD-0D27B16FD925}" dt="2020-03-30T11:06:19.627" v="1303"/>
          <ac:graphicFrameMkLst>
            <pc:docMk/>
            <pc:sldMk cId="1361087952" sldId="646"/>
            <ac:graphicFrameMk id="3" creationId="{9484E1FE-7534-495E-863C-657A46F5E628}"/>
          </ac:graphicFrameMkLst>
        </pc:graphicFrameChg>
      </pc:sldChg>
      <pc:sldChg chg="add del">
        <pc:chgData name="Renata Festa" userId="6f22df47-533b-4c2a-a3c1-7f9ad1d63e10" providerId="ADAL" clId="{09EBC500-CCD1-4D38-83DD-0D27B16FD925}" dt="2020-03-30T09:49:41.598" v="91" actId="47"/>
        <pc:sldMkLst>
          <pc:docMk/>
          <pc:sldMk cId="3096608078" sldId="646"/>
        </pc:sldMkLst>
      </pc:sldChg>
      <pc:sldChg chg="modSp add modAnim">
        <pc:chgData name="Renata Festa" userId="6f22df47-533b-4c2a-a3c1-7f9ad1d63e10" providerId="ADAL" clId="{09EBC500-CCD1-4D38-83DD-0D27B16FD925}" dt="2020-03-30T10:51:15.506" v="1134"/>
        <pc:sldMkLst>
          <pc:docMk/>
          <pc:sldMk cId="3626538139" sldId="647"/>
        </pc:sldMkLst>
        <pc:graphicFrameChg chg="mod">
          <ac:chgData name="Renata Festa" userId="6f22df47-533b-4c2a-a3c1-7f9ad1d63e10" providerId="ADAL" clId="{09EBC500-CCD1-4D38-83DD-0D27B16FD925}" dt="2020-03-30T10:51:15.506" v="1134"/>
          <ac:graphicFrameMkLst>
            <pc:docMk/>
            <pc:sldMk cId="3626538139" sldId="647"/>
            <ac:graphicFrameMk id="3" creationId="{9484E1FE-7534-495E-863C-657A46F5E628}"/>
          </ac:graphicFrameMkLst>
        </pc:graphicFrameChg>
      </pc:sldChg>
      <pc:sldChg chg="modSp add modAnim">
        <pc:chgData name="Renata Festa" userId="6f22df47-533b-4c2a-a3c1-7f9ad1d63e10" providerId="ADAL" clId="{09EBC500-CCD1-4D38-83DD-0D27B16FD925}" dt="2020-03-30T10:43:46.255" v="1048"/>
        <pc:sldMkLst>
          <pc:docMk/>
          <pc:sldMk cId="174269151" sldId="648"/>
        </pc:sldMkLst>
        <pc:graphicFrameChg chg="mod">
          <ac:chgData name="Renata Festa" userId="6f22df47-533b-4c2a-a3c1-7f9ad1d63e10" providerId="ADAL" clId="{09EBC500-CCD1-4D38-83DD-0D27B16FD925}" dt="2020-03-30T10:43:46.255" v="1048"/>
          <ac:graphicFrameMkLst>
            <pc:docMk/>
            <pc:sldMk cId="174269151" sldId="648"/>
            <ac:graphicFrameMk id="3" creationId="{9484E1FE-7534-495E-863C-657A46F5E628}"/>
          </ac:graphicFrameMkLst>
        </pc:graphicFrameChg>
      </pc:sldChg>
      <pc:sldChg chg="modSp add modAnim">
        <pc:chgData name="Renata Festa" userId="6f22df47-533b-4c2a-a3c1-7f9ad1d63e10" providerId="ADAL" clId="{09EBC500-CCD1-4D38-83DD-0D27B16FD925}" dt="2020-03-30T10:31:50.830" v="896"/>
        <pc:sldMkLst>
          <pc:docMk/>
          <pc:sldMk cId="4214907563" sldId="649"/>
        </pc:sldMkLst>
        <pc:graphicFrameChg chg="mod">
          <ac:chgData name="Renata Festa" userId="6f22df47-533b-4c2a-a3c1-7f9ad1d63e10" providerId="ADAL" clId="{09EBC500-CCD1-4D38-83DD-0D27B16FD925}" dt="2020-03-30T10:31:50.830" v="896"/>
          <ac:graphicFrameMkLst>
            <pc:docMk/>
            <pc:sldMk cId="4214907563" sldId="649"/>
            <ac:graphicFrameMk id="3" creationId="{9484E1FE-7534-495E-863C-657A46F5E628}"/>
          </ac:graphicFrameMkLst>
        </pc:graphicFrameChg>
      </pc:sldChg>
      <pc:sldChg chg="modSp add modAnim">
        <pc:chgData name="Renata Festa" userId="6f22df47-533b-4c2a-a3c1-7f9ad1d63e10" providerId="ADAL" clId="{09EBC500-CCD1-4D38-83DD-0D27B16FD925}" dt="2020-03-30T10:01:39.302" v="232"/>
        <pc:sldMkLst>
          <pc:docMk/>
          <pc:sldMk cId="3377701618" sldId="650"/>
        </pc:sldMkLst>
        <pc:graphicFrameChg chg="mod">
          <ac:chgData name="Renata Festa" userId="6f22df47-533b-4c2a-a3c1-7f9ad1d63e10" providerId="ADAL" clId="{09EBC500-CCD1-4D38-83DD-0D27B16FD925}" dt="2020-03-30T10:01:39.302" v="232"/>
          <ac:graphicFrameMkLst>
            <pc:docMk/>
            <pc:sldMk cId="3377701618" sldId="650"/>
            <ac:graphicFrameMk id="3" creationId="{9484E1FE-7534-495E-863C-657A46F5E628}"/>
          </ac:graphicFrameMkLst>
        </pc:graphicFrameChg>
      </pc:sldChg>
      <pc:sldChg chg="addSp delSp modSp add mod">
        <pc:chgData name="Renata Festa" userId="6f22df47-533b-4c2a-a3c1-7f9ad1d63e10" providerId="ADAL" clId="{09EBC500-CCD1-4D38-83DD-0D27B16FD925}" dt="2020-03-30T09:53:55.702" v="140" actId="12084"/>
        <pc:sldMkLst>
          <pc:docMk/>
          <pc:sldMk cId="790089944" sldId="651"/>
        </pc:sldMkLst>
        <pc:spChg chg="mod">
          <ac:chgData name="Renata Festa" userId="6f22df47-533b-4c2a-a3c1-7f9ad1d63e10" providerId="ADAL" clId="{09EBC500-CCD1-4D38-83DD-0D27B16FD925}" dt="2020-03-30T09:53:11.648" v="123"/>
          <ac:spMkLst>
            <pc:docMk/>
            <pc:sldMk cId="790089944" sldId="651"/>
            <ac:spMk id="2" creationId="{357E6A75-1CB9-4CFF-B3F9-E8D18109E6DD}"/>
          </ac:spMkLst>
        </pc:spChg>
        <pc:spChg chg="del mod">
          <ac:chgData name="Renata Festa" userId="6f22df47-533b-4c2a-a3c1-7f9ad1d63e10" providerId="ADAL" clId="{09EBC500-CCD1-4D38-83DD-0D27B16FD925}" dt="2020-03-30T09:53:55.702" v="140" actId="12084"/>
          <ac:spMkLst>
            <pc:docMk/>
            <pc:sldMk cId="790089944" sldId="651"/>
            <ac:spMk id="3" creationId="{9634D9FC-0A5A-4361-A2DB-C3A5663F0396}"/>
          </ac:spMkLst>
        </pc:spChg>
        <pc:grpChg chg="add mod">
          <ac:chgData name="Renata Festa" userId="6f22df47-533b-4c2a-a3c1-7f9ad1d63e10" providerId="ADAL" clId="{09EBC500-CCD1-4D38-83DD-0D27B16FD925}" dt="2020-03-30T09:53:39.909" v="137" actId="1037"/>
          <ac:grpSpMkLst>
            <pc:docMk/>
            <pc:sldMk cId="790089944" sldId="651"/>
            <ac:grpSpMk id="4" creationId="{BD8DF26E-8654-472D-984F-ACB901B7F602}"/>
          </ac:grpSpMkLst>
        </pc:grpChg>
        <pc:grpChg chg="mod">
          <ac:chgData name="Renata Festa" userId="6f22df47-533b-4c2a-a3c1-7f9ad1d63e10" providerId="ADAL" clId="{09EBC500-CCD1-4D38-83DD-0D27B16FD925}" dt="2020-03-30T09:53:39.909" v="137" actId="1037"/>
          <ac:grpSpMkLst>
            <pc:docMk/>
            <pc:sldMk cId="790089944" sldId="651"/>
            <ac:grpSpMk id="14" creationId="{5323B51E-9851-4C3B-8C46-8F4DF9D3424E}"/>
          </ac:grpSpMkLst>
        </pc:grpChg>
        <pc:grpChg chg="mod">
          <ac:chgData name="Renata Festa" userId="6f22df47-533b-4c2a-a3c1-7f9ad1d63e10" providerId="ADAL" clId="{09EBC500-CCD1-4D38-83DD-0D27B16FD925}" dt="2020-03-30T09:53:39.909" v="137" actId="1037"/>
          <ac:grpSpMkLst>
            <pc:docMk/>
            <pc:sldMk cId="790089944" sldId="651"/>
            <ac:grpSpMk id="15" creationId="{DF3731C8-F203-4AD5-A5CA-E9A7FDAA8763}"/>
          </ac:grpSpMkLst>
        </pc:grpChg>
        <pc:grpChg chg="mod">
          <ac:chgData name="Renata Festa" userId="6f22df47-533b-4c2a-a3c1-7f9ad1d63e10" providerId="ADAL" clId="{09EBC500-CCD1-4D38-83DD-0D27B16FD925}" dt="2020-03-30T09:53:39.909" v="137" actId="1037"/>
          <ac:grpSpMkLst>
            <pc:docMk/>
            <pc:sldMk cId="790089944" sldId="651"/>
            <ac:grpSpMk id="16" creationId="{B5202E3B-4ADA-40A7-8A44-5C3CBBE5B194}"/>
          </ac:grpSpMkLst>
        </pc:grpChg>
        <pc:grpChg chg="mod">
          <ac:chgData name="Renata Festa" userId="6f22df47-533b-4c2a-a3c1-7f9ad1d63e10" providerId="ADAL" clId="{09EBC500-CCD1-4D38-83DD-0D27B16FD925}" dt="2020-03-30T09:53:39.909" v="137" actId="1037"/>
          <ac:grpSpMkLst>
            <pc:docMk/>
            <pc:sldMk cId="790089944" sldId="651"/>
            <ac:grpSpMk id="17" creationId="{CA6FC54A-1396-4D67-9AD5-50FCC7E5A040}"/>
          </ac:grpSpMkLst>
        </pc:grpChg>
        <pc:grpChg chg="mod">
          <ac:chgData name="Renata Festa" userId="6f22df47-533b-4c2a-a3c1-7f9ad1d63e10" providerId="ADAL" clId="{09EBC500-CCD1-4D38-83DD-0D27B16FD925}" dt="2020-03-30T09:53:39.909" v="137" actId="1037"/>
          <ac:grpSpMkLst>
            <pc:docMk/>
            <pc:sldMk cId="790089944" sldId="651"/>
            <ac:grpSpMk id="18" creationId="{4081B3D7-E927-477D-B53C-6F1FDF82A2BF}"/>
          </ac:grpSpMkLst>
        </pc:grpChg>
        <pc:grpChg chg="mod">
          <ac:chgData name="Renata Festa" userId="6f22df47-533b-4c2a-a3c1-7f9ad1d63e10" providerId="ADAL" clId="{09EBC500-CCD1-4D38-83DD-0D27B16FD925}" dt="2020-03-30T09:53:39.909" v="137" actId="1037"/>
          <ac:grpSpMkLst>
            <pc:docMk/>
            <pc:sldMk cId="790089944" sldId="651"/>
            <ac:grpSpMk id="19" creationId="{D7493723-8F0F-492A-8D6C-63F1723CF994}"/>
          </ac:grpSpMkLst>
        </pc:grpChg>
        <pc:grpChg chg="mod">
          <ac:chgData name="Renata Festa" userId="6f22df47-533b-4c2a-a3c1-7f9ad1d63e10" providerId="ADAL" clId="{09EBC500-CCD1-4D38-83DD-0D27B16FD925}" dt="2020-03-30T09:53:39.909" v="137" actId="1037"/>
          <ac:grpSpMkLst>
            <pc:docMk/>
            <pc:sldMk cId="790089944" sldId="651"/>
            <ac:grpSpMk id="20" creationId="{DA6B81EF-F84E-47D5-A220-B49E79159E7C}"/>
          </ac:grpSpMkLst>
        </pc:grpChg>
        <pc:grpChg chg="mod">
          <ac:chgData name="Renata Festa" userId="6f22df47-533b-4c2a-a3c1-7f9ad1d63e10" providerId="ADAL" clId="{09EBC500-CCD1-4D38-83DD-0D27B16FD925}" dt="2020-03-30T09:53:39.909" v="137" actId="1037"/>
          <ac:grpSpMkLst>
            <pc:docMk/>
            <pc:sldMk cId="790089944" sldId="651"/>
            <ac:grpSpMk id="22" creationId="{F074A743-A73F-4745-A823-862D83C96169}"/>
          </ac:grpSpMkLst>
        </pc:grpChg>
        <pc:grpChg chg="mod">
          <ac:chgData name="Renata Festa" userId="6f22df47-533b-4c2a-a3c1-7f9ad1d63e10" providerId="ADAL" clId="{09EBC500-CCD1-4D38-83DD-0D27B16FD925}" dt="2020-03-30T09:53:39.909" v="137" actId="1037"/>
          <ac:grpSpMkLst>
            <pc:docMk/>
            <pc:sldMk cId="790089944" sldId="651"/>
            <ac:grpSpMk id="23" creationId="{C7D8C959-F9EE-4163-8BF4-26D501AD144C}"/>
          </ac:grpSpMkLst>
        </pc:grpChg>
        <pc:grpChg chg="mod">
          <ac:chgData name="Renata Festa" userId="6f22df47-533b-4c2a-a3c1-7f9ad1d63e10" providerId="ADAL" clId="{09EBC500-CCD1-4D38-83DD-0D27B16FD925}" dt="2020-03-30T09:53:39.909" v="137" actId="1037"/>
          <ac:grpSpMkLst>
            <pc:docMk/>
            <pc:sldMk cId="790089944" sldId="651"/>
            <ac:grpSpMk id="32" creationId="{D8E2751A-A941-4E80-A2AD-026334C4021F}"/>
          </ac:grpSpMkLst>
        </pc:grpChg>
        <pc:grpChg chg="mod">
          <ac:chgData name="Renata Festa" userId="6f22df47-533b-4c2a-a3c1-7f9ad1d63e10" providerId="ADAL" clId="{09EBC500-CCD1-4D38-83DD-0D27B16FD925}" dt="2020-03-30T09:53:39.909" v="137" actId="1037"/>
          <ac:grpSpMkLst>
            <pc:docMk/>
            <pc:sldMk cId="790089944" sldId="651"/>
            <ac:grpSpMk id="33" creationId="{D4ADB928-DC94-46AE-BF6F-AE78D0711790}"/>
          </ac:grpSpMkLst>
        </pc:grpChg>
        <pc:grpChg chg="mod">
          <ac:chgData name="Renata Festa" userId="6f22df47-533b-4c2a-a3c1-7f9ad1d63e10" providerId="ADAL" clId="{09EBC500-CCD1-4D38-83DD-0D27B16FD925}" dt="2020-03-30T09:53:39.909" v="137" actId="1037"/>
          <ac:grpSpMkLst>
            <pc:docMk/>
            <pc:sldMk cId="790089944" sldId="651"/>
            <ac:grpSpMk id="42" creationId="{3ED50EF2-C082-42A7-8775-797FA61C9613}"/>
          </ac:grpSpMkLst>
        </pc:grpChg>
        <pc:grpChg chg="mod">
          <ac:chgData name="Renata Festa" userId="6f22df47-533b-4c2a-a3c1-7f9ad1d63e10" providerId="ADAL" clId="{09EBC500-CCD1-4D38-83DD-0D27B16FD925}" dt="2020-03-30T09:53:39.909" v="137" actId="1037"/>
          <ac:grpSpMkLst>
            <pc:docMk/>
            <pc:sldMk cId="790089944" sldId="651"/>
            <ac:grpSpMk id="43" creationId="{CF945DE9-0104-4C08-92F6-C3F932A1765C}"/>
          </ac:grpSpMkLst>
        </pc:grpChg>
        <pc:grpChg chg="mod">
          <ac:chgData name="Renata Festa" userId="6f22df47-533b-4c2a-a3c1-7f9ad1d63e10" providerId="ADAL" clId="{09EBC500-CCD1-4D38-83DD-0D27B16FD925}" dt="2020-03-30T09:53:39.909" v="137" actId="1037"/>
          <ac:grpSpMkLst>
            <pc:docMk/>
            <pc:sldMk cId="790089944" sldId="651"/>
            <ac:grpSpMk id="52" creationId="{57784BD6-6E08-47F6-97F4-2DC9E09AC80A}"/>
          </ac:grpSpMkLst>
        </pc:grpChg>
        <pc:graphicFrameChg chg="add mod">
          <ac:chgData name="Renata Festa" userId="6f22df47-533b-4c2a-a3c1-7f9ad1d63e10" providerId="ADAL" clId="{09EBC500-CCD1-4D38-83DD-0D27B16FD925}" dt="2020-03-30T09:53:55.702" v="140" actId="12084"/>
          <ac:graphicFrameMkLst>
            <pc:docMk/>
            <pc:sldMk cId="790089944" sldId="651"/>
            <ac:graphicFrameMk id="65" creationId="{CDCE79F0-0194-4236-9987-3FF01EC2C5BC}"/>
          </ac:graphicFrameMkLst>
        </pc:graphicFrameChg>
      </pc:sldChg>
      <pc:sldChg chg="add del">
        <pc:chgData name="Renata Festa" userId="6f22df47-533b-4c2a-a3c1-7f9ad1d63e10" providerId="ADAL" clId="{09EBC500-CCD1-4D38-83DD-0D27B16FD925}" dt="2020-03-30T09:51:22.258" v="114"/>
        <pc:sldMkLst>
          <pc:docMk/>
          <pc:sldMk cId="2719135014" sldId="651"/>
        </pc:sldMkLst>
      </pc:sldChg>
      <pc:sldChg chg="addSp delSp modSp add mod modAnim">
        <pc:chgData name="Renata Festa" userId="6f22df47-533b-4c2a-a3c1-7f9ad1d63e10" providerId="ADAL" clId="{09EBC500-CCD1-4D38-83DD-0D27B16FD925}" dt="2020-03-30T09:56:55.896" v="149"/>
        <pc:sldMkLst>
          <pc:docMk/>
          <pc:sldMk cId="4065858178" sldId="652"/>
        </pc:sldMkLst>
        <pc:spChg chg="mod">
          <ac:chgData name="Renata Festa" userId="6f22df47-533b-4c2a-a3c1-7f9ad1d63e10" providerId="ADAL" clId="{09EBC500-CCD1-4D38-83DD-0D27B16FD925}" dt="2020-03-30T09:54:15.117" v="141"/>
          <ac:spMkLst>
            <pc:docMk/>
            <pc:sldMk cId="4065858178" sldId="652"/>
            <ac:spMk id="2" creationId="{357E6A75-1CB9-4CFF-B3F9-E8D18109E6DD}"/>
          </ac:spMkLst>
        </pc:spChg>
        <pc:spChg chg="add del mod">
          <ac:chgData name="Renata Festa" userId="6f22df47-533b-4c2a-a3c1-7f9ad1d63e10" providerId="ADAL" clId="{09EBC500-CCD1-4D38-83DD-0D27B16FD925}" dt="2020-03-30T09:56:38.164" v="147" actId="12084"/>
          <ac:spMkLst>
            <pc:docMk/>
            <pc:sldMk cId="4065858178" sldId="652"/>
            <ac:spMk id="3" creationId="{9634D9FC-0A5A-4361-A2DB-C3A5663F0396}"/>
          </ac:spMkLst>
        </pc:spChg>
        <pc:graphicFrameChg chg="add del mod">
          <ac:chgData name="Renata Festa" userId="6f22df47-533b-4c2a-a3c1-7f9ad1d63e10" providerId="ADAL" clId="{09EBC500-CCD1-4D38-83DD-0D27B16FD925}" dt="2020-03-30T09:54:59.609" v="146" actId="12084"/>
          <ac:graphicFrameMkLst>
            <pc:docMk/>
            <pc:sldMk cId="4065858178" sldId="652"/>
            <ac:graphicFrameMk id="4" creationId="{8C5D68F4-C018-4D4C-8E50-6F9A87892072}"/>
          </ac:graphicFrameMkLst>
        </pc:graphicFrameChg>
        <pc:graphicFrameChg chg="add mod">
          <ac:chgData name="Renata Festa" userId="6f22df47-533b-4c2a-a3c1-7f9ad1d63e10" providerId="ADAL" clId="{09EBC500-CCD1-4D38-83DD-0D27B16FD925}" dt="2020-03-30T09:56:38.164" v="147" actId="12084"/>
          <ac:graphicFrameMkLst>
            <pc:docMk/>
            <pc:sldMk cId="4065858178" sldId="652"/>
            <ac:graphicFrameMk id="5" creationId="{995DE8B3-90BB-4E43-8AB2-C7B23E25B00A}"/>
          </ac:graphicFrameMkLst>
        </pc:graphicFrameChg>
      </pc:sldChg>
      <pc:sldChg chg="addSp delSp modSp add mod modAnim">
        <pc:chgData name="Renata Festa" userId="6f22df47-533b-4c2a-a3c1-7f9ad1d63e10" providerId="ADAL" clId="{09EBC500-CCD1-4D38-83DD-0D27B16FD925}" dt="2020-03-30T09:59:26.929" v="182" actId="403"/>
        <pc:sldMkLst>
          <pc:docMk/>
          <pc:sldMk cId="630716458" sldId="653"/>
        </pc:sldMkLst>
        <pc:spChg chg="mod">
          <ac:chgData name="Renata Festa" userId="6f22df47-533b-4c2a-a3c1-7f9ad1d63e10" providerId="ADAL" clId="{09EBC500-CCD1-4D38-83DD-0D27B16FD925}" dt="2020-03-30T09:57:07.307" v="150"/>
          <ac:spMkLst>
            <pc:docMk/>
            <pc:sldMk cId="630716458" sldId="653"/>
            <ac:spMk id="2" creationId="{357E6A75-1CB9-4CFF-B3F9-E8D18109E6DD}"/>
          </ac:spMkLst>
        </pc:spChg>
        <pc:spChg chg="del mod">
          <ac:chgData name="Renata Festa" userId="6f22df47-533b-4c2a-a3c1-7f9ad1d63e10" providerId="ADAL" clId="{09EBC500-CCD1-4D38-83DD-0D27B16FD925}" dt="2020-03-30T09:57:46.616" v="154" actId="12084"/>
          <ac:spMkLst>
            <pc:docMk/>
            <pc:sldMk cId="630716458" sldId="653"/>
            <ac:spMk id="3" creationId="{9634D9FC-0A5A-4361-A2DB-C3A5663F0396}"/>
          </ac:spMkLst>
        </pc:spChg>
        <pc:spChg chg="add del mod">
          <ac:chgData name="Renata Festa" userId="6f22df47-533b-4c2a-a3c1-7f9ad1d63e10" providerId="ADAL" clId="{09EBC500-CCD1-4D38-83DD-0D27B16FD925}" dt="2020-03-30T09:58:43.984" v="171" actId="21"/>
          <ac:spMkLst>
            <pc:docMk/>
            <pc:sldMk cId="630716458" sldId="653"/>
            <ac:spMk id="5" creationId="{C60017A1-BF02-4CCD-BF57-1D64A8DAD415}"/>
          </ac:spMkLst>
        </pc:spChg>
        <pc:graphicFrameChg chg="add del mod">
          <ac:chgData name="Renata Festa" userId="6f22df47-533b-4c2a-a3c1-7f9ad1d63e10" providerId="ADAL" clId="{09EBC500-CCD1-4D38-83DD-0D27B16FD925}" dt="2020-03-30T09:59:26.929" v="182" actId="403"/>
          <ac:graphicFrameMkLst>
            <pc:docMk/>
            <pc:sldMk cId="630716458" sldId="653"/>
            <ac:graphicFrameMk id="4" creationId="{4E7FB55A-2C6D-400F-8F89-6CCD7B42531C}"/>
          </ac:graphicFrameMkLst>
        </pc:graphicFrameChg>
      </pc:sldChg>
      <pc:sldChg chg="addSp modSp add">
        <pc:chgData name="Renata Festa" userId="6f22df47-533b-4c2a-a3c1-7f9ad1d63e10" providerId="ADAL" clId="{09EBC500-CCD1-4D38-83DD-0D27B16FD925}" dt="2020-03-30T10:00:52.034" v="219" actId="1035"/>
        <pc:sldMkLst>
          <pc:docMk/>
          <pc:sldMk cId="1794916588" sldId="654"/>
        </pc:sldMkLst>
        <pc:spChg chg="mod">
          <ac:chgData name="Renata Festa" userId="6f22df47-533b-4c2a-a3c1-7f9ad1d63e10" providerId="ADAL" clId="{09EBC500-CCD1-4D38-83DD-0D27B16FD925}" dt="2020-03-30T09:59:46.601" v="183"/>
          <ac:spMkLst>
            <pc:docMk/>
            <pc:sldMk cId="1794916588" sldId="654"/>
            <ac:spMk id="2" creationId="{357E6A75-1CB9-4CFF-B3F9-E8D18109E6DD}"/>
          </ac:spMkLst>
        </pc:spChg>
        <pc:spChg chg="mod">
          <ac:chgData name="Renata Festa" userId="6f22df47-533b-4c2a-a3c1-7f9ad1d63e10" providerId="ADAL" clId="{09EBC500-CCD1-4D38-83DD-0D27B16FD925}" dt="2020-03-30T10:00:04.238" v="189" actId="1038"/>
          <ac:spMkLst>
            <pc:docMk/>
            <pc:sldMk cId="1794916588" sldId="654"/>
            <ac:spMk id="3" creationId="{9634D9FC-0A5A-4361-A2DB-C3A5663F0396}"/>
          </ac:spMkLst>
        </pc:spChg>
        <pc:spChg chg="add mod">
          <ac:chgData name="Renata Festa" userId="6f22df47-533b-4c2a-a3c1-7f9ad1d63e10" providerId="ADAL" clId="{09EBC500-CCD1-4D38-83DD-0D27B16FD925}" dt="2020-03-30T10:00:52.034" v="219" actId="1035"/>
          <ac:spMkLst>
            <pc:docMk/>
            <pc:sldMk cId="1794916588" sldId="654"/>
            <ac:spMk id="4" creationId="{FB5E89BB-7667-4B44-B1BC-9D0A370CCE0A}"/>
          </ac:spMkLst>
        </pc:spChg>
        <pc:spChg chg="add mod">
          <ac:chgData name="Renata Festa" userId="6f22df47-533b-4c2a-a3c1-7f9ad1d63e10" providerId="ADAL" clId="{09EBC500-CCD1-4D38-83DD-0D27B16FD925}" dt="2020-03-30T10:00:52.034" v="219" actId="1035"/>
          <ac:spMkLst>
            <pc:docMk/>
            <pc:sldMk cId="1794916588" sldId="654"/>
            <ac:spMk id="5" creationId="{5C6E7A23-7A19-49BD-AC57-55D80F40AA4B}"/>
          </ac:spMkLst>
        </pc:spChg>
        <pc:spChg chg="add mod">
          <ac:chgData name="Renata Festa" userId="6f22df47-533b-4c2a-a3c1-7f9ad1d63e10" providerId="ADAL" clId="{09EBC500-CCD1-4D38-83DD-0D27B16FD925}" dt="2020-03-30T10:00:52.034" v="219" actId="1035"/>
          <ac:spMkLst>
            <pc:docMk/>
            <pc:sldMk cId="1794916588" sldId="654"/>
            <ac:spMk id="6" creationId="{0D7D4D8E-7B07-4DA5-BCEB-BE46CB3F153D}"/>
          </ac:spMkLst>
        </pc:spChg>
        <pc:spChg chg="add mod">
          <ac:chgData name="Renata Festa" userId="6f22df47-533b-4c2a-a3c1-7f9ad1d63e10" providerId="ADAL" clId="{09EBC500-CCD1-4D38-83DD-0D27B16FD925}" dt="2020-03-30T10:00:09.024" v="197" actId="1035"/>
          <ac:spMkLst>
            <pc:docMk/>
            <pc:sldMk cId="1794916588" sldId="654"/>
            <ac:spMk id="7" creationId="{A6304FEA-03ED-4B98-B11C-8D6D1F6C780C}"/>
          </ac:spMkLst>
        </pc:spChg>
        <pc:spChg chg="add mod">
          <ac:chgData name="Renata Festa" userId="6f22df47-533b-4c2a-a3c1-7f9ad1d63e10" providerId="ADAL" clId="{09EBC500-CCD1-4D38-83DD-0D27B16FD925}" dt="2020-03-30T10:00:52.034" v="219" actId="1035"/>
          <ac:spMkLst>
            <pc:docMk/>
            <pc:sldMk cId="1794916588" sldId="654"/>
            <ac:spMk id="8" creationId="{824EB180-4F74-4FBB-AC79-8E6E316151A4}"/>
          </ac:spMkLst>
        </pc:spChg>
        <pc:spChg chg="add mod">
          <ac:chgData name="Renata Festa" userId="6f22df47-533b-4c2a-a3c1-7f9ad1d63e10" providerId="ADAL" clId="{09EBC500-CCD1-4D38-83DD-0D27B16FD925}" dt="2020-03-30T10:00:52.034" v="219" actId="1035"/>
          <ac:spMkLst>
            <pc:docMk/>
            <pc:sldMk cId="1794916588" sldId="654"/>
            <ac:spMk id="9" creationId="{486F7301-24B8-4A1D-8F0C-0B7D903D1698}"/>
          </ac:spMkLst>
        </pc:spChg>
        <pc:spChg chg="add mod">
          <ac:chgData name="Renata Festa" userId="6f22df47-533b-4c2a-a3c1-7f9ad1d63e10" providerId="ADAL" clId="{09EBC500-CCD1-4D38-83DD-0D27B16FD925}" dt="2020-03-30T10:00:52.034" v="219" actId="1035"/>
          <ac:spMkLst>
            <pc:docMk/>
            <pc:sldMk cId="1794916588" sldId="654"/>
            <ac:spMk id="10" creationId="{3DD450BE-6FBF-4369-A150-694B7BDFADC7}"/>
          </ac:spMkLst>
        </pc:spChg>
        <pc:spChg chg="add mod">
          <ac:chgData name="Renata Festa" userId="6f22df47-533b-4c2a-a3c1-7f9ad1d63e10" providerId="ADAL" clId="{09EBC500-CCD1-4D38-83DD-0D27B16FD925}" dt="2020-03-30T10:00:52.034" v="219" actId="1035"/>
          <ac:spMkLst>
            <pc:docMk/>
            <pc:sldMk cId="1794916588" sldId="654"/>
            <ac:spMk id="11" creationId="{0068A21E-CEE4-4C51-BDCB-263AC8A43FD8}"/>
          </ac:spMkLst>
        </pc:spChg>
        <pc:spChg chg="add mod">
          <ac:chgData name="Renata Festa" userId="6f22df47-533b-4c2a-a3c1-7f9ad1d63e10" providerId="ADAL" clId="{09EBC500-CCD1-4D38-83DD-0D27B16FD925}" dt="2020-03-30T10:00:52.034" v="219" actId="1035"/>
          <ac:spMkLst>
            <pc:docMk/>
            <pc:sldMk cId="1794916588" sldId="654"/>
            <ac:spMk id="20" creationId="{7BA98F8F-D199-4054-B262-A4F6BFF47763}"/>
          </ac:spMkLst>
        </pc:spChg>
        <pc:spChg chg="add mod">
          <ac:chgData name="Renata Festa" userId="6f22df47-533b-4c2a-a3c1-7f9ad1d63e10" providerId="ADAL" clId="{09EBC500-CCD1-4D38-83DD-0D27B16FD925}" dt="2020-03-30T10:00:52.034" v="219" actId="1035"/>
          <ac:spMkLst>
            <pc:docMk/>
            <pc:sldMk cId="1794916588" sldId="654"/>
            <ac:spMk id="29" creationId="{6982C4C4-4402-4401-97B3-3022FD3380FA}"/>
          </ac:spMkLst>
        </pc:spChg>
        <pc:spChg chg="add mod">
          <ac:chgData name="Renata Festa" userId="6f22df47-533b-4c2a-a3c1-7f9ad1d63e10" providerId="ADAL" clId="{09EBC500-CCD1-4D38-83DD-0D27B16FD925}" dt="2020-03-30T10:00:52.034" v="219" actId="1035"/>
          <ac:spMkLst>
            <pc:docMk/>
            <pc:sldMk cId="1794916588" sldId="654"/>
            <ac:spMk id="45" creationId="{E46E16E4-3CE7-4AB1-B516-55A9D97CA1DE}"/>
          </ac:spMkLst>
        </pc:spChg>
        <pc:spChg chg="add mod">
          <ac:chgData name="Renata Festa" userId="6f22df47-533b-4c2a-a3c1-7f9ad1d63e10" providerId="ADAL" clId="{09EBC500-CCD1-4D38-83DD-0D27B16FD925}" dt="2020-03-30T10:00:52.034" v="219" actId="1035"/>
          <ac:spMkLst>
            <pc:docMk/>
            <pc:sldMk cId="1794916588" sldId="654"/>
            <ac:spMk id="46" creationId="{8D9BDABD-295B-4E9D-8E2C-B12F8FCCD119}"/>
          </ac:spMkLst>
        </pc:spChg>
        <pc:spChg chg="add mod">
          <ac:chgData name="Renata Festa" userId="6f22df47-533b-4c2a-a3c1-7f9ad1d63e10" providerId="ADAL" clId="{09EBC500-CCD1-4D38-83DD-0D27B16FD925}" dt="2020-03-30T10:00:52.034" v="219" actId="1035"/>
          <ac:spMkLst>
            <pc:docMk/>
            <pc:sldMk cId="1794916588" sldId="654"/>
            <ac:spMk id="81" creationId="{B0A24976-837B-4227-A035-644DE533DD42}"/>
          </ac:spMkLst>
        </pc:spChg>
        <pc:grpChg chg="add mod">
          <ac:chgData name="Renata Festa" userId="6f22df47-533b-4c2a-a3c1-7f9ad1d63e10" providerId="ADAL" clId="{09EBC500-CCD1-4D38-83DD-0D27B16FD925}" dt="2020-03-30T10:00:52.034" v="219" actId="1035"/>
          <ac:grpSpMkLst>
            <pc:docMk/>
            <pc:sldMk cId="1794916588" sldId="654"/>
            <ac:grpSpMk id="12" creationId="{20CAE06E-5858-4630-B042-4DB68D2D7B3D}"/>
          </ac:grpSpMkLst>
        </pc:grpChg>
        <pc:grpChg chg="mod">
          <ac:chgData name="Renata Festa" userId="6f22df47-533b-4c2a-a3c1-7f9ad1d63e10" providerId="ADAL" clId="{09EBC500-CCD1-4D38-83DD-0D27B16FD925}" dt="2020-03-30T10:00:52.034" v="219" actId="1035"/>
          <ac:grpSpMkLst>
            <pc:docMk/>
            <pc:sldMk cId="1794916588" sldId="654"/>
            <ac:grpSpMk id="14" creationId="{80E16558-81B4-49CB-A8BA-4CFEC34B89D6}"/>
          </ac:grpSpMkLst>
        </pc:grpChg>
        <pc:grpChg chg="add mod">
          <ac:chgData name="Renata Festa" userId="6f22df47-533b-4c2a-a3c1-7f9ad1d63e10" providerId="ADAL" clId="{09EBC500-CCD1-4D38-83DD-0D27B16FD925}" dt="2020-03-30T10:00:52.034" v="219" actId="1035"/>
          <ac:grpSpMkLst>
            <pc:docMk/>
            <pc:sldMk cId="1794916588" sldId="654"/>
            <ac:grpSpMk id="21" creationId="{BDD7DE83-ECF3-4D41-9581-3476C6E3BEC4}"/>
          </ac:grpSpMkLst>
        </pc:grpChg>
        <pc:grpChg chg="mod">
          <ac:chgData name="Renata Festa" userId="6f22df47-533b-4c2a-a3c1-7f9ad1d63e10" providerId="ADAL" clId="{09EBC500-CCD1-4D38-83DD-0D27B16FD925}" dt="2020-03-30T10:00:52.034" v="219" actId="1035"/>
          <ac:grpSpMkLst>
            <pc:docMk/>
            <pc:sldMk cId="1794916588" sldId="654"/>
            <ac:grpSpMk id="23" creationId="{9B119B71-0998-4402-B79A-B0CACC888354}"/>
          </ac:grpSpMkLst>
        </pc:grpChg>
        <pc:grpChg chg="add mod">
          <ac:chgData name="Renata Festa" userId="6f22df47-533b-4c2a-a3c1-7f9ad1d63e10" providerId="ADAL" clId="{09EBC500-CCD1-4D38-83DD-0D27B16FD925}" dt="2020-03-30T10:00:52.034" v="219" actId="1035"/>
          <ac:grpSpMkLst>
            <pc:docMk/>
            <pc:sldMk cId="1794916588" sldId="654"/>
            <ac:grpSpMk id="30" creationId="{4D676E42-E5EB-49AB-95C9-77AA10E19B9C}"/>
          </ac:grpSpMkLst>
        </pc:grpChg>
        <pc:grpChg chg="mod">
          <ac:chgData name="Renata Festa" userId="6f22df47-533b-4c2a-a3c1-7f9ad1d63e10" providerId="ADAL" clId="{09EBC500-CCD1-4D38-83DD-0D27B16FD925}" dt="2020-03-30T10:00:52.034" v="219" actId="1035"/>
          <ac:grpSpMkLst>
            <pc:docMk/>
            <pc:sldMk cId="1794916588" sldId="654"/>
            <ac:grpSpMk id="31" creationId="{E48F7805-BF36-4AC2-870D-E909B611D999}"/>
          </ac:grpSpMkLst>
        </pc:grpChg>
        <pc:grpChg chg="add mod">
          <ac:chgData name="Renata Festa" userId="6f22df47-533b-4c2a-a3c1-7f9ad1d63e10" providerId="ADAL" clId="{09EBC500-CCD1-4D38-83DD-0D27B16FD925}" dt="2020-03-30T10:00:52.034" v="219" actId="1035"/>
          <ac:grpSpMkLst>
            <pc:docMk/>
            <pc:sldMk cId="1794916588" sldId="654"/>
            <ac:grpSpMk id="35" creationId="{322BE684-9984-4962-968A-1CD22DDA8D13}"/>
          </ac:grpSpMkLst>
        </pc:grpChg>
        <pc:grpChg chg="mod">
          <ac:chgData name="Renata Festa" userId="6f22df47-533b-4c2a-a3c1-7f9ad1d63e10" providerId="ADAL" clId="{09EBC500-CCD1-4D38-83DD-0D27B16FD925}" dt="2020-03-30T10:00:52.034" v="219" actId="1035"/>
          <ac:grpSpMkLst>
            <pc:docMk/>
            <pc:sldMk cId="1794916588" sldId="654"/>
            <ac:grpSpMk id="36" creationId="{24165A04-85DB-454E-A2F9-F5B94507DB3F}"/>
          </ac:grpSpMkLst>
        </pc:grpChg>
        <pc:grpChg chg="add mod">
          <ac:chgData name="Renata Festa" userId="6f22df47-533b-4c2a-a3c1-7f9ad1d63e10" providerId="ADAL" clId="{09EBC500-CCD1-4D38-83DD-0D27B16FD925}" dt="2020-03-30T10:00:52.034" v="219" actId="1035"/>
          <ac:grpSpMkLst>
            <pc:docMk/>
            <pc:sldMk cId="1794916588" sldId="654"/>
            <ac:grpSpMk id="40" creationId="{72470205-AA5D-4F51-8DCA-4CED178C7688}"/>
          </ac:grpSpMkLst>
        </pc:grpChg>
        <pc:grpChg chg="mod">
          <ac:chgData name="Renata Festa" userId="6f22df47-533b-4c2a-a3c1-7f9ad1d63e10" providerId="ADAL" clId="{09EBC500-CCD1-4D38-83DD-0D27B16FD925}" dt="2020-03-30T10:00:52.034" v="219" actId="1035"/>
          <ac:grpSpMkLst>
            <pc:docMk/>
            <pc:sldMk cId="1794916588" sldId="654"/>
            <ac:grpSpMk id="41" creationId="{65BC64D6-4B5C-49A6-BF69-C8A2B4ACB741}"/>
          </ac:grpSpMkLst>
        </pc:grpChg>
        <pc:grpChg chg="add mod">
          <ac:chgData name="Renata Festa" userId="6f22df47-533b-4c2a-a3c1-7f9ad1d63e10" providerId="ADAL" clId="{09EBC500-CCD1-4D38-83DD-0D27B16FD925}" dt="2020-03-30T10:00:52.034" v="219" actId="1035"/>
          <ac:grpSpMkLst>
            <pc:docMk/>
            <pc:sldMk cId="1794916588" sldId="654"/>
            <ac:grpSpMk id="53" creationId="{A0419982-A0F1-4EAF-8357-DDFC1A49B571}"/>
          </ac:grpSpMkLst>
        </pc:grpChg>
        <pc:grpChg chg="mod">
          <ac:chgData name="Renata Festa" userId="6f22df47-533b-4c2a-a3c1-7f9ad1d63e10" providerId="ADAL" clId="{09EBC500-CCD1-4D38-83DD-0D27B16FD925}" dt="2020-03-30T10:00:52.034" v="219" actId="1035"/>
          <ac:grpSpMkLst>
            <pc:docMk/>
            <pc:sldMk cId="1794916588" sldId="654"/>
            <ac:grpSpMk id="54" creationId="{D4D1A07E-7DE2-4C00-8F56-33A5F61B7103}"/>
          </ac:grpSpMkLst>
        </pc:grpChg>
        <pc:grpChg chg="add mod">
          <ac:chgData name="Renata Festa" userId="6f22df47-533b-4c2a-a3c1-7f9ad1d63e10" providerId="ADAL" clId="{09EBC500-CCD1-4D38-83DD-0D27B16FD925}" dt="2020-03-30T10:00:52.034" v="219" actId="1035"/>
          <ac:grpSpMkLst>
            <pc:docMk/>
            <pc:sldMk cId="1794916588" sldId="654"/>
            <ac:grpSpMk id="58" creationId="{8DC637EA-1996-4BD8-8532-4AD063382244}"/>
          </ac:grpSpMkLst>
        </pc:grpChg>
        <pc:grpChg chg="mod">
          <ac:chgData name="Renata Festa" userId="6f22df47-533b-4c2a-a3c1-7f9ad1d63e10" providerId="ADAL" clId="{09EBC500-CCD1-4D38-83DD-0D27B16FD925}" dt="2020-03-30T10:00:52.034" v="219" actId="1035"/>
          <ac:grpSpMkLst>
            <pc:docMk/>
            <pc:sldMk cId="1794916588" sldId="654"/>
            <ac:grpSpMk id="59" creationId="{7C647584-6DCF-4353-BDB8-8F7714DE135C}"/>
          </ac:grpSpMkLst>
        </pc:grpChg>
        <pc:grpChg chg="add mod">
          <ac:chgData name="Renata Festa" userId="6f22df47-533b-4c2a-a3c1-7f9ad1d63e10" providerId="ADAL" clId="{09EBC500-CCD1-4D38-83DD-0D27B16FD925}" dt="2020-03-30T10:00:52.034" v="219" actId="1035"/>
          <ac:grpSpMkLst>
            <pc:docMk/>
            <pc:sldMk cId="1794916588" sldId="654"/>
            <ac:grpSpMk id="63" creationId="{D6320D41-BFA4-48DF-BC71-2805BEDD32D2}"/>
          </ac:grpSpMkLst>
        </pc:grpChg>
        <pc:grpChg chg="mod">
          <ac:chgData name="Renata Festa" userId="6f22df47-533b-4c2a-a3c1-7f9ad1d63e10" providerId="ADAL" clId="{09EBC500-CCD1-4D38-83DD-0D27B16FD925}" dt="2020-03-30T10:00:52.034" v="219" actId="1035"/>
          <ac:grpSpMkLst>
            <pc:docMk/>
            <pc:sldMk cId="1794916588" sldId="654"/>
            <ac:grpSpMk id="64" creationId="{775961DB-98A7-4C6B-AC78-55B52C28FED4}"/>
          </ac:grpSpMkLst>
        </pc:grpChg>
        <pc:grpChg chg="add mod">
          <ac:chgData name="Renata Festa" userId="6f22df47-533b-4c2a-a3c1-7f9ad1d63e10" providerId="ADAL" clId="{09EBC500-CCD1-4D38-83DD-0D27B16FD925}" dt="2020-03-30T10:00:52.034" v="219" actId="1035"/>
          <ac:grpSpMkLst>
            <pc:docMk/>
            <pc:sldMk cId="1794916588" sldId="654"/>
            <ac:grpSpMk id="70" creationId="{4F474C55-2EAD-44E7-BC57-C02DC87D1D48}"/>
          </ac:grpSpMkLst>
        </pc:grpChg>
        <pc:grpChg chg="mod">
          <ac:chgData name="Renata Festa" userId="6f22df47-533b-4c2a-a3c1-7f9ad1d63e10" providerId="ADAL" clId="{09EBC500-CCD1-4D38-83DD-0D27B16FD925}" dt="2020-03-30T10:00:52.034" v="219" actId="1035"/>
          <ac:grpSpMkLst>
            <pc:docMk/>
            <pc:sldMk cId="1794916588" sldId="654"/>
            <ac:grpSpMk id="71" creationId="{15E23DA9-78D8-4A61-938C-1CFADF0125D6}"/>
          </ac:grpSpMkLst>
        </pc:grpChg>
        <pc:grpChg chg="mod">
          <ac:chgData name="Renata Festa" userId="6f22df47-533b-4c2a-a3c1-7f9ad1d63e10" providerId="ADAL" clId="{09EBC500-CCD1-4D38-83DD-0D27B16FD925}" dt="2020-03-30T10:00:52.034" v="219" actId="1035"/>
          <ac:grpSpMkLst>
            <pc:docMk/>
            <pc:sldMk cId="1794916588" sldId="654"/>
            <ac:grpSpMk id="72" creationId="{C494C4F4-AD13-461C-A2C3-9C46E07C5BC8}"/>
          </ac:grpSpMkLst>
        </pc:grpChg>
        <pc:grpChg chg="mod">
          <ac:chgData name="Renata Festa" userId="6f22df47-533b-4c2a-a3c1-7f9ad1d63e10" providerId="ADAL" clId="{09EBC500-CCD1-4D38-83DD-0D27B16FD925}" dt="2020-03-30T10:00:52.034" v="219" actId="1035"/>
          <ac:grpSpMkLst>
            <pc:docMk/>
            <pc:sldMk cId="1794916588" sldId="654"/>
            <ac:grpSpMk id="73" creationId="{F01C20D3-A17E-4189-9021-D16139510AFE}"/>
          </ac:grpSpMkLst>
        </pc:grpChg>
        <pc:cxnChg chg="add mod">
          <ac:chgData name="Renata Festa" userId="6f22df47-533b-4c2a-a3c1-7f9ad1d63e10" providerId="ADAL" clId="{09EBC500-CCD1-4D38-83DD-0D27B16FD925}" dt="2020-03-30T10:00:52.034" v="219" actId="1035"/>
          <ac:cxnSpMkLst>
            <pc:docMk/>
            <pc:sldMk cId="1794916588" sldId="654"/>
            <ac:cxnSpMk id="47" creationId="{E9AE1B4E-9605-4EB9-BA8A-77D5C7780ADE}"/>
          </ac:cxnSpMkLst>
        </pc:cxnChg>
        <pc:cxnChg chg="add mod">
          <ac:chgData name="Renata Festa" userId="6f22df47-533b-4c2a-a3c1-7f9ad1d63e10" providerId="ADAL" clId="{09EBC500-CCD1-4D38-83DD-0D27B16FD925}" dt="2020-03-30T10:00:52.034" v="219" actId="1035"/>
          <ac:cxnSpMkLst>
            <pc:docMk/>
            <pc:sldMk cId="1794916588" sldId="654"/>
            <ac:cxnSpMk id="48" creationId="{F0449859-6A6A-4898-91BD-E67E274505D0}"/>
          </ac:cxnSpMkLst>
        </pc:cxnChg>
        <pc:cxnChg chg="add mod">
          <ac:chgData name="Renata Festa" userId="6f22df47-533b-4c2a-a3c1-7f9ad1d63e10" providerId="ADAL" clId="{09EBC500-CCD1-4D38-83DD-0D27B16FD925}" dt="2020-03-30T10:00:52.034" v="219" actId="1035"/>
          <ac:cxnSpMkLst>
            <pc:docMk/>
            <pc:sldMk cId="1794916588" sldId="654"/>
            <ac:cxnSpMk id="49" creationId="{CB545480-2FA7-4DF2-8DE2-D165595CA5F9}"/>
          </ac:cxnSpMkLst>
        </pc:cxnChg>
        <pc:cxnChg chg="add mod">
          <ac:chgData name="Renata Festa" userId="6f22df47-533b-4c2a-a3c1-7f9ad1d63e10" providerId="ADAL" clId="{09EBC500-CCD1-4D38-83DD-0D27B16FD925}" dt="2020-03-30T10:00:52.034" v="219" actId="1035"/>
          <ac:cxnSpMkLst>
            <pc:docMk/>
            <pc:sldMk cId="1794916588" sldId="654"/>
            <ac:cxnSpMk id="50" creationId="{17884CC8-C41A-4881-AF35-045A0F713797}"/>
          </ac:cxnSpMkLst>
        </pc:cxnChg>
        <pc:cxnChg chg="add mod">
          <ac:chgData name="Renata Festa" userId="6f22df47-533b-4c2a-a3c1-7f9ad1d63e10" providerId="ADAL" clId="{09EBC500-CCD1-4D38-83DD-0D27B16FD925}" dt="2020-03-30T10:00:52.034" v="219" actId="1035"/>
          <ac:cxnSpMkLst>
            <pc:docMk/>
            <pc:sldMk cId="1794916588" sldId="654"/>
            <ac:cxnSpMk id="51" creationId="{2C849710-51D1-4B8B-8A38-B4899943A350}"/>
          </ac:cxnSpMkLst>
        </pc:cxnChg>
        <pc:cxnChg chg="add mod">
          <ac:chgData name="Renata Festa" userId="6f22df47-533b-4c2a-a3c1-7f9ad1d63e10" providerId="ADAL" clId="{09EBC500-CCD1-4D38-83DD-0D27B16FD925}" dt="2020-03-30T10:00:52.034" v="219" actId="1035"/>
          <ac:cxnSpMkLst>
            <pc:docMk/>
            <pc:sldMk cId="1794916588" sldId="654"/>
            <ac:cxnSpMk id="52" creationId="{D8E744B5-21B7-40B2-A673-72DE04672C7B}"/>
          </ac:cxnSpMkLst>
        </pc:cxnChg>
        <pc:cxnChg chg="add mod">
          <ac:chgData name="Renata Festa" userId="6f22df47-533b-4c2a-a3c1-7f9ad1d63e10" providerId="ADAL" clId="{09EBC500-CCD1-4D38-83DD-0D27B16FD925}" dt="2020-03-30T10:00:52.034" v="219" actId="1035"/>
          <ac:cxnSpMkLst>
            <pc:docMk/>
            <pc:sldMk cId="1794916588" sldId="654"/>
            <ac:cxnSpMk id="68" creationId="{4BE8840B-543F-4918-9128-1CDCC09EEA39}"/>
          </ac:cxnSpMkLst>
        </pc:cxnChg>
        <pc:cxnChg chg="add mod">
          <ac:chgData name="Renata Festa" userId="6f22df47-533b-4c2a-a3c1-7f9ad1d63e10" providerId="ADAL" clId="{09EBC500-CCD1-4D38-83DD-0D27B16FD925}" dt="2020-03-30T10:00:52.034" v="219" actId="1035"/>
          <ac:cxnSpMkLst>
            <pc:docMk/>
            <pc:sldMk cId="1794916588" sldId="654"/>
            <ac:cxnSpMk id="69" creationId="{D8C482C5-2A32-42DD-BB84-D1C70C908953}"/>
          </ac:cxnSpMkLst>
        </pc:cxnChg>
      </pc:sldChg>
      <pc:sldChg chg="add del">
        <pc:chgData name="Renata Festa" userId="6f22df47-533b-4c2a-a3c1-7f9ad1d63e10" providerId="ADAL" clId="{09EBC500-CCD1-4D38-83DD-0D27B16FD925}" dt="2020-03-30T10:01:02.197" v="220" actId="47"/>
        <pc:sldMkLst>
          <pc:docMk/>
          <pc:sldMk cId="1610545375" sldId="655"/>
        </pc:sldMkLst>
      </pc:sldChg>
      <pc:sldChg chg="addSp delSp modSp add mod modAnim">
        <pc:chgData name="Renata Festa" userId="6f22df47-533b-4c2a-a3c1-7f9ad1d63e10" providerId="ADAL" clId="{09EBC500-CCD1-4D38-83DD-0D27B16FD925}" dt="2020-03-30T10:03:32.381" v="251"/>
        <pc:sldMkLst>
          <pc:docMk/>
          <pc:sldMk cId="3565955703" sldId="655"/>
        </pc:sldMkLst>
        <pc:spChg chg="mod">
          <ac:chgData name="Renata Festa" userId="6f22df47-533b-4c2a-a3c1-7f9ad1d63e10" providerId="ADAL" clId="{09EBC500-CCD1-4D38-83DD-0D27B16FD925}" dt="2020-03-30T10:02:20.651" v="242" actId="20577"/>
          <ac:spMkLst>
            <pc:docMk/>
            <pc:sldMk cId="3565955703" sldId="655"/>
            <ac:spMk id="2" creationId="{15A8B55E-6727-4686-AC79-134CCD53190E}"/>
          </ac:spMkLst>
        </pc:spChg>
        <pc:spChg chg="del mod">
          <ac:chgData name="Renata Festa" userId="6f22df47-533b-4c2a-a3c1-7f9ad1d63e10" providerId="ADAL" clId="{09EBC500-CCD1-4D38-83DD-0D27B16FD925}" dt="2020-03-30T10:03:01.575" v="248" actId="12084"/>
          <ac:spMkLst>
            <pc:docMk/>
            <pc:sldMk cId="3565955703" sldId="655"/>
            <ac:spMk id="3" creationId="{7E6B30F7-F81C-4643-8CFC-F2D84B99F090}"/>
          </ac:spMkLst>
        </pc:spChg>
        <pc:graphicFrameChg chg="add mod">
          <ac:chgData name="Renata Festa" userId="6f22df47-533b-4c2a-a3c1-7f9ad1d63e10" providerId="ADAL" clId="{09EBC500-CCD1-4D38-83DD-0D27B16FD925}" dt="2020-03-30T10:03:01.575" v="248" actId="12084"/>
          <ac:graphicFrameMkLst>
            <pc:docMk/>
            <pc:sldMk cId="3565955703" sldId="655"/>
            <ac:graphicFrameMk id="4" creationId="{ECD81283-FAFB-407D-A631-B1EA8B99D9E5}"/>
          </ac:graphicFrameMkLst>
        </pc:graphicFrameChg>
      </pc:sldChg>
      <pc:sldChg chg="addSp delSp modSp add mod">
        <pc:chgData name="Renata Festa" userId="6f22df47-533b-4c2a-a3c1-7f9ad1d63e10" providerId="ADAL" clId="{09EBC500-CCD1-4D38-83DD-0D27B16FD925}" dt="2020-03-30T10:16:33.493" v="715" actId="478"/>
        <pc:sldMkLst>
          <pc:docMk/>
          <pc:sldMk cId="1009421814" sldId="656"/>
        </pc:sldMkLst>
        <pc:spChg chg="mod">
          <ac:chgData name="Renata Festa" userId="6f22df47-533b-4c2a-a3c1-7f9ad1d63e10" providerId="ADAL" clId="{09EBC500-CCD1-4D38-83DD-0D27B16FD925}" dt="2020-03-30T10:03:48.609" v="253" actId="20577"/>
          <ac:spMkLst>
            <pc:docMk/>
            <pc:sldMk cId="1009421814" sldId="656"/>
            <ac:spMk id="2" creationId="{15A8B55E-6727-4686-AC79-134CCD53190E}"/>
          </ac:spMkLst>
        </pc:spChg>
        <pc:spChg chg="del">
          <ac:chgData name="Renata Festa" userId="6f22df47-533b-4c2a-a3c1-7f9ad1d63e10" providerId="ADAL" clId="{09EBC500-CCD1-4D38-83DD-0D27B16FD925}" dt="2020-03-30T10:16:33.493" v="715" actId="478"/>
          <ac:spMkLst>
            <pc:docMk/>
            <pc:sldMk cId="1009421814" sldId="656"/>
            <ac:spMk id="3" creationId="{7E6B30F7-F81C-4643-8CFC-F2D84B99F090}"/>
          </ac:spMkLst>
        </pc:spChg>
        <pc:spChg chg="add mod">
          <ac:chgData name="Renata Festa" userId="6f22df47-533b-4c2a-a3c1-7f9ad1d63e10" providerId="ADAL" clId="{09EBC500-CCD1-4D38-83DD-0D27B16FD925}" dt="2020-03-30T10:09:43.147" v="521" actId="1076"/>
          <ac:spMkLst>
            <pc:docMk/>
            <pc:sldMk cId="1009421814" sldId="656"/>
            <ac:spMk id="5" creationId="{0E827170-E0FF-4D48-A68A-5FBE9D116753}"/>
          </ac:spMkLst>
        </pc:spChg>
        <pc:spChg chg="add mod">
          <ac:chgData name="Renata Festa" userId="6f22df47-533b-4c2a-a3c1-7f9ad1d63e10" providerId="ADAL" clId="{09EBC500-CCD1-4D38-83DD-0D27B16FD925}" dt="2020-03-30T10:14:48.626" v="702" actId="1076"/>
          <ac:spMkLst>
            <pc:docMk/>
            <pc:sldMk cId="1009421814" sldId="656"/>
            <ac:spMk id="6" creationId="{3C96334A-E85D-4740-AD6E-B555990A6DD0}"/>
          </ac:spMkLst>
        </pc:spChg>
        <pc:spChg chg="add mod">
          <ac:chgData name="Renata Festa" userId="6f22df47-533b-4c2a-a3c1-7f9ad1d63e10" providerId="ADAL" clId="{09EBC500-CCD1-4D38-83DD-0D27B16FD925}" dt="2020-03-30T10:10:52.748" v="553" actId="14100"/>
          <ac:spMkLst>
            <pc:docMk/>
            <pc:sldMk cId="1009421814" sldId="656"/>
            <ac:spMk id="7" creationId="{EC302044-7E2B-4958-8B50-F7481600E8AE}"/>
          </ac:spMkLst>
        </pc:spChg>
        <pc:spChg chg="add mod">
          <ac:chgData name="Renata Festa" userId="6f22df47-533b-4c2a-a3c1-7f9ad1d63e10" providerId="ADAL" clId="{09EBC500-CCD1-4D38-83DD-0D27B16FD925}" dt="2020-03-30T10:11:31.068" v="584" actId="1076"/>
          <ac:spMkLst>
            <pc:docMk/>
            <pc:sldMk cId="1009421814" sldId="656"/>
            <ac:spMk id="8" creationId="{3425F18F-3EC1-47F4-822C-AECDE345E6F5}"/>
          </ac:spMkLst>
        </pc:spChg>
        <pc:spChg chg="add mod">
          <ac:chgData name="Renata Festa" userId="6f22df47-533b-4c2a-a3c1-7f9ad1d63e10" providerId="ADAL" clId="{09EBC500-CCD1-4D38-83DD-0D27B16FD925}" dt="2020-03-30T10:16:22.842" v="714" actId="20577"/>
          <ac:spMkLst>
            <pc:docMk/>
            <pc:sldMk cId="1009421814" sldId="656"/>
            <ac:spMk id="9" creationId="{AB6F4810-B93E-4520-BF17-1C59501B2879}"/>
          </ac:spMkLst>
        </pc:spChg>
        <pc:picChg chg="add del mod">
          <ac:chgData name="Renata Festa" userId="6f22df47-533b-4c2a-a3c1-7f9ad1d63e10" providerId="ADAL" clId="{09EBC500-CCD1-4D38-83DD-0D27B16FD925}" dt="2020-03-30T10:06:41.800" v="256" actId="478"/>
          <ac:picMkLst>
            <pc:docMk/>
            <pc:sldMk cId="1009421814" sldId="656"/>
            <ac:picMk id="4" creationId="{07DBC5AD-575B-4FF5-A382-CA8880840D0D}"/>
          </ac:picMkLst>
        </pc:picChg>
        <pc:cxnChg chg="add mod">
          <ac:chgData name="Renata Festa" userId="6f22df47-533b-4c2a-a3c1-7f9ad1d63e10" providerId="ADAL" clId="{09EBC500-CCD1-4D38-83DD-0D27B16FD925}" dt="2020-03-30T10:16:00.690" v="712" actId="1582"/>
          <ac:cxnSpMkLst>
            <pc:docMk/>
            <pc:sldMk cId="1009421814" sldId="656"/>
            <ac:cxnSpMk id="11" creationId="{004BEF6B-39A0-4182-89AB-15BB5D97BCD7}"/>
          </ac:cxnSpMkLst>
        </pc:cxnChg>
        <pc:cxnChg chg="add mod">
          <ac:chgData name="Renata Festa" userId="6f22df47-533b-4c2a-a3c1-7f9ad1d63e10" providerId="ADAL" clId="{09EBC500-CCD1-4D38-83DD-0D27B16FD925}" dt="2020-03-30T10:15:41.250" v="710" actId="1582"/>
          <ac:cxnSpMkLst>
            <pc:docMk/>
            <pc:sldMk cId="1009421814" sldId="656"/>
            <ac:cxnSpMk id="14" creationId="{7B5213A6-391F-4D05-8556-F40CA86C8D84}"/>
          </ac:cxnSpMkLst>
        </pc:cxnChg>
      </pc:sldChg>
      <pc:sldChg chg="add del">
        <pc:chgData name="Renata Festa" userId="6f22df47-533b-4c2a-a3c1-7f9ad1d63e10" providerId="ADAL" clId="{09EBC500-CCD1-4D38-83DD-0D27B16FD925}" dt="2020-03-30T10:01:02.197" v="220" actId="47"/>
        <pc:sldMkLst>
          <pc:docMk/>
          <pc:sldMk cId="2117738577" sldId="656"/>
        </pc:sldMkLst>
      </pc:sldChg>
      <pc:sldChg chg="modSp add del mod">
        <pc:chgData name="Renata Festa" userId="6f22df47-533b-4c2a-a3c1-7f9ad1d63e10" providerId="ADAL" clId="{09EBC500-CCD1-4D38-83DD-0D27B16FD925}" dt="2020-03-30T10:01:02.197" v="220" actId="47"/>
        <pc:sldMkLst>
          <pc:docMk/>
          <pc:sldMk cId="2256769911" sldId="657"/>
        </pc:sldMkLst>
        <pc:spChg chg="mod">
          <ac:chgData name="Renata Festa" userId="6f22df47-533b-4c2a-a3c1-7f9ad1d63e10" providerId="ADAL" clId="{09EBC500-CCD1-4D38-83DD-0D27B16FD925}" dt="2020-03-30T09:59:56.051" v="185" actId="20577"/>
          <ac:spMkLst>
            <pc:docMk/>
            <pc:sldMk cId="2256769911" sldId="657"/>
            <ac:spMk id="2" creationId="{357E6A75-1CB9-4CFF-B3F9-E8D18109E6DD}"/>
          </ac:spMkLst>
        </pc:spChg>
      </pc:sldChg>
      <pc:sldChg chg="addSp delSp modSp add mod modAnim">
        <pc:chgData name="Renata Festa" userId="6f22df47-533b-4c2a-a3c1-7f9ad1d63e10" providerId="ADAL" clId="{09EBC500-CCD1-4D38-83DD-0D27B16FD925}" dt="2020-03-30T10:19:20.308" v="742"/>
        <pc:sldMkLst>
          <pc:docMk/>
          <pc:sldMk cId="3180457341" sldId="657"/>
        </pc:sldMkLst>
        <pc:spChg chg="mod">
          <ac:chgData name="Renata Festa" userId="6f22df47-533b-4c2a-a3c1-7f9ad1d63e10" providerId="ADAL" clId="{09EBC500-CCD1-4D38-83DD-0D27B16FD925}" dt="2020-03-30T10:16:43.742" v="717" actId="20577"/>
          <ac:spMkLst>
            <pc:docMk/>
            <pc:sldMk cId="3180457341" sldId="657"/>
            <ac:spMk id="2" creationId="{15A8B55E-6727-4686-AC79-134CCD53190E}"/>
          </ac:spMkLst>
        </pc:spChg>
        <pc:spChg chg="mod">
          <ac:chgData name="Renata Festa" userId="6f22df47-533b-4c2a-a3c1-7f9ad1d63e10" providerId="ADAL" clId="{09EBC500-CCD1-4D38-83DD-0D27B16FD925}" dt="2020-03-30T10:18:01.793" v="727" actId="14100"/>
          <ac:spMkLst>
            <pc:docMk/>
            <pc:sldMk cId="3180457341" sldId="657"/>
            <ac:spMk id="3" creationId="{7E6B30F7-F81C-4643-8CFC-F2D84B99F090}"/>
          </ac:spMkLst>
        </pc:spChg>
        <pc:spChg chg="add del mod">
          <ac:chgData name="Renata Festa" userId="6f22df47-533b-4c2a-a3c1-7f9ad1d63e10" providerId="ADAL" clId="{09EBC500-CCD1-4D38-83DD-0D27B16FD925}" dt="2020-03-30T10:18:30.799" v="733" actId="12084"/>
          <ac:spMkLst>
            <pc:docMk/>
            <pc:sldMk cId="3180457341" sldId="657"/>
            <ac:spMk id="4" creationId="{DA33B930-A829-4215-823C-E5612FDAE89F}"/>
          </ac:spMkLst>
        </pc:spChg>
        <pc:spChg chg="add mod">
          <ac:chgData name="Renata Festa" userId="6f22df47-533b-4c2a-a3c1-7f9ad1d63e10" providerId="ADAL" clId="{09EBC500-CCD1-4D38-83DD-0D27B16FD925}" dt="2020-03-30T10:19:03.036" v="740" actId="404"/>
          <ac:spMkLst>
            <pc:docMk/>
            <pc:sldMk cId="3180457341" sldId="657"/>
            <ac:spMk id="6" creationId="{5A614880-B6E3-4617-8583-0A9A7E9A38D8}"/>
          </ac:spMkLst>
        </pc:spChg>
        <pc:graphicFrameChg chg="add mod">
          <ac:chgData name="Renata Festa" userId="6f22df47-533b-4c2a-a3c1-7f9ad1d63e10" providerId="ADAL" clId="{09EBC500-CCD1-4D38-83DD-0D27B16FD925}" dt="2020-03-30T10:18:30.799" v="733" actId="12084"/>
          <ac:graphicFrameMkLst>
            <pc:docMk/>
            <pc:sldMk cId="3180457341" sldId="657"/>
            <ac:graphicFrameMk id="5" creationId="{A9E451C3-1216-42E7-A6BB-92BF0A2FBAE0}"/>
          </ac:graphicFrameMkLst>
        </pc:graphicFrameChg>
      </pc:sldChg>
      <pc:sldChg chg="addSp delSp modSp add mod modAnim">
        <pc:chgData name="Renata Festa" userId="6f22df47-533b-4c2a-a3c1-7f9ad1d63e10" providerId="ADAL" clId="{09EBC500-CCD1-4D38-83DD-0D27B16FD925}" dt="2020-03-30T10:22:40.064" v="782"/>
        <pc:sldMkLst>
          <pc:docMk/>
          <pc:sldMk cId="843847078" sldId="658"/>
        </pc:sldMkLst>
        <pc:spChg chg="mod">
          <ac:chgData name="Renata Festa" userId="6f22df47-533b-4c2a-a3c1-7f9ad1d63e10" providerId="ADAL" clId="{09EBC500-CCD1-4D38-83DD-0D27B16FD925}" dt="2020-03-30T10:21:24.439" v="767"/>
          <ac:spMkLst>
            <pc:docMk/>
            <pc:sldMk cId="843847078" sldId="658"/>
            <ac:spMk id="2" creationId="{15A8B55E-6727-4686-AC79-134CCD53190E}"/>
          </ac:spMkLst>
        </pc:spChg>
        <pc:spChg chg="mod">
          <ac:chgData name="Renata Festa" userId="6f22df47-533b-4c2a-a3c1-7f9ad1d63e10" providerId="ADAL" clId="{09EBC500-CCD1-4D38-83DD-0D27B16FD925}" dt="2020-03-30T10:21:39.964" v="770" actId="14100"/>
          <ac:spMkLst>
            <pc:docMk/>
            <pc:sldMk cId="843847078" sldId="658"/>
            <ac:spMk id="3" creationId="{7E6B30F7-F81C-4643-8CFC-F2D84B99F090}"/>
          </ac:spMkLst>
        </pc:spChg>
        <pc:spChg chg="add del mod">
          <ac:chgData name="Renata Festa" userId="6f22df47-533b-4c2a-a3c1-7f9ad1d63e10" providerId="ADAL" clId="{09EBC500-CCD1-4D38-83DD-0D27B16FD925}" dt="2020-03-30T10:21:57.249" v="774" actId="12084"/>
          <ac:spMkLst>
            <pc:docMk/>
            <pc:sldMk cId="843847078" sldId="658"/>
            <ac:spMk id="4" creationId="{3DDC5C96-3807-48B1-87E6-1957FBD38E7F}"/>
          </ac:spMkLst>
        </pc:spChg>
        <pc:graphicFrameChg chg="add mod">
          <ac:chgData name="Renata Festa" userId="6f22df47-533b-4c2a-a3c1-7f9ad1d63e10" providerId="ADAL" clId="{09EBC500-CCD1-4D38-83DD-0D27B16FD925}" dt="2020-03-30T10:22:20.702" v="780" actId="13782"/>
          <ac:graphicFrameMkLst>
            <pc:docMk/>
            <pc:sldMk cId="843847078" sldId="658"/>
            <ac:graphicFrameMk id="5" creationId="{2C92F978-4CA7-4BF6-92C7-DE0A61994C36}"/>
          </ac:graphicFrameMkLst>
        </pc:graphicFrameChg>
      </pc:sldChg>
      <pc:sldChg chg="addSp modSp add mod">
        <pc:chgData name="Renata Festa" userId="6f22df47-533b-4c2a-a3c1-7f9ad1d63e10" providerId="ADAL" clId="{09EBC500-CCD1-4D38-83DD-0D27B16FD925}" dt="2020-03-30T10:23:10.515" v="788" actId="1036"/>
        <pc:sldMkLst>
          <pc:docMk/>
          <pc:sldMk cId="2109347412" sldId="659"/>
        </pc:sldMkLst>
        <pc:spChg chg="mod">
          <ac:chgData name="Renata Festa" userId="6f22df47-533b-4c2a-a3c1-7f9ad1d63e10" providerId="ADAL" clId="{09EBC500-CCD1-4D38-83DD-0D27B16FD925}" dt="2020-03-30T10:22:56.429" v="784" actId="20577"/>
          <ac:spMkLst>
            <pc:docMk/>
            <pc:sldMk cId="2109347412" sldId="659"/>
            <ac:spMk id="2" creationId="{15A8B55E-6727-4686-AC79-134CCD53190E}"/>
          </ac:spMkLst>
        </pc:spChg>
        <pc:picChg chg="add mod">
          <ac:chgData name="Renata Festa" userId="6f22df47-533b-4c2a-a3c1-7f9ad1d63e10" providerId="ADAL" clId="{09EBC500-CCD1-4D38-83DD-0D27B16FD925}" dt="2020-03-30T10:23:10.515" v="788" actId="1036"/>
          <ac:picMkLst>
            <pc:docMk/>
            <pc:sldMk cId="2109347412" sldId="659"/>
            <ac:picMk id="4" creationId="{95B3DF14-562B-4CC8-811E-03660BAA4304}"/>
          </ac:picMkLst>
        </pc:picChg>
      </pc:sldChg>
      <pc:sldChg chg="addSp delSp modSp add mod modAnim">
        <pc:chgData name="Renata Festa" userId="6f22df47-533b-4c2a-a3c1-7f9ad1d63e10" providerId="ADAL" clId="{09EBC500-CCD1-4D38-83DD-0D27B16FD925}" dt="2020-03-30T10:24:52.194" v="815"/>
        <pc:sldMkLst>
          <pc:docMk/>
          <pc:sldMk cId="4253656825" sldId="660"/>
        </pc:sldMkLst>
        <pc:spChg chg="mod">
          <ac:chgData name="Renata Festa" userId="6f22df47-533b-4c2a-a3c1-7f9ad1d63e10" providerId="ADAL" clId="{09EBC500-CCD1-4D38-83DD-0D27B16FD925}" dt="2020-03-30T10:23:34.780" v="790" actId="20577"/>
          <ac:spMkLst>
            <pc:docMk/>
            <pc:sldMk cId="4253656825" sldId="660"/>
            <ac:spMk id="2" creationId="{15A8B55E-6727-4686-AC79-134CCD53190E}"/>
          </ac:spMkLst>
        </pc:spChg>
        <pc:spChg chg="del mod">
          <ac:chgData name="Renata Festa" userId="6f22df47-533b-4c2a-a3c1-7f9ad1d63e10" providerId="ADAL" clId="{09EBC500-CCD1-4D38-83DD-0D27B16FD925}" dt="2020-03-30T10:24:32.291" v="811" actId="12084"/>
          <ac:spMkLst>
            <pc:docMk/>
            <pc:sldMk cId="4253656825" sldId="660"/>
            <ac:spMk id="3" creationId="{7E6B30F7-F81C-4643-8CFC-F2D84B99F090}"/>
          </ac:spMkLst>
        </pc:spChg>
        <pc:graphicFrameChg chg="add mod">
          <ac:chgData name="Renata Festa" userId="6f22df47-533b-4c2a-a3c1-7f9ad1d63e10" providerId="ADAL" clId="{09EBC500-CCD1-4D38-83DD-0D27B16FD925}" dt="2020-03-30T10:24:32.291" v="811" actId="12084"/>
          <ac:graphicFrameMkLst>
            <pc:docMk/>
            <pc:sldMk cId="4253656825" sldId="660"/>
            <ac:graphicFrameMk id="4" creationId="{0D135BFA-DA20-43D1-9C32-99570BDCA6A1}"/>
          </ac:graphicFrameMkLst>
        </pc:graphicFrameChg>
      </pc:sldChg>
      <pc:sldChg chg="addSp delSp modSp add mod modAnim">
        <pc:chgData name="Renata Festa" userId="6f22df47-533b-4c2a-a3c1-7f9ad1d63e10" providerId="ADAL" clId="{09EBC500-CCD1-4D38-83DD-0D27B16FD925}" dt="2020-03-30T10:30:56.766" v="880" actId="5793"/>
        <pc:sldMkLst>
          <pc:docMk/>
          <pc:sldMk cId="1382598971" sldId="661"/>
        </pc:sldMkLst>
        <pc:spChg chg="mod">
          <ac:chgData name="Renata Festa" userId="6f22df47-533b-4c2a-a3c1-7f9ad1d63e10" providerId="ADAL" clId="{09EBC500-CCD1-4D38-83DD-0D27B16FD925}" dt="2020-03-30T10:25:05.259" v="816"/>
          <ac:spMkLst>
            <pc:docMk/>
            <pc:sldMk cId="1382598971" sldId="661"/>
            <ac:spMk id="2" creationId="{15A8B55E-6727-4686-AC79-134CCD53190E}"/>
          </ac:spMkLst>
        </pc:spChg>
        <pc:spChg chg="del mod">
          <ac:chgData name="Renata Festa" userId="6f22df47-533b-4c2a-a3c1-7f9ad1d63e10" providerId="ADAL" clId="{09EBC500-CCD1-4D38-83DD-0D27B16FD925}" dt="2020-03-30T10:26:39.491" v="824" actId="12084"/>
          <ac:spMkLst>
            <pc:docMk/>
            <pc:sldMk cId="1382598971" sldId="661"/>
            <ac:spMk id="3" creationId="{7E6B30F7-F81C-4643-8CFC-F2D84B99F090}"/>
          </ac:spMkLst>
        </pc:spChg>
        <pc:spChg chg="add del mod">
          <ac:chgData name="Renata Festa" userId="6f22df47-533b-4c2a-a3c1-7f9ad1d63e10" providerId="ADAL" clId="{09EBC500-CCD1-4D38-83DD-0D27B16FD925}" dt="2020-03-30T10:27:46.641" v="847" actId="11529"/>
          <ac:spMkLst>
            <pc:docMk/>
            <pc:sldMk cId="1382598971" sldId="661"/>
            <ac:spMk id="5" creationId="{06F06FD4-D022-4F5F-B85B-DA5810540F95}"/>
          </ac:spMkLst>
        </pc:spChg>
        <pc:spChg chg="add mod">
          <ac:chgData name="Renata Festa" userId="6f22df47-533b-4c2a-a3c1-7f9ad1d63e10" providerId="ADAL" clId="{09EBC500-CCD1-4D38-83DD-0D27B16FD925}" dt="2020-03-30T10:30:56.766" v="880" actId="5793"/>
          <ac:spMkLst>
            <pc:docMk/>
            <pc:sldMk cId="1382598971" sldId="661"/>
            <ac:spMk id="6" creationId="{E28B279D-882C-4C40-BAF2-66400EB610D6}"/>
          </ac:spMkLst>
        </pc:spChg>
        <pc:spChg chg="add del mod">
          <ac:chgData name="Renata Festa" userId="6f22df47-533b-4c2a-a3c1-7f9ad1d63e10" providerId="ADAL" clId="{09EBC500-CCD1-4D38-83DD-0D27B16FD925}" dt="2020-03-30T10:28:52.552" v="861" actId="12084"/>
          <ac:spMkLst>
            <pc:docMk/>
            <pc:sldMk cId="1382598971" sldId="661"/>
            <ac:spMk id="7" creationId="{016E07B6-0BE0-487B-A7DD-DE647B5931CE}"/>
          </ac:spMkLst>
        </pc:spChg>
        <pc:spChg chg="add">
          <ac:chgData name="Renata Festa" userId="6f22df47-533b-4c2a-a3c1-7f9ad1d63e10" providerId="ADAL" clId="{09EBC500-CCD1-4D38-83DD-0D27B16FD925}" dt="2020-03-30T10:29:08.434" v="862"/>
          <ac:spMkLst>
            <pc:docMk/>
            <pc:sldMk cId="1382598971" sldId="661"/>
            <ac:spMk id="10" creationId="{5E1F4814-D93E-42B6-B629-4DA1ACFDC49F}"/>
          </ac:spMkLst>
        </pc:spChg>
        <pc:spChg chg="add">
          <ac:chgData name="Renata Festa" userId="6f22df47-533b-4c2a-a3c1-7f9ad1d63e10" providerId="ADAL" clId="{09EBC500-CCD1-4D38-83DD-0D27B16FD925}" dt="2020-03-30T10:29:08.434" v="862"/>
          <ac:spMkLst>
            <pc:docMk/>
            <pc:sldMk cId="1382598971" sldId="661"/>
            <ac:spMk id="11" creationId="{F5223828-84CC-4CA4-871A-E8858F5AC61F}"/>
          </ac:spMkLst>
        </pc:spChg>
        <pc:grpChg chg="add mod">
          <ac:chgData name="Renata Festa" userId="6f22df47-533b-4c2a-a3c1-7f9ad1d63e10" providerId="ADAL" clId="{09EBC500-CCD1-4D38-83DD-0D27B16FD925}" dt="2020-03-30T10:29:09.271" v="863"/>
          <ac:grpSpMkLst>
            <pc:docMk/>
            <pc:sldMk cId="1382598971" sldId="661"/>
            <ac:grpSpMk id="9" creationId="{CBDCC82A-484A-4E7C-94B4-0AF649E5DCA9}"/>
          </ac:grpSpMkLst>
        </pc:grpChg>
        <pc:graphicFrameChg chg="add del mod">
          <ac:chgData name="Renata Festa" userId="6f22df47-533b-4c2a-a3c1-7f9ad1d63e10" providerId="ADAL" clId="{09EBC500-CCD1-4D38-83DD-0D27B16FD925}" dt="2020-03-30T10:27:59.196" v="848" actId="11529"/>
          <ac:graphicFrameMkLst>
            <pc:docMk/>
            <pc:sldMk cId="1382598971" sldId="661"/>
            <ac:graphicFrameMk id="4" creationId="{F79BF0F0-93D4-4D9E-A47D-B08C2709A372}"/>
          </ac:graphicFrameMkLst>
        </pc:graphicFrameChg>
        <pc:graphicFrameChg chg="add del mod">
          <ac:chgData name="Renata Festa" userId="6f22df47-533b-4c2a-a3c1-7f9ad1d63e10" providerId="ADAL" clId="{09EBC500-CCD1-4D38-83DD-0D27B16FD925}" dt="2020-03-30T10:29:11.292" v="864" actId="478"/>
          <ac:graphicFrameMkLst>
            <pc:docMk/>
            <pc:sldMk cId="1382598971" sldId="661"/>
            <ac:graphicFrameMk id="8" creationId="{70DFA5E7-2775-40B6-9C47-6DFF917BB206}"/>
          </ac:graphicFrameMkLst>
        </pc:graphicFrameChg>
        <pc:graphicFrameChg chg="add mod">
          <ac:chgData name="Renata Festa" userId="6f22df47-533b-4c2a-a3c1-7f9ad1d63e10" providerId="ADAL" clId="{09EBC500-CCD1-4D38-83DD-0D27B16FD925}" dt="2020-03-30T10:29:47.265" v="869" actId="12100"/>
          <ac:graphicFrameMkLst>
            <pc:docMk/>
            <pc:sldMk cId="1382598971" sldId="661"/>
            <ac:graphicFrameMk id="12" creationId="{56F2E991-6E3E-439F-8F27-C52E12291514}"/>
          </ac:graphicFrameMkLst>
        </pc:graphicFrameChg>
      </pc:sldChg>
      <pc:sldChg chg="modSp add mod modAnim modNotesTx">
        <pc:chgData name="Renata Festa" userId="6f22df47-533b-4c2a-a3c1-7f9ad1d63e10" providerId="ADAL" clId="{09EBC500-CCD1-4D38-83DD-0D27B16FD925}" dt="2020-03-30T10:21:00.817" v="765"/>
        <pc:sldMkLst>
          <pc:docMk/>
          <pc:sldMk cId="2984954813" sldId="662"/>
        </pc:sldMkLst>
        <pc:spChg chg="mod">
          <ac:chgData name="Renata Festa" userId="6f22df47-533b-4c2a-a3c1-7f9ad1d63e10" providerId="ADAL" clId="{09EBC500-CCD1-4D38-83DD-0D27B16FD925}" dt="2020-03-30T10:19:52.057" v="747"/>
          <ac:spMkLst>
            <pc:docMk/>
            <pc:sldMk cId="2984954813" sldId="662"/>
            <ac:spMk id="2" creationId="{15A8B55E-6727-4686-AC79-134CCD53190E}"/>
          </ac:spMkLst>
        </pc:spChg>
        <pc:spChg chg="mod">
          <ac:chgData name="Renata Festa" userId="6f22df47-533b-4c2a-a3c1-7f9ad1d63e10" providerId="ADAL" clId="{09EBC500-CCD1-4D38-83DD-0D27B16FD925}" dt="2020-03-30T10:20:17.591" v="757" actId="20577"/>
          <ac:spMkLst>
            <pc:docMk/>
            <pc:sldMk cId="2984954813" sldId="662"/>
            <ac:spMk id="3" creationId="{7E6B30F7-F81C-4643-8CFC-F2D84B99F090}"/>
          </ac:spMkLst>
        </pc:spChg>
        <pc:spChg chg="mod">
          <ac:chgData name="Renata Festa" userId="6f22df47-533b-4c2a-a3c1-7f9ad1d63e10" providerId="ADAL" clId="{09EBC500-CCD1-4D38-83DD-0D27B16FD925}" dt="2020-03-30T10:20:40.074" v="763" actId="6549"/>
          <ac:spMkLst>
            <pc:docMk/>
            <pc:sldMk cId="2984954813" sldId="662"/>
            <ac:spMk id="6" creationId="{5A614880-B6E3-4617-8583-0A9A7E9A38D8}"/>
          </ac:spMkLst>
        </pc:spChg>
        <pc:graphicFrameChg chg="mod">
          <ac:chgData name="Renata Festa" userId="6f22df47-533b-4c2a-a3c1-7f9ad1d63e10" providerId="ADAL" clId="{09EBC500-CCD1-4D38-83DD-0D27B16FD925}" dt="2020-03-30T10:21:00.817" v="765"/>
          <ac:graphicFrameMkLst>
            <pc:docMk/>
            <pc:sldMk cId="2984954813" sldId="662"/>
            <ac:graphicFrameMk id="5" creationId="{A9E451C3-1216-42E7-A6BB-92BF0A2FBAE0}"/>
          </ac:graphicFrameMkLst>
        </pc:graphicFrameChg>
      </pc:sldChg>
      <pc:sldChg chg="addSp modSp add mod modAnim">
        <pc:chgData name="Renata Festa" userId="6f22df47-533b-4c2a-a3c1-7f9ad1d63e10" providerId="ADAL" clId="{09EBC500-CCD1-4D38-83DD-0D27B16FD925}" dt="2020-03-30T10:30:42.288" v="878" actId="14100"/>
        <pc:sldMkLst>
          <pc:docMk/>
          <pc:sldMk cId="2571899831" sldId="663"/>
        </pc:sldMkLst>
        <pc:spChg chg="mod">
          <ac:chgData name="Renata Festa" userId="6f22df47-533b-4c2a-a3c1-7f9ad1d63e10" providerId="ADAL" clId="{09EBC500-CCD1-4D38-83DD-0D27B16FD925}" dt="2020-03-30T10:30:11.491" v="871"/>
          <ac:spMkLst>
            <pc:docMk/>
            <pc:sldMk cId="2571899831" sldId="663"/>
            <ac:spMk id="2" creationId="{0090C4C3-22BE-4679-BC2A-4FB602CD4D5F}"/>
          </ac:spMkLst>
        </pc:spChg>
        <pc:spChg chg="mod">
          <ac:chgData name="Renata Festa" userId="6f22df47-533b-4c2a-a3c1-7f9ad1d63e10" providerId="ADAL" clId="{09EBC500-CCD1-4D38-83DD-0D27B16FD925}" dt="2020-03-30T10:30:20.737" v="874" actId="14100"/>
          <ac:spMkLst>
            <pc:docMk/>
            <pc:sldMk cId="2571899831" sldId="663"/>
            <ac:spMk id="3" creationId="{1C5BC89D-0D6A-4C02-88C3-34B4D5070716}"/>
          </ac:spMkLst>
        </pc:spChg>
        <pc:graphicFrameChg chg="add mod">
          <ac:chgData name="Renata Festa" userId="6f22df47-533b-4c2a-a3c1-7f9ad1d63e10" providerId="ADAL" clId="{09EBC500-CCD1-4D38-83DD-0D27B16FD925}" dt="2020-03-30T10:30:42.288" v="878" actId="14100"/>
          <ac:graphicFrameMkLst>
            <pc:docMk/>
            <pc:sldMk cId="2571899831" sldId="663"/>
            <ac:graphicFrameMk id="4" creationId="{A2408101-D67D-4506-8558-807639AEB55A}"/>
          </ac:graphicFrameMkLst>
        </pc:graphicFrameChg>
      </pc:sldChg>
      <pc:sldChg chg="addSp delSp modSp add mod ord modAnim">
        <pc:chgData name="Renata Festa" userId="6f22df47-533b-4c2a-a3c1-7f9ad1d63e10" providerId="ADAL" clId="{09EBC500-CCD1-4D38-83DD-0D27B16FD925}" dt="2020-03-30T10:34:13.414" v="940"/>
        <pc:sldMkLst>
          <pc:docMk/>
          <pc:sldMk cId="477074457" sldId="664"/>
        </pc:sldMkLst>
        <pc:spChg chg="mod">
          <ac:chgData name="Renata Festa" userId="6f22df47-533b-4c2a-a3c1-7f9ad1d63e10" providerId="ADAL" clId="{09EBC500-CCD1-4D38-83DD-0D27B16FD925}" dt="2020-03-30T10:32:53.344" v="909"/>
          <ac:spMkLst>
            <pc:docMk/>
            <pc:sldMk cId="477074457" sldId="664"/>
            <ac:spMk id="2" creationId="{59F9591A-8F78-4C18-A986-C8ADA6DA017D}"/>
          </ac:spMkLst>
        </pc:spChg>
        <pc:spChg chg="del mod">
          <ac:chgData name="Renata Festa" userId="6f22df47-533b-4c2a-a3c1-7f9ad1d63e10" providerId="ADAL" clId="{09EBC500-CCD1-4D38-83DD-0D27B16FD925}" dt="2020-03-30T10:33:45.010" v="937" actId="12084"/>
          <ac:spMkLst>
            <pc:docMk/>
            <pc:sldMk cId="477074457" sldId="664"/>
            <ac:spMk id="3" creationId="{70DC4747-7802-46DF-94B4-DF7922896757}"/>
          </ac:spMkLst>
        </pc:spChg>
        <pc:spChg chg="add mod">
          <ac:chgData name="Renata Festa" userId="6f22df47-533b-4c2a-a3c1-7f9ad1d63e10" providerId="ADAL" clId="{09EBC500-CCD1-4D38-83DD-0D27B16FD925}" dt="2020-03-30T10:33:24.056" v="936" actId="1037"/>
          <ac:spMkLst>
            <pc:docMk/>
            <pc:sldMk cId="477074457" sldId="664"/>
            <ac:spMk id="4" creationId="{9412E004-9536-4C47-8776-C95753BE7052}"/>
          </ac:spMkLst>
        </pc:spChg>
        <pc:spChg chg="add mod">
          <ac:chgData name="Renata Festa" userId="6f22df47-533b-4c2a-a3c1-7f9ad1d63e10" providerId="ADAL" clId="{09EBC500-CCD1-4D38-83DD-0D27B16FD925}" dt="2020-03-30T10:33:24.056" v="936" actId="1037"/>
          <ac:spMkLst>
            <pc:docMk/>
            <pc:sldMk cId="477074457" sldId="664"/>
            <ac:spMk id="8" creationId="{4CD8D92F-AC57-42D0-A13F-81CCEF29F120}"/>
          </ac:spMkLst>
        </pc:spChg>
        <pc:spChg chg="add mod">
          <ac:chgData name="Renata Festa" userId="6f22df47-533b-4c2a-a3c1-7f9ad1d63e10" providerId="ADAL" clId="{09EBC500-CCD1-4D38-83DD-0D27B16FD925}" dt="2020-03-30T10:33:24.056" v="936" actId="1037"/>
          <ac:spMkLst>
            <pc:docMk/>
            <pc:sldMk cId="477074457" sldId="664"/>
            <ac:spMk id="9" creationId="{AC50C382-3347-497A-8E2E-D40B2D2FE695}"/>
          </ac:spMkLst>
        </pc:spChg>
        <pc:spChg chg="add mod">
          <ac:chgData name="Renata Festa" userId="6f22df47-533b-4c2a-a3c1-7f9ad1d63e10" providerId="ADAL" clId="{09EBC500-CCD1-4D38-83DD-0D27B16FD925}" dt="2020-03-30T10:33:24.056" v="936" actId="1037"/>
          <ac:spMkLst>
            <pc:docMk/>
            <pc:sldMk cId="477074457" sldId="664"/>
            <ac:spMk id="10" creationId="{7B0C2075-F13A-4311-9E9C-DA596E68F67E}"/>
          </ac:spMkLst>
        </pc:spChg>
        <pc:spChg chg="add mod">
          <ac:chgData name="Renata Festa" userId="6f22df47-533b-4c2a-a3c1-7f9ad1d63e10" providerId="ADAL" clId="{09EBC500-CCD1-4D38-83DD-0D27B16FD925}" dt="2020-03-30T10:33:24.056" v="936" actId="1037"/>
          <ac:spMkLst>
            <pc:docMk/>
            <pc:sldMk cId="477074457" sldId="664"/>
            <ac:spMk id="11" creationId="{295FBE56-0CF1-43A0-ADD7-AFC046803427}"/>
          </ac:spMkLst>
        </pc:spChg>
        <pc:spChg chg="add mod">
          <ac:chgData name="Renata Festa" userId="6f22df47-533b-4c2a-a3c1-7f9ad1d63e10" providerId="ADAL" clId="{09EBC500-CCD1-4D38-83DD-0D27B16FD925}" dt="2020-03-30T10:33:24.056" v="936" actId="1037"/>
          <ac:spMkLst>
            <pc:docMk/>
            <pc:sldMk cId="477074457" sldId="664"/>
            <ac:spMk id="15" creationId="{C388B179-C8A2-42A8-80A8-95216D1BB276}"/>
          </ac:spMkLst>
        </pc:spChg>
        <pc:spChg chg="add mod">
          <ac:chgData name="Renata Festa" userId="6f22df47-533b-4c2a-a3c1-7f9ad1d63e10" providerId="ADAL" clId="{09EBC500-CCD1-4D38-83DD-0D27B16FD925}" dt="2020-03-30T10:33:24.056" v="936" actId="1037"/>
          <ac:spMkLst>
            <pc:docMk/>
            <pc:sldMk cId="477074457" sldId="664"/>
            <ac:spMk id="16" creationId="{E4254E2F-112C-449F-BC77-A4C938D856F7}"/>
          </ac:spMkLst>
        </pc:spChg>
        <pc:spChg chg="add mod">
          <ac:chgData name="Renata Festa" userId="6f22df47-533b-4c2a-a3c1-7f9ad1d63e10" providerId="ADAL" clId="{09EBC500-CCD1-4D38-83DD-0D27B16FD925}" dt="2020-03-30T10:33:24.056" v="936" actId="1037"/>
          <ac:spMkLst>
            <pc:docMk/>
            <pc:sldMk cId="477074457" sldId="664"/>
            <ac:spMk id="17" creationId="{A073E428-7244-409A-82E2-078A83D1AEEE}"/>
          </ac:spMkLst>
        </pc:spChg>
        <pc:spChg chg="add mod">
          <ac:chgData name="Renata Festa" userId="6f22df47-533b-4c2a-a3c1-7f9ad1d63e10" providerId="ADAL" clId="{09EBC500-CCD1-4D38-83DD-0D27B16FD925}" dt="2020-03-30T10:33:24.056" v="936" actId="1037"/>
          <ac:spMkLst>
            <pc:docMk/>
            <pc:sldMk cId="477074457" sldId="664"/>
            <ac:spMk id="18" creationId="{619028D1-B395-4F32-9FD4-98A30274F5E6}"/>
          </ac:spMkLst>
        </pc:spChg>
        <pc:spChg chg="add mod">
          <ac:chgData name="Renata Festa" userId="6f22df47-533b-4c2a-a3c1-7f9ad1d63e10" providerId="ADAL" clId="{09EBC500-CCD1-4D38-83DD-0D27B16FD925}" dt="2020-03-30T10:33:24.056" v="936" actId="1037"/>
          <ac:spMkLst>
            <pc:docMk/>
            <pc:sldMk cId="477074457" sldId="664"/>
            <ac:spMk id="19" creationId="{53D56A5A-92DC-4ABB-B41E-E22E12FA4719}"/>
          </ac:spMkLst>
        </pc:spChg>
        <pc:spChg chg="add mod">
          <ac:chgData name="Renata Festa" userId="6f22df47-533b-4c2a-a3c1-7f9ad1d63e10" providerId="ADAL" clId="{09EBC500-CCD1-4D38-83DD-0D27B16FD925}" dt="2020-03-30T10:33:24.056" v="936" actId="1037"/>
          <ac:spMkLst>
            <pc:docMk/>
            <pc:sldMk cId="477074457" sldId="664"/>
            <ac:spMk id="22" creationId="{D1077186-C711-4F05-B6A9-5290E1BDB8D5}"/>
          </ac:spMkLst>
        </pc:spChg>
        <pc:spChg chg="add mod">
          <ac:chgData name="Renata Festa" userId="6f22df47-533b-4c2a-a3c1-7f9ad1d63e10" providerId="ADAL" clId="{09EBC500-CCD1-4D38-83DD-0D27B16FD925}" dt="2020-03-30T10:33:24.056" v="936" actId="1037"/>
          <ac:spMkLst>
            <pc:docMk/>
            <pc:sldMk cId="477074457" sldId="664"/>
            <ac:spMk id="23" creationId="{7EED9973-A3FB-49E0-A48A-53EED19CB2FD}"/>
          </ac:spMkLst>
        </pc:spChg>
        <pc:spChg chg="add mod">
          <ac:chgData name="Renata Festa" userId="6f22df47-533b-4c2a-a3c1-7f9ad1d63e10" providerId="ADAL" clId="{09EBC500-CCD1-4D38-83DD-0D27B16FD925}" dt="2020-03-30T10:33:24.056" v="936" actId="1037"/>
          <ac:spMkLst>
            <pc:docMk/>
            <pc:sldMk cId="477074457" sldId="664"/>
            <ac:spMk id="24" creationId="{D73A91F3-DAC9-4F20-8BB9-9CBD36ACABAB}"/>
          </ac:spMkLst>
        </pc:spChg>
        <pc:spChg chg="add mod">
          <ac:chgData name="Renata Festa" userId="6f22df47-533b-4c2a-a3c1-7f9ad1d63e10" providerId="ADAL" clId="{09EBC500-CCD1-4D38-83DD-0D27B16FD925}" dt="2020-03-30T10:33:24.056" v="936" actId="1037"/>
          <ac:spMkLst>
            <pc:docMk/>
            <pc:sldMk cId="477074457" sldId="664"/>
            <ac:spMk id="25" creationId="{0EAFA114-EAF5-4AC9-9EBA-0ECF457E2FDF}"/>
          </ac:spMkLst>
        </pc:spChg>
        <pc:spChg chg="add mod">
          <ac:chgData name="Renata Festa" userId="6f22df47-533b-4c2a-a3c1-7f9ad1d63e10" providerId="ADAL" clId="{09EBC500-CCD1-4D38-83DD-0D27B16FD925}" dt="2020-03-30T10:33:24.056" v="936" actId="1037"/>
          <ac:spMkLst>
            <pc:docMk/>
            <pc:sldMk cId="477074457" sldId="664"/>
            <ac:spMk id="26" creationId="{EEEFCABC-9766-41C3-A424-BF1BA0CE96F6}"/>
          </ac:spMkLst>
        </pc:spChg>
        <pc:spChg chg="add mod">
          <ac:chgData name="Renata Festa" userId="6f22df47-533b-4c2a-a3c1-7f9ad1d63e10" providerId="ADAL" clId="{09EBC500-CCD1-4D38-83DD-0D27B16FD925}" dt="2020-03-30T10:33:24.056" v="936" actId="1037"/>
          <ac:spMkLst>
            <pc:docMk/>
            <pc:sldMk cId="477074457" sldId="664"/>
            <ac:spMk id="27" creationId="{E36F2CE8-F8AE-4E5E-BD9A-69A2FD0438AE}"/>
          </ac:spMkLst>
        </pc:spChg>
        <pc:spChg chg="add mod">
          <ac:chgData name="Renata Festa" userId="6f22df47-533b-4c2a-a3c1-7f9ad1d63e10" providerId="ADAL" clId="{09EBC500-CCD1-4D38-83DD-0D27B16FD925}" dt="2020-03-30T10:33:24.056" v="936" actId="1037"/>
          <ac:spMkLst>
            <pc:docMk/>
            <pc:sldMk cId="477074457" sldId="664"/>
            <ac:spMk id="46" creationId="{D3B04646-0B4C-42F2-B618-AA9EFCA886B1}"/>
          </ac:spMkLst>
        </pc:spChg>
        <pc:spChg chg="add mod">
          <ac:chgData name="Renata Festa" userId="6f22df47-533b-4c2a-a3c1-7f9ad1d63e10" providerId="ADAL" clId="{09EBC500-CCD1-4D38-83DD-0D27B16FD925}" dt="2020-03-30T10:33:24.056" v="936" actId="1037"/>
          <ac:spMkLst>
            <pc:docMk/>
            <pc:sldMk cId="477074457" sldId="664"/>
            <ac:spMk id="47" creationId="{01504EC6-4804-4BA9-81AA-81770294067D}"/>
          </ac:spMkLst>
        </pc:spChg>
        <pc:spChg chg="add mod">
          <ac:chgData name="Renata Festa" userId="6f22df47-533b-4c2a-a3c1-7f9ad1d63e10" providerId="ADAL" clId="{09EBC500-CCD1-4D38-83DD-0D27B16FD925}" dt="2020-03-30T10:33:24.056" v="936" actId="1037"/>
          <ac:spMkLst>
            <pc:docMk/>
            <pc:sldMk cId="477074457" sldId="664"/>
            <ac:spMk id="48" creationId="{88BD2B71-5E92-4737-8530-049BB1E93A77}"/>
          </ac:spMkLst>
        </pc:spChg>
        <pc:grpChg chg="add mod">
          <ac:chgData name="Renata Festa" userId="6f22df47-533b-4c2a-a3c1-7f9ad1d63e10" providerId="ADAL" clId="{09EBC500-CCD1-4D38-83DD-0D27B16FD925}" dt="2020-03-30T10:33:24.056" v="936" actId="1037"/>
          <ac:grpSpMkLst>
            <pc:docMk/>
            <pc:sldMk cId="477074457" sldId="664"/>
            <ac:grpSpMk id="28" creationId="{1271FDF8-BEEA-4B4C-B965-E9259ADDE9C7}"/>
          </ac:grpSpMkLst>
        </pc:grpChg>
        <pc:grpChg chg="add mod">
          <ac:chgData name="Renata Festa" userId="6f22df47-533b-4c2a-a3c1-7f9ad1d63e10" providerId="ADAL" clId="{09EBC500-CCD1-4D38-83DD-0D27B16FD925}" dt="2020-03-30T10:33:24.056" v="936" actId="1037"/>
          <ac:grpSpMkLst>
            <pc:docMk/>
            <pc:sldMk cId="477074457" sldId="664"/>
            <ac:grpSpMk id="35" creationId="{B0271E9D-B2F6-4004-A74C-3F236CC5DABE}"/>
          </ac:grpSpMkLst>
        </pc:grpChg>
        <pc:graphicFrameChg chg="add mod">
          <ac:chgData name="Renata Festa" userId="6f22df47-533b-4c2a-a3c1-7f9ad1d63e10" providerId="ADAL" clId="{09EBC500-CCD1-4D38-83DD-0D27B16FD925}" dt="2020-03-30T10:33:51.221" v="938" actId="13782"/>
          <ac:graphicFrameMkLst>
            <pc:docMk/>
            <pc:sldMk cId="477074457" sldId="664"/>
            <ac:graphicFrameMk id="49" creationId="{5E3C1D81-692F-4A4F-A1BE-4A16E160D88F}"/>
          </ac:graphicFrameMkLst>
        </pc:graphicFrameChg>
        <pc:cxnChg chg="add mod">
          <ac:chgData name="Renata Festa" userId="6f22df47-533b-4c2a-a3c1-7f9ad1d63e10" providerId="ADAL" clId="{09EBC500-CCD1-4D38-83DD-0D27B16FD925}" dt="2020-03-30T10:33:24.056" v="936" actId="1037"/>
          <ac:cxnSpMkLst>
            <pc:docMk/>
            <pc:sldMk cId="477074457" sldId="664"/>
            <ac:cxnSpMk id="5" creationId="{E3B36171-787F-4EDC-AB61-944551A1EBA7}"/>
          </ac:cxnSpMkLst>
        </pc:cxnChg>
        <pc:cxnChg chg="add mod">
          <ac:chgData name="Renata Festa" userId="6f22df47-533b-4c2a-a3c1-7f9ad1d63e10" providerId="ADAL" clId="{09EBC500-CCD1-4D38-83DD-0D27B16FD925}" dt="2020-03-30T10:33:24.056" v="936" actId="1037"/>
          <ac:cxnSpMkLst>
            <pc:docMk/>
            <pc:sldMk cId="477074457" sldId="664"/>
            <ac:cxnSpMk id="6" creationId="{B00CFE4D-0F07-4D0F-B942-E03D541F9179}"/>
          </ac:cxnSpMkLst>
        </pc:cxnChg>
        <pc:cxnChg chg="add mod">
          <ac:chgData name="Renata Festa" userId="6f22df47-533b-4c2a-a3c1-7f9ad1d63e10" providerId="ADAL" clId="{09EBC500-CCD1-4D38-83DD-0D27B16FD925}" dt="2020-03-30T10:33:24.056" v="936" actId="1037"/>
          <ac:cxnSpMkLst>
            <pc:docMk/>
            <pc:sldMk cId="477074457" sldId="664"/>
            <ac:cxnSpMk id="7" creationId="{95D5FCB2-4BFB-44A0-AC40-958139253A3F}"/>
          </ac:cxnSpMkLst>
        </pc:cxnChg>
        <pc:cxnChg chg="add mod">
          <ac:chgData name="Renata Festa" userId="6f22df47-533b-4c2a-a3c1-7f9ad1d63e10" providerId="ADAL" clId="{09EBC500-CCD1-4D38-83DD-0D27B16FD925}" dt="2020-03-30T10:33:24.056" v="936" actId="1037"/>
          <ac:cxnSpMkLst>
            <pc:docMk/>
            <pc:sldMk cId="477074457" sldId="664"/>
            <ac:cxnSpMk id="12" creationId="{272FAE57-95AA-479C-A40B-160FD8BF2551}"/>
          </ac:cxnSpMkLst>
        </pc:cxnChg>
        <pc:cxnChg chg="add mod">
          <ac:chgData name="Renata Festa" userId="6f22df47-533b-4c2a-a3c1-7f9ad1d63e10" providerId="ADAL" clId="{09EBC500-CCD1-4D38-83DD-0D27B16FD925}" dt="2020-03-30T10:33:24.056" v="936" actId="1037"/>
          <ac:cxnSpMkLst>
            <pc:docMk/>
            <pc:sldMk cId="477074457" sldId="664"/>
            <ac:cxnSpMk id="13" creationId="{D7959F3A-8031-47E6-B699-D5B939E1A6FD}"/>
          </ac:cxnSpMkLst>
        </pc:cxnChg>
        <pc:cxnChg chg="add mod">
          <ac:chgData name="Renata Festa" userId="6f22df47-533b-4c2a-a3c1-7f9ad1d63e10" providerId="ADAL" clId="{09EBC500-CCD1-4D38-83DD-0D27B16FD925}" dt="2020-03-30T10:33:24.056" v="936" actId="1037"/>
          <ac:cxnSpMkLst>
            <pc:docMk/>
            <pc:sldMk cId="477074457" sldId="664"/>
            <ac:cxnSpMk id="14" creationId="{1728E1DB-2F73-4CE3-9E51-7FE06553D6D3}"/>
          </ac:cxnSpMkLst>
        </pc:cxnChg>
        <pc:cxnChg chg="add mod">
          <ac:chgData name="Renata Festa" userId="6f22df47-533b-4c2a-a3c1-7f9ad1d63e10" providerId="ADAL" clId="{09EBC500-CCD1-4D38-83DD-0D27B16FD925}" dt="2020-03-30T10:33:24.056" v="936" actId="1037"/>
          <ac:cxnSpMkLst>
            <pc:docMk/>
            <pc:sldMk cId="477074457" sldId="664"/>
            <ac:cxnSpMk id="20" creationId="{5D2726B5-06B0-4799-A799-85904BC4B2FE}"/>
          </ac:cxnSpMkLst>
        </pc:cxnChg>
        <pc:cxnChg chg="add mod">
          <ac:chgData name="Renata Festa" userId="6f22df47-533b-4c2a-a3c1-7f9ad1d63e10" providerId="ADAL" clId="{09EBC500-CCD1-4D38-83DD-0D27B16FD925}" dt="2020-03-30T10:33:24.056" v="936" actId="1037"/>
          <ac:cxnSpMkLst>
            <pc:docMk/>
            <pc:sldMk cId="477074457" sldId="664"/>
            <ac:cxnSpMk id="21" creationId="{82E13011-7850-44FC-A1FF-51E81F76003C}"/>
          </ac:cxnSpMkLst>
        </pc:cxnChg>
        <pc:cxnChg chg="add mod">
          <ac:chgData name="Renata Festa" userId="6f22df47-533b-4c2a-a3c1-7f9ad1d63e10" providerId="ADAL" clId="{09EBC500-CCD1-4D38-83DD-0D27B16FD925}" dt="2020-03-30T10:33:24.056" v="936" actId="1037"/>
          <ac:cxnSpMkLst>
            <pc:docMk/>
            <pc:sldMk cId="477074457" sldId="664"/>
            <ac:cxnSpMk id="45" creationId="{3E8954E5-A3C5-4146-A0AF-4E002399D82E}"/>
          </ac:cxnSpMkLst>
        </pc:cxnChg>
      </pc:sldChg>
      <pc:sldChg chg="addSp delSp modSp add mod modClrScheme modAnim chgLayout">
        <pc:chgData name="Renata Festa" userId="6f22df47-533b-4c2a-a3c1-7f9ad1d63e10" providerId="ADAL" clId="{09EBC500-CCD1-4D38-83DD-0D27B16FD925}" dt="2020-03-30T10:37:06.811" v="968"/>
        <pc:sldMkLst>
          <pc:docMk/>
          <pc:sldMk cId="237758153" sldId="665"/>
        </pc:sldMkLst>
        <pc:spChg chg="mod">
          <ac:chgData name="Renata Festa" userId="6f22df47-533b-4c2a-a3c1-7f9ad1d63e10" providerId="ADAL" clId="{09EBC500-CCD1-4D38-83DD-0D27B16FD925}" dt="2020-03-30T10:35:48.602" v="950" actId="26606"/>
          <ac:spMkLst>
            <pc:docMk/>
            <pc:sldMk cId="237758153" sldId="665"/>
            <ac:spMk id="2" creationId="{59F9591A-8F78-4C18-A986-C8ADA6DA017D}"/>
          </ac:spMkLst>
        </pc:spChg>
        <pc:spChg chg="mod ord">
          <ac:chgData name="Renata Festa" userId="6f22df47-533b-4c2a-a3c1-7f9ad1d63e10" providerId="ADAL" clId="{09EBC500-CCD1-4D38-83DD-0D27B16FD925}" dt="2020-03-30T10:36:51.924" v="967" actId="20577"/>
          <ac:spMkLst>
            <pc:docMk/>
            <pc:sldMk cId="237758153" sldId="665"/>
            <ac:spMk id="3" creationId="{70DC4747-7802-46DF-94B4-DF7922896757}"/>
          </ac:spMkLst>
        </pc:spChg>
        <pc:picChg chg="add del mod">
          <ac:chgData name="Renata Festa" userId="6f22df47-533b-4c2a-a3c1-7f9ad1d63e10" providerId="ADAL" clId="{09EBC500-CCD1-4D38-83DD-0D27B16FD925}" dt="2020-03-30T10:35:42.762" v="947" actId="478"/>
          <ac:picMkLst>
            <pc:docMk/>
            <pc:sldMk cId="237758153" sldId="665"/>
            <ac:picMk id="4" creationId="{B2115CC0-4B8E-4E6E-873A-EB33D3205EB3}"/>
          </ac:picMkLst>
        </pc:picChg>
        <pc:picChg chg="add mod">
          <ac:chgData name="Renata Festa" userId="6f22df47-533b-4c2a-a3c1-7f9ad1d63e10" providerId="ADAL" clId="{09EBC500-CCD1-4D38-83DD-0D27B16FD925}" dt="2020-03-30T10:36:00.648" v="952" actId="962"/>
          <ac:picMkLst>
            <pc:docMk/>
            <pc:sldMk cId="237758153" sldId="665"/>
            <ac:picMk id="5" creationId="{56A872E4-CEF1-428A-BF99-AF98994D9C02}"/>
          </ac:picMkLst>
        </pc:picChg>
      </pc:sldChg>
      <pc:sldChg chg="addSp delSp modSp add mod">
        <pc:chgData name="Renata Festa" userId="6f22df47-533b-4c2a-a3c1-7f9ad1d63e10" providerId="ADAL" clId="{09EBC500-CCD1-4D38-83DD-0D27B16FD925}" dt="2020-03-30T10:39:13.678" v="999" actId="14100"/>
        <pc:sldMkLst>
          <pc:docMk/>
          <pc:sldMk cId="702538412" sldId="666"/>
        </pc:sldMkLst>
        <pc:spChg chg="mod">
          <ac:chgData name="Renata Festa" userId="6f22df47-533b-4c2a-a3c1-7f9ad1d63e10" providerId="ADAL" clId="{09EBC500-CCD1-4D38-83DD-0D27B16FD925}" dt="2020-03-30T10:37:25.017" v="969"/>
          <ac:spMkLst>
            <pc:docMk/>
            <pc:sldMk cId="702538412" sldId="666"/>
            <ac:spMk id="2" creationId="{59F9591A-8F78-4C18-A986-C8ADA6DA017D}"/>
          </ac:spMkLst>
        </pc:spChg>
        <pc:spChg chg="del">
          <ac:chgData name="Renata Festa" userId="6f22df47-533b-4c2a-a3c1-7f9ad1d63e10" providerId="ADAL" clId="{09EBC500-CCD1-4D38-83DD-0D27B16FD925}" dt="2020-03-30T10:37:38.153" v="970"/>
          <ac:spMkLst>
            <pc:docMk/>
            <pc:sldMk cId="702538412" sldId="666"/>
            <ac:spMk id="3" creationId="{70DC4747-7802-46DF-94B4-DF7922896757}"/>
          </ac:spMkLst>
        </pc:spChg>
        <pc:spChg chg="add mod">
          <ac:chgData name="Renata Festa" userId="6f22df47-533b-4c2a-a3c1-7f9ad1d63e10" providerId="ADAL" clId="{09EBC500-CCD1-4D38-83DD-0D27B16FD925}" dt="2020-03-30T10:38:44.670" v="984" actId="20577"/>
          <ac:spMkLst>
            <pc:docMk/>
            <pc:sldMk cId="702538412" sldId="666"/>
            <ac:spMk id="4" creationId="{F82DAEBB-FAC5-4A77-BA94-324EE2B6FABE}"/>
          </ac:spMkLst>
        </pc:spChg>
        <pc:spChg chg="add mod">
          <ac:chgData name="Renata Festa" userId="6f22df47-533b-4c2a-a3c1-7f9ad1d63e10" providerId="ADAL" clId="{09EBC500-CCD1-4D38-83DD-0D27B16FD925}" dt="2020-03-30T10:39:13.678" v="999" actId="14100"/>
          <ac:spMkLst>
            <pc:docMk/>
            <pc:sldMk cId="702538412" sldId="666"/>
            <ac:spMk id="5" creationId="{83F2CBA5-A276-46F8-9D05-6D9CD39125F8}"/>
          </ac:spMkLst>
        </pc:spChg>
      </pc:sldChg>
      <pc:sldChg chg="addSp delSp modSp add mod modAnim">
        <pc:chgData name="Renata Festa" userId="6f22df47-533b-4c2a-a3c1-7f9ad1d63e10" providerId="ADAL" clId="{09EBC500-CCD1-4D38-83DD-0D27B16FD925}" dt="2020-03-30T10:41:12.952" v="1025" actId="1076"/>
        <pc:sldMkLst>
          <pc:docMk/>
          <pc:sldMk cId="602176277" sldId="667"/>
        </pc:sldMkLst>
        <pc:spChg chg="mod">
          <ac:chgData name="Renata Festa" userId="6f22df47-533b-4c2a-a3c1-7f9ad1d63e10" providerId="ADAL" clId="{09EBC500-CCD1-4D38-83DD-0D27B16FD925}" dt="2020-03-30T10:39:32.339" v="1000"/>
          <ac:spMkLst>
            <pc:docMk/>
            <pc:sldMk cId="602176277" sldId="667"/>
            <ac:spMk id="2" creationId="{59F9591A-8F78-4C18-A986-C8ADA6DA017D}"/>
          </ac:spMkLst>
        </pc:spChg>
        <pc:graphicFrameChg chg="add mod">
          <ac:chgData name="Renata Festa" userId="6f22df47-533b-4c2a-a3c1-7f9ad1d63e10" providerId="ADAL" clId="{09EBC500-CCD1-4D38-83DD-0D27B16FD925}" dt="2020-03-30T10:39:51.671" v="1018" actId="1036"/>
          <ac:graphicFrameMkLst>
            <pc:docMk/>
            <pc:sldMk cId="602176277" sldId="667"/>
            <ac:graphicFrameMk id="4" creationId="{06F5A6B1-4BD2-404D-A18D-CE4A90133381}"/>
          </ac:graphicFrameMkLst>
        </pc:graphicFrameChg>
        <pc:picChg chg="add del mod">
          <ac:chgData name="Renata Festa" userId="6f22df47-533b-4c2a-a3c1-7f9ad1d63e10" providerId="ADAL" clId="{09EBC500-CCD1-4D38-83DD-0D27B16FD925}" dt="2020-03-30T10:41:08.279" v="1023" actId="478"/>
          <ac:picMkLst>
            <pc:docMk/>
            <pc:sldMk cId="602176277" sldId="667"/>
            <ac:picMk id="5" creationId="{1D2ED14C-D525-46A0-B7B8-F2D21D5C3B9D}"/>
          </ac:picMkLst>
        </pc:picChg>
        <pc:picChg chg="add mod">
          <ac:chgData name="Renata Festa" userId="6f22df47-533b-4c2a-a3c1-7f9ad1d63e10" providerId="ADAL" clId="{09EBC500-CCD1-4D38-83DD-0D27B16FD925}" dt="2020-03-30T10:41:12.952" v="1025" actId="1076"/>
          <ac:picMkLst>
            <pc:docMk/>
            <pc:sldMk cId="602176277" sldId="667"/>
            <ac:picMk id="6" creationId="{F1A4AE25-843B-43DB-8D0C-CC41181BC0F6}"/>
          </ac:picMkLst>
        </pc:picChg>
      </pc:sldChg>
      <pc:sldChg chg="addSp delSp modSp add mod modAnim">
        <pc:chgData name="Renata Festa" userId="6f22df47-533b-4c2a-a3c1-7f9ad1d63e10" providerId="ADAL" clId="{09EBC500-CCD1-4D38-83DD-0D27B16FD925}" dt="2020-03-30T10:43:20.897" v="1035" actId="478"/>
        <pc:sldMkLst>
          <pc:docMk/>
          <pc:sldMk cId="3219170857" sldId="668"/>
        </pc:sldMkLst>
        <pc:spChg chg="mod">
          <ac:chgData name="Renata Festa" userId="6f22df47-533b-4c2a-a3c1-7f9ad1d63e10" providerId="ADAL" clId="{09EBC500-CCD1-4D38-83DD-0D27B16FD925}" dt="2020-03-30T10:40:20.186" v="1022"/>
          <ac:spMkLst>
            <pc:docMk/>
            <pc:sldMk cId="3219170857" sldId="668"/>
            <ac:spMk id="2" creationId="{59F9591A-8F78-4C18-A986-C8ADA6DA017D}"/>
          </ac:spMkLst>
        </pc:spChg>
        <pc:spChg chg="del">
          <ac:chgData name="Renata Festa" userId="6f22df47-533b-4c2a-a3c1-7f9ad1d63e10" providerId="ADAL" clId="{09EBC500-CCD1-4D38-83DD-0D27B16FD925}" dt="2020-03-30T10:43:20.897" v="1035" actId="478"/>
          <ac:spMkLst>
            <pc:docMk/>
            <pc:sldMk cId="3219170857" sldId="668"/>
            <ac:spMk id="3" creationId="{70DC4747-7802-46DF-94B4-DF7922896757}"/>
          </ac:spMkLst>
        </pc:spChg>
        <pc:spChg chg="add mod">
          <ac:chgData name="Renata Festa" userId="6f22df47-533b-4c2a-a3c1-7f9ad1d63e10" providerId="ADAL" clId="{09EBC500-CCD1-4D38-83DD-0D27B16FD925}" dt="2020-03-30T10:41:56.314" v="1027" actId="1076"/>
          <ac:spMkLst>
            <pc:docMk/>
            <pc:sldMk cId="3219170857" sldId="668"/>
            <ac:spMk id="5" creationId="{0A640C92-0DAB-4397-84E3-E43D44558633}"/>
          </ac:spMkLst>
        </pc:spChg>
        <pc:graphicFrameChg chg="add mod">
          <ac:chgData name="Renata Festa" userId="6f22df47-533b-4c2a-a3c1-7f9ad1d63e10" providerId="ADAL" clId="{09EBC500-CCD1-4D38-83DD-0D27B16FD925}" dt="2020-03-30T10:43:05.894" v="1033" actId="14100"/>
          <ac:graphicFrameMkLst>
            <pc:docMk/>
            <pc:sldMk cId="3219170857" sldId="668"/>
            <ac:graphicFrameMk id="4" creationId="{5A6413BB-0179-42BA-B5EA-977B29E8FDEE}"/>
          </ac:graphicFrameMkLst>
        </pc:graphicFrameChg>
        <pc:picChg chg="add mod">
          <ac:chgData name="Renata Festa" userId="6f22df47-533b-4c2a-a3c1-7f9ad1d63e10" providerId="ADAL" clId="{09EBC500-CCD1-4D38-83DD-0D27B16FD925}" dt="2020-03-30T10:43:09.651" v="1034" actId="1076"/>
          <ac:picMkLst>
            <pc:docMk/>
            <pc:sldMk cId="3219170857" sldId="668"/>
            <ac:picMk id="6" creationId="{19859A91-AB52-4B39-B684-75828FE9415E}"/>
          </ac:picMkLst>
        </pc:picChg>
      </pc:sldChg>
      <pc:sldChg chg="addSp delSp modSp add mod modAnim">
        <pc:chgData name="Renata Festa" userId="6f22df47-533b-4c2a-a3c1-7f9ad1d63e10" providerId="ADAL" clId="{09EBC500-CCD1-4D38-83DD-0D27B16FD925}" dt="2020-03-30T10:47:34.693" v="1088"/>
        <pc:sldMkLst>
          <pc:docMk/>
          <pc:sldMk cId="2461982373" sldId="669"/>
        </pc:sldMkLst>
        <pc:spChg chg="mod">
          <ac:chgData name="Renata Festa" userId="6f22df47-533b-4c2a-a3c1-7f9ad1d63e10" providerId="ADAL" clId="{09EBC500-CCD1-4D38-83DD-0D27B16FD925}" dt="2020-03-30T10:45:02.221" v="1056"/>
          <ac:spMkLst>
            <pc:docMk/>
            <pc:sldMk cId="2461982373" sldId="669"/>
            <ac:spMk id="2" creationId="{89BD3E80-A9F5-4245-B989-C2AE6E4A9CB9}"/>
          </ac:spMkLst>
        </pc:spChg>
        <pc:spChg chg="del mod">
          <ac:chgData name="Renata Festa" userId="6f22df47-533b-4c2a-a3c1-7f9ad1d63e10" providerId="ADAL" clId="{09EBC500-CCD1-4D38-83DD-0D27B16FD925}" dt="2020-03-30T10:45:42.803" v="1064" actId="12084"/>
          <ac:spMkLst>
            <pc:docMk/>
            <pc:sldMk cId="2461982373" sldId="669"/>
            <ac:spMk id="3" creationId="{33CAB651-158D-4103-ADB9-3081943FD676}"/>
          </ac:spMkLst>
        </pc:spChg>
        <pc:spChg chg="add del">
          <ac:chgData name="Renata Festa" userId="6f22df47-533b-4c2a-a3c1-7f9ad1d63e10" providerId="ADAL" clId="{09EBC500-CCD1-4D38-83DD-0D27B16FD925}" dt="2020-03-30T10:45:20.262" v="1061"/>
          <ac:spMkLst>
            <pc:docMk/>
            <pc:sldMk cId="2461982373" sldId="669"/>
            <ac:spMk id="4" creationId="{6150BA38-720F-4497-B1C4-0568F11AC091}"/>
          </ac:spMkLst>
        </pc:spChg>
        <pc:spChg chg="add del">
          <ac:chgData name="Renata Festa" userId="6f22df47-533b-4c2a-a3c1-7f9ad1d63e10" providerId="ADAL" clId="{09EBC500-CCD1-4D38-83DD-0D27B16FD925}" dt="2020-03-30T10:45:20.262" v="1061"/>
          <ac:spMkLst>
            <pc:docMk/>
            <pc:sldMk cId="2461982373" sldId="669"/>
            <ac:spMk id="10" creationId="{CA7BBF6A-EA05-44A5-9F9D-F66C07E70931}"/>
          </ac:spMkLst>
        </pc:spChg>
        <pc:spChg chg="add del">
          <ac:chgData name="Renata Festa" userId="6f22df47-533b-4c2a-a3c1-7f9ad1d63e10" providerId="ADAL" clId="{09EBC500-CCD1-4D38-83DD-0D27B16FD925}" dt="2020-03-30T10:45:20.262" v="1061"/>
          <ac:spMkLst>
            <pc:docMk/>
            <pc:sldMk cId="2461982373" sldId="669"/>
            <ac:spMk id="11" creationId="{32E553E6-30AE-47D2-BC9E-2EA06F1DF479}"/>
          </ac:spMkLst>
        </pc:spChg>
        <pc:spChg chg="add del">
          <ac:chgData name="Renata Festa" userId="6f22df47-533b-4c2a-a3c1-7f9ad1d63e10" providerId="ADAL" clId="{09EBC500-CCD1-4D38-83DD-0D27B16FD925}" dt="2020-03-30T10:45:20.262" v="1061"/>
          <ac:spMkLst>
            <pc:docMk/>
            <pc:sldMk cId="2461982373" sldId="669"/>
            <ac:spMk id="12" creationId="{40D80682-99F7-4122-9580-45F691430C64}"/>
          </ac:spMkLst>
        </pc:spChg>
        <pc:spChg chg="add del">
          <ac:chgData name="Renata Festa" userId="6f22df47-533b-4c2a-a3c1-7f9ad1d63e10" providerId="ADAL" clId="{09EBC500-CCD1-4D38-83DD-0D27B16FD925}" dt="2020-03-30T10:45:20.262" v="1061"/>
          <ac:spMkLst>
            <pc:docMk/>
            <pc:sldMk cId="2461982373" sldId="669"/>
            <ac:spMk id="13" creationId="{02BBB46D-7733-4792-B530-5CB0ABBA8668}"/>
          </ac:spMkLst>
        </pc:spChg>
        <pc:spChg chg="add mod">
          <ac:chgData name="Renata Festa" userId="6f22df47-533b-4c2a-a3c1-7f9ad1d63e10" providerId="ADAL" clId="{09EBC500-CCD1-4D38-83DD-0D27B16FD925}" dt="2020-03-30T10:45:23.830" v="1063" actId="1076"/>
          <ac:spMkLst>
            <pc:docMk/>
            <pc:sldMk cId="2461982373" sldId="669"/>
            <ac:spMk id="16" creationId="{38C750E9-2BBD-44E7-8265-F9F070E4920C}"/>
          </ac:spMkLst>
        </pc:spChg>
        <pc:spChg chg="add mod">
          <ac:chgData name="Renata Festa" userId="6f22df47-533b-4c2a-a3c1-7f9ad1d63e10" providerId="ADAL" clId="{09EBC500-CCD1-4D38-83DD-0D27B16FD925}" dt="2020-03-30T10:45:23.830" v="1063" actId="1076"/>
          <ac:spMkLst>
            <pc:docMk/>
            <pc:sldMk cId="2461982373" sldId="669"/>
            <ac:spMk id="22" creationId="{B2379BD1-0C30-47BF-9E13-A05F2B229CA2}"/>
          </ac:spMkLst>
        </pc:spChg>
        <pc:spChg chg="add mod">
          <ac:chgData name="Renata Festa" userId="6f22df47-533b-4c2a-a3c1-7f9ad1d63e10" providerId="ADAL" clId="{09EBC500-CCD1-4D38-83DD-0D27B16FD925}" dt="2020-03-30T10:45:23.830" v="1063" actId="1076"/>
          <ac:spMkLst>
            <pc:docMk/>
            <pc:sldMk cId="2461982373" sldId="669"/>
            <ac:spMk id="23" creationId="{E737D0D4-40BA-4C8F-89C9-32D50343BA86}"/>
          </ac:spMkLst>
        </pc:spChg>
        <pc:spChg chg="add mod">
          <ac:chgData name="Renata Festa" userId="6f22df47-533b-4c2a-a3c1-7f9ad1d63e10" providerId="ADAL" clId="{09EBC500-CCD1-4D38-83DD-0D27B16FD925}" dt="2020-03-30T10:45:23.830" v="1063" actId="1076"/>
          <ac:spMkLst>
            <pc:docMk/>
            <pc:sldMk cId="2461982373" sldId="669"/>
            <ac:spMk id="24" creationId="{E5AD14E3-8925-4ADB-B2C6-745AFCD484C9}"/>
          </ac:spMkLst>
        </pc:spChg>
        <pc:spChg chg="add mod">
          <ac:chgData name="Renata Festa" userId="6f22df47-533b-4c2a-a3c1-7f9ad1d63e10" providerId="ADAL" clId="{09EBC500-CCD1-4D38-83DD-0D27B16FD925}" dt="2020-03-30T10:45:23.830" v="1063" actId="1076"/>
          <ac:spMkLst>
            <pc:docMk/>
            <pc:sldMk cId="2461982373" sldId="669"/>
            <ac:spMk id="25" creationId="{41E93A0C-9709-4408-9BE7-E3E72070F57F}"/>
          </ac:spMkLst>
        </pc:spChg>
        <pc:grpChg chg="add del">
          <ac:chgData name="Renata Festa" userId="6f22df47-533b-4c2a-a3c1-7f9ad1d63e10" providerId="ADAL" clId="{09EBC500-CCD1-4D38-83DD-0D27B16FD925}" dt="2020-03-30T10:45:20.262" v="1061"/>
          <ac:grpSpMkLst>
            <pc:docMk/>
            <pc:sldMk cId="2461982373" sldId="669"/>
            <ac:grpSpMk id="5" creationId="{C9CCD434-B019-4036-8507-C3296A44C55A}"/>
          </ac:grpSpMkLst>
        </pc:grpChg>
        <pc:grpChg chg="add mod">
          <ac:chgData name="Renata Festa" userId="6f22df47-533b-4c2a-a3c1-7f9ad1d63e10" providerId="ADAL" clId="{09EBC500-CCD1-4D38-83DD-0D27B16FD925}" dt="2020-03-30T10:45:23.830" v="1063" actId="1076"/>
          <ac:grpSpMkLst>
            <pc:docMk/>
            <pc:sldMk cId="2461982373" sldId="669"/>
            <ac:grpSpMk id="17" creationId="{81264000-8CD2-4DED-9A91-FED7C30B9256}"/>
          </ac:grpSpMkLst>
        </pc:grpChg>
        <pc:grpChg chg="mod">
          <ac:chgData name="Renata Festa" userId="6f22df47-533b-4c2a-a3c1-7f9ad1d63e10" providerId="ADAL" clId="{09EBC500-CCD1-4D38-83DD-0D27B16FD925}" dt="2020-03-30T10:45:23.830" v="1063" actId="1076"/>
          <ac:grpSpMkLst>
            <pc:docMk/>
            <pc:sldMk cId="2461982373" sldId="669"/>
            <ac:grpSpMk id="18" creationId="{7C61A48A-BDE5-420B-B764-E370D9B90B2A}"/>
          </ac:grpSpMkLst>
        </pc:grpChg>
        <pc:graphicFrameChg chg="add mod">
          <ac:chgData name="Renata Festa" userId="6f22df47-533b-4c2a-a3c1-7f9ad1d63e10" providerId="ADAL" clId="{09EBC500-CCD1-4D38-83DD-0D27B16FD925}" dt="2020-03-30T10:46:56.201" v="1084"/>
          <ac:graphicFrameMkLst>
            <pc:docMk/>
            <pc:sldMk cId="2461982373" sldId="669"/>
            <ac:graphicFrameMk id="28" creationId="{31E3A79F-A4F1-4E22-B803-D79AE89A95B8}"/>
          </ac:graphicFrameMkLst>
        </pc:graphicFrameChg>
        <pc:cxnChg chg="add del">
          <ac:chgData name="Renata Festa" userId="6f22df47-533b-4c2a-a3c1-7f9ad1d63e10" providerId="ADAL" clId="{09EBC500-CCD1-4D38-83DD-0D27B16FD925}" dt="2020-03-30T10:45:20.262" v="1061"/>
          <ac:cxnSpMkLst>
            <pc:docMk/>
            <pc:sldMk cId="2461982373" sldId="669"/>
            <ac:cxnSpMk id="14" creationId="{CF6E50F0-96CC-4906-9FF4-78C4AC71DFC9}"/>
          </ac:cxnSpMkLst>
        </pc:cxnChg>
        <pc:cxnChg chg="add del">
          <ac:chgData name="Renata Festa" userId="6f22df47-533b-4c2a-a3c1-7f9ad1d63e10" providerId="ADAL" clId="{09EBC500-CCD1-4D38-83DD-0D27B16FD925}" dt="2020-03-30T10:45:20.262" v="1061"/>
          <ac:cxnSpMkLst>
            <pc:docMk/>
            <pc:sldMk cId="2461982373" sldId="669"/>
            <ac:cxnSpMk id="15" creationId="{57650BB4-A2C8-4C38-9F43-89B47DD5A8D4}"/>
          </ac:cxnSpMkLst>
        </pc:cxnChg>
        <pc:cxnChg chg="add mod">
          <ac:chgData name="Renata Festa" userId="6f22df47-533b-4c2a-a3c1-7f9ad1d63e10" providerId="ADAL" clId="{09EBC500-CCD1-4D38-83DD-0D27B16FD925}" dt="2020-03-30T10:45:23.830" v="1063" actId="1076"/>
          <ac:cxnSpMkLst>
            <pc:docMk/>
            <pc:sldMk cId="2461982373" sldId="669"/>
            <ac:cxnSpMk id="26" creationId="{BAAC2759-E842-4F39-9836-873004C23352}"/>
          </ac:cxnSpMkLst>
        </pc:cxnChg>
        <pc:cxnChg chg="add mod">
          <ac:chgData name="Renata Festa" userId="6f22df47-533b-4c2a-a3c1-7f9ad1d63e10" providerId="ADAL" clId="{09EBC500-CCD1-4D38-83DD-0D27B16FD925}" dt="2020-03-30T10:45:23.830" v="1063" actId="1076"/>
          <ac:cxnSpMkLst>
            <pc:docMk/>
            <pc:sldMk cId="2461982373" sldId="669"/>
            <ac:cxnSpMk id="27" creationId="{47DBA4DB-9AB7-4B9B-AC6F-442561EE68F1}"/>
          </ac:cxnSpMkLst>
        </pc:cxnChg>
      </pc:sldChg>
      <pc:sldChg chg="add del">
        <pc:chgData name="Renata Festa" userId="6f22df47-533b-4c2a-a3c1-7f9ad1d63e10" providerId="ADAL" clId="{09EBC500-CCD1-4D38-83DD-0D27B16FD925}" dt="2020-03-30T10:43:27.174" v="1036" actId="47"/>
        <pc:sldMkLst>
          <pc:docMk/>
          <pc:sldMk cId="3434202799" sldId="669"/>
        </pc:sldMkLst>
      </pc:sldChg>
      <pc:sldChg chg="add del">
        <pc:chgData name="Renata Festa" userId="6f22df47-533b-4c2a-a3c1-7f9ad1d63e10" providerId="ADAL" clId="{09EBC500-CCD1-4D38-83DD-0D27B16FD925}" dt="2020-03-30T10:43:27.471" v="1037" actId="47"/>
        <pc:sldMkLst>
          <pc:docMk/>
          <pc:sldMk cId="746642145" sldId="670"/>
        </pc:sldMkLst>
      </pc:sldChg>
      <pc:sldChg chg="addSp delSp modSp add mod modAnim">
        <pc:chgData name="Renata Festa" userId="6f22df47-533b-4c2a-a3c1-7f9ad1d63e10" providerId="ADAL" clId="{09EBC500-CCD1-4D38-83DD-0D27B16FD925}" dt="2020-03-30T10:48:39.543" v="1097"/>
        <pc:sldMkLst>
          <pc:docMk/>
          <pc:sldMk cId="2144852012" sldId="670"/>
        </pc:sldMkLst>
        <pc:spChg chg="mod">
          <ac:chgData name="Renata Festa" userId="6f22df47-533b-4c2a-a3c1-7f9ad1d63e10" providerId="ADAL" clId="{09EBC500-CCD1-4D38-83DD-0D27B16FD925}" dt="2020-03-30T10:47:55.696" v="1089"/>
          <ac:spMkLst>
            <pc:docMk/>
            <pc:sldMk cId="2144852012" sldId="670"/>
            <ac:spMk id="2" creationId="{89BD3E80-A9F5-4245-B989-C2AE6E4A9CB9}"/>
          </ac:spMkLst>
        </pc:spChg>
        <pc:spChg chg="del mod">
          <ac:chgData name="Renata Festa" userId="6f22df47-533b-4c2a-a3c1-7f9ad1d63e10" providerId="ADAL" clId="{09EBC500-CCD1-4D38-83DD-0D27B16FD925}" dt="2020-03-30T10:48:19.119" v="1092" actId="12084"/>
          <ac:spMkLst>
            <pc:docMk/>
            <pc:sldMk cId="2144852012" sldId="670"/>
            <ac:spMk id="3" creationId="{33CAB651-158D-4103-ADB9-3081943FD676}"/>
          </ac:spMkLst>
        </pc:spChg>
        <pc:graphicFrameChg chg="add mod">
          <ac:chgData name="Renata Festa" userId="6f22df47-533b-4c2a-a3c1-7f9ad1d63e10" providerId="ADAL" clId="{09EBC500-CCD1-4D38-83DD-0D27B16FD925}" dt="2020-03-30T10:48:22.337" v="1094" actId="113"/>
          <ac:graphicFrameMkLst>
            <pc:docMk/>
            <pc:sldMk cId="2144852012" sldId="670"/>
            <ac:graphicFrameMk id="4" creationId="{D6C7F796-D01D-42D4-9F06-40D884359220}"/>
          </ac:graphicFrameMkLst>
        </pc:graphicFrameChg>
      </pc:sldChg>
      <pc:sldChg chg="add del">
        <pc:chgData name="Renata Festa" userId="6f22df47-533b-4c2a-a3c1-7f9ad1d63e10" providerId="ADAL" clId="{09EBC500-CCD1-4D38-83DD-0D27B16FD925}" dt="2020-03-30T10:43:27.795" v="1038" actId="47"/>
        <pc:sldMkLst>
          <pc:docMk/>
          <pc:sldMk cId="2504305707" sldId="671"/>
        </pc:sldMkLst>
      </pc:sldChg>
      <pc:sldChg chg="addSp delSp modSp add mod">
        <pc:chgData name="Renata Festa" userId="6f22df47-533b-4c2a-a3c1-7f9ad1d63e10" providerId="ADAL" clId="{09EBC500-CCD1-4D38-83DD-0D27B16FD925}" dt="2020-03-30T10:49:21.460" v="1104" actId="1076"/>
        <pc:sldMkLst>
          <pc:docMk/>
          <pc:sldMk cId="2811855803" sldId="671"/>
        </pc:sldMkLst>
        <pc:spChg chg="mod">
          <ac:chgData name="Renata Festa" userId="6f22df47-533b-4c2a-a3c1-7f9ad1d63e10" providerId="ADAL" clId="{09EBC500-CCD1-4D38-83DD-0D27B16FD925}" dt="2020-03-30T10:48:50.827" v="1098"/>
          <ac:spMkLst>
            <pc:docMk/>
            <pc:sldMk cId="2811855803" sldId="671"/>
            <ac:spMk id="2" creationId="{89BD3E80-A9F5-4245-B989-C2AE6E4A9CB9}"/>
          </ac:spMkLst>
        </pc:spChg>
        <pc:picChg chg="add del">
          <ac:chgData name="Renata Festa" userId="6f22df47-533b-4c2a-a3c1-7f9ad1d63e10" providerId="ADAL" clId="{09EBC500-CCD1-4D38-83DD-0D27B16FD925}" dt="2020-03-30T10:48:56.824" v="1100"/>
          <ac:picMkLst>
            <pc:docMk/>
            <pc:sldMk cId="2811855803" sldId="671"/>
            <ac:picMk id="4" creationId="{8B88252C-CEBB-4503-B5BE-B234A79C1588}"/>
          </ac:picMkLst>
        </pc:picChg>
        <pc:picChg chg="add mod">
          <ac:chgData name="Renata Festa" userId="6f22df47-533b-4c2a-a3c1-7f9ad1d63e10" providerId="ADAL" clId="{09EBC500-CCD1-4D38-83DD-0D27B16FD925}" dt="2020-03-30T10:49:21.460" v="1104" actId="1076"/>
          <ac:picMkLst>
            <pc:docMk/>
            <pc:sldMk cId="2811855803" sldId="671"/>
            <ac:picMk id="5" creationId="{8711795A-5CFB-4078-B64D-A2CC8E1807C2}"/>
          </ac:picMkLst>
        </pc:picChg>
      </pc:sldChg>
      <pc:sldChg chg="addSp delSp modSp add mod modAnim">
        <pc:chgData name="Renata Festa" userId="6f22df47-533b-4c2a-a3c1-7f9ad1d63e10" providerId="ADAL" clId="{09EBC500-CCD1-4D38-83DD-0D27B16FD925}" dt="2020-03-30T10:50:17.112" v="1116"/>
        <pc:sldMkLst>
          <pc:docMk/>
          <pc:sldMk cId="2819802108" sldId="672"/>
        </pc:sldMkLst>
        <pc:spChg chg="mod">
          <ac:chgData name="Renata Festa" userId="6f22df47-533b-4c2a-a3c1-7f9ad1d63e10" providerId="ADAL" clId="{09EBC500-CCD1-4D38-83DD-0D27B16FD925}" dt="2020-03-30T10:49:30.381" v="1106" actId="20577"/>
          <ac:spMkLst>
            <pc:docMk/>
            <pc:sldMk cId="2819802108" sldId="672"/>
            <ac:spMk id="2" creationId="{89BD3E80-A9F5-4245-B989-C2AE6E4A9CB9}"/>
          </ac:spMkLst>
        </pc:spChg>
        <pc:spChg chg="del mod">
          <ac:chgData name="Renata Festa" userId="6f22df47-533b-4c2a-a3c1-7f9ad1d63e10" providerId="ADAL" clId="{09EBC500-CCD1-4D38-83DD-0D27B16FD925}" dt="2020-03-30T10:50:02.409" v="1114" actId="12084"/>
          <ac:spMkLst>
            <pc:docMk/>
            <pc:sldMk cId="2819802108" sldId="672"/>
            <ac:spMk id="3" creationId="{33CAB651-158D-4103-ADB9-3081943FD676}"/>
          </ac:spMkLst>
        </pc:spChg>
        <pc:graphicFrameChg chg="add mod">
          <ac:chgData name="Renata Festa" userId="6f22df47-533b-4c2a-a3c1-7f9ad1d63e10" providerId="ADAL" clId="{09EBC500-CCD1-4D38-83DD-0D27B16FD925}" dt="2020-03-30T10:50:02.409" v="1114" actId="12084"/>
          <ac:graphicFrameMkLst>
            <pc:docMk/>
            <pc:sldMk cId="2819802108" sldId="672"/>
            <ac:graphicFrameMk id="5" creationId="{45C71BE8-5095-407F-98C3-01A8AFF95914}"/>
          </ac:graphicFrameMkLst>
        </pc:graphicFrameChg>
        <pc:picChg chg="add mod">
          <ac:chgData name="Renata Festa" userId="6f22df47-533b-4c2a-a3c1-7f9ad1d63e10" providerId="ADAL" clId="{09EBC500-CCD1-4D38-83DD-0D27B16FD925}" dt="2020-03-30T10:49:41.272" v="1108" actId="1076"/>
          <ac:picMkLst>
            <pc:docMk/>
            <pc:sldMk cId="2819802108" sldId="672"/>
            <ac:picMk id="4" creationId="{8E359964-83FA-4595-9E87-88F7EF0FCF02}"/>
          </ac:picMkLst>
        </pc:picChg>
      </pc:sldChg>
      <pc:sldChg chg="add del">
        <pc:chgData name="Renata Festa" userId="6f22df47-533b-4c2a-a3c1-7f9ad1d63e10" providerId="ADAL" clId="{09EBC500-CCD1-4D38-83DD-0D27B16FD925}" dt="2020-03-30T10:43:28.122" v="1039" actId="47"/>
        <pc:sldMkLst>
          <pc:docMk/>
          <pc:sldMk cId="3002877512" sldId="672"/>
        </pc:sldMkLst>
      </pc:sldChg>
      <pc:sldChg chg="add del">
        <pc:chgData name="Renata Festa" userId="6f22df47-533b-4c2a-a3c1-7f9ad1d63e10" providerId="ADAL" clId="{09EBC500-CCD1-4D38-83DD-0D27B16FD925}" dt="2020-03-30T10:50:32.850" v="1117" actId="47"/>
        <pc:sldMkLst>
          <pc:docMk/>
          <pc:sldMk cId="1080760094" sldId="673"/>
        </pc:sldMkLst>
      </pc:sldChg>
      <pc:sldChg chg="addSp delSp modSp add mod modAnim">
        <pc:chgData name="Renata Festa" userId="6f22df47-533b-4c2a-a3c1-7f9ad1d63e10" providerId="ADAL" clId="{09EBC500-CCD1-4D38-83DD-0D27B16FD925}" dt="2020-03-30T10:52:45.827" v="1149" actId="478"/>
        <pc:sldMkLst>
          <pc:docMk/>
          <pc:sldMk cId="1513844603" sldId="673"/>
        </pc:sldMkLst>
        <pc:spChg chg="mod">
          <ac:chgData name="Renata Festa" userId="6f22df47-533b-4c2a-a3c1-7f9ad1d63e10" providerId="ADAL" clId="{09EBC500-CCD1-4D38-83DD-0D27B16FD925}" dt="2020-03-30T10:51:54.529" v="1143"/>
          <ac:spMkLst>
            <pc:docMk/>
            <pc:sldMk cId="1513844603" sldId="673"/>
            <ac:spMk id="2" creationId="{F6CA3541-C1A0-408D-BF0A-D3C4B8F568EA}"/>
          </ac:spMkLst>
        </pc:spChg>
        <pc:spChg chg="del">
          <ac:chgData name="Renata Festa" userId="6f22df47-533b-4c2a-a3c1-7f9ad1d63e10" providerId="ADAL" clId="{09EBC500-CCD1-4D38-83DD-0D27B16FD925}" dt="2020-03-30T10:52:45.827" v="1149" actId="478"/>
          <ac:spMkLst>
            <pc:docMk/>
            <pc:sldMk cId="1513844603" sldId="673"/>
            <ac:spMk id="3" creationId="{68D176DE-5432-4386-9B9A-374FFD7F7F29}"/>
          </ac:spMkLst>
        </pc:spChg>
        <pc:graphicFrameChg chg="add mod">
          <ac:chgData name="Renata Festa" userId="6f22df47-533b-4c2a-a3c1-7f9ad1d63e10" providerId="ADAL" clId="{09EBC500-CCD1-4D38-83DD-0D27B16FD925}" dt="2020-03-30T10:52:32.103" v="1148" actId="12100"/>
          <ac:graphicFrameMkLst>
            <pc:docMk/>
            <pc:sldMk cId="1513844603" sldId="673"/>
            <ac:graphicFrameMk id="4" creationId="{FD6C6B3B-12A4-4E06-85F3-6D72939C5A84}"/>
          </ac:graphicFrameMkLst>
        </pc:graphicFrameChg>
      </pc:sldChg>
      <pc:sldChg chg="addSp delSp modSp add mod modAnim">
        <pc:chgData name="Renata Festa" userId="6f22df47-533b-4c2a-a3c1-7f9ad1d63e10" providerId="ADAL" clId="{09EBC500-CCD1-4D38-83DD-0D27B16FD925}" dt="2020-03-30T10:54:37.324" v="1165" actId="20577"/>
        <pc:sldMkLst>
          <pc:docMk/>
          <pc:sldMk cId="3638802112" sldId="674"/>
        </pc:sldMkLst>
        <pc:spChg chg="mod">
          <ac:chgData name="Renata Festa" userId="6f22df47-533b-4c2a-a3c1-7f9ad1d63e10" providerId="ADAL" clId="{09EBC500-CCD1-4D38-83DD-0D27B16FD925}" dt="2020-03-30T10:52:55.556" v="1150"/>
          <ac:spMkLst>
            <pc:docMk/>
            <pc:sldMk cId="3638802112" sldId="674"/>
            <ac:spMk id="2" creationId="{F6CA3541-C1A0-408D-BF0A-D3C4B8F568EA}"/>
          </ac:spMkLst>
        </pc:spChg>
        <pc:spChg chg="del mod">
          <ac:chgData name="Renata Festa" userId="6f22df47-533b-4c2a-a3c1-7f9ad1d63e10" providerId="ADAL" clId="{09EBC500-CCD1-4D38-83DD-0D27B16FD925}" dt="2020-03-30T10:53:45.471" v="1159" actId="12084"/>
          <ac:spMkLst>
            <pc:docMk/>
            <pc:sldMk cId="3638802112" sldId="674"/>
            <ac:spMk id="3" creationId="{68D176DE-5432-4386-9B9A-374FFD7F7F29}"/>
          </ac:spMkLst>
        </pc:spChg>
        <pc:spChg chg="add mod">
          <ac:chgData name="Renata Festa" userId="6f22df47-533b-4c2a-a3c1-7f9ad1d63e10" providerId="ADAL" clId="{09EBC500-CCD1-4D38-83DD-0D27B16FD925}" dt="2020-03-30T10:53:21.284" v="1152" actId="1076"/>
          <ac:spMkLst>
            <pc:docMk/>
            <pc:sldMk cId="3638802112" sldId="674"/>
            <ac:spMk id="4" creationId="{46A038FF-3A24-4E6F-87D5-1A4D9E1D1C20}"/>
          </ac:spMkLst>
        </pc:spChg>
        <pc:spChg chg="add mod">
          <ac:chgData name="Renata Festa" userId="6f22df47-533b-4c2a-a3c1-7f9ad1d63e10" providerId="ADAL" clId="{09EBC500-CCD1-4D38-83DD-0D27B16FD925}" dt="2020-03-30T10:53:21.284" v="1152" actId="1076"/>
          <ac:spMkLst>
            <pc:docMk/>
            <pc:sldMk cId="3638802112" sldId="674"/>
            <ac:spMk id="9" creationId="{C600D50B-07C3-4B3A-B698-8FB1E93EE793}"/>
          </ac:spMkLst>
        </pc:spChg>
        <pc:spChg chg="add mod">
          <ac:chgData name="Renata Festa" userId="6f22df47-533b-4c2a-a3c1-7f9ad1d63e10" providerId="ADAL" clId="{09EBC500-CCD1-4D38-83DD-0D27B16FD925}" dt="2020-03-30T10:53:21.284" v="1152" actId="1076"/>
          <ac:spMkLst>
            <pc:docMk/>
            <pc:sldMk cId="3638802112" sldId="674"/>
            <ac:spMk id="10" creationId="{0DCF8FB7-3EF2-4FD6-8BC1-BC4244C0A7AE}"/>
          </ac:spMkLst>
        </pc:spChg>
        <pc:spChg chg="add mod">
          <ac:chgData name="Renata Festa" userId="6f22df47-533b-4c2a-a3c1-7f9ad1d63e10" providerId="ADAL" clId="{09EBC500-CCD1-4D38-83DD-0D27B16FD925}" dt="2020-03-30T10:53:21.284" v="1152" actId="1076"/>
          <ac:spMkLst>
            <pc:docMk/>
            <pc:sldMk cId="3638802112" sldId="674"/>
            <ac:spMk id="11" creationId="{EA721D79-4634-4A26-9C0C-2D93AD9C14B7}"/>
          </ac:spMkLst>
        </pc:spChg>
        <pc:spChg chg="add mod">
          <ac:chgData name="Renata Festa" userId="6f22df47-533b-4c2a-a3c1-7f9ad1d63e10" providerId="ADAL" clId="{09EBC500-CCD1-4D38-83DD-0D27B16FD925}" dt="2020-03-30T10:53:21.284" v="1152" actId="1076"/>
          <ac:spMkLst>
            <pc:docMk/>
            <pc:sldMk cId="3638802112" sldId="674"/>
            <ac:spMk id="12" creationId="{B1ED31F0-2E2D-41EA-BBEF-CEAEABC754C0}"/>
          </ac:spMkLst>
        </pc:spChg>
        <pc:spChg chg="add mod">
          <ac:chgData name="Renata Festa" userId="6f22df47-533b-4c2a-a3c1-7f9ad1d63e10" providerId="ADAL" clId="{09EBC500-CCD1-4D38-83DD-0D27B16FD925}" dt="2020-03-30T10:53:21.284" v="1152" actId="1076"/>
          <ac:spMkLst>
            <pc:docMk/>
            <pc:sldMk cId="3638802112" sldId="674"/>
            <ac:spMk id="13" creationId="{96B31049-86BD-4A34-B33F-9DA78ACD7B99}"/>
          </ac:spMkLst>
        </pc:spChg>
        <pc:spChg chg="add mod">
          <ac:chgData name="Renata Festa" userId="6f22df47-533b-4c2a-a3c1-7f9ad1d63e10" providerId="ADAL" clId="{09EBC500-CCD1-4D38-83DD-0D27B16FD925}" dt="2020-03-30T10:53:21.284" v="1152" actId="1076"/>
          <ac:spMkLst>
            <pc:docMk/>
            <pc:sldMk cId="3638802112" sldId="674"/>
            <ac:spMk id="14" creationId="{568A23C7-ADD9-458A-9A46-F0C9B7BD0AA5}"/>
          </ac:spMkLst>
        </pc:spChg>
        <pc:spChg chg="add mod">
          <ac:chgData name="Renata Festa" userId="6f22df47-533b-4c2a-a3c1-7f9ad1d63e10" providerId="ADAL" clId="{09EBC500-CCD1-4D38-83DD-0D27B16FD925}" dt="2020-03-30T10:53:21.284" v="1152" actId="1076"/>
          <ac:spMkLst>
            <pc:docMk/>
            <pc:sldMk cId="3638802112" sldId="674"/>
            <ac:spMk id="15" creationId="{F54163D9-6291-48D8-9078-4062E2546758}"/>
          </ac:spMkLst>
        </pc:spChg>
        <pc:spChg chg="add mod">
          <ac:chgData name="Renata Festa" userId="6f22df47-533b-4c2a-a3c1-7f9ad1d63e10" providerId="ADAL" clId="{09EBC500-CCD1-4D38-83DD-0D27B16FD925}" dt="2020-03-30T10:53:21.284" v="1152" actId="1076"/>
          <ac:spMkLst>
            <pc:docMk/>
            <pc:sldMk cId="3638802112" sldId="674"/>
            <ac:spMk id="16" creationId="{D419915C-D111-4D3D-9854-80B34C46763F}"/>
          </ac:spMkLst>
        </pc:spChg>
        <pc:spChg chg="add mod">
          <ac:chgData name="Renata Festa" userId="6f22df47-533b-4c2a-a3c1-7f9ad1d63e10" providerId="ADAL" clId="{09EBC500-CCD1-4D38-83DD-0D27B16FD925}" dt="2020-03-30T10:53:21.284" v="1152" actId="1076"/>
          <ac:spMkLst>
            <pc:docMk/>
            <pc:sldMk cId="3638802112" sldId="674"/>
            <ac:spMk id="17" creationId="{315FC528-4DB6-47AA-958A-2D8D6BBEA411}"/>
          </ac:spMkLst>
        </pc:spChg>
        <pc:spChg chg="add mod">
          <ac:chgData name="Renata Festa" userId="6f22df47-533b-4c2a-a3c1-7f9ad1d63e10" providerId="ADAL" clId="{09EBC500-CCD1-4D38-83DD-0D27B16FD925}" dt="2020-03-30T10:53:21.284" v="1152" actId="1076"/>
          <ac:spMkLst>
            <pc:docMk/>
            <pc:sldMk cId="3638802112" sldId="674"/>
            <ac:spMk id="18" creationId="{D092090F-E28E-429A-AEED-A5EC470D761F}"/>
          </ac:spMkLst>
        </pc:spChg>
        <pc:spChg chg="add mod">
          <ac:chgData name="Renata Festa" userId="6f22df47-533b-4c2a-a3c1-7f9ad1d63e10" providerId="ADAL" clId="{09EBC500-CCD1-4D38-83DD-0D27B16FD925}" dt="2020-03-30T10:53:21.284" v="1152" actId="1076"/>
          <ac:spMkLst>
            <pc:docMk/>
            <pc:sldMk cId="3638802112" sldId="674"/>
            <ac:spMk id="19" creationId="{9786042F-0C8C-4084-A045-8303FA072A85}"/>
          </ac:spMkLst>
        </pc:spChg>
        <pc:spChg chg="add mod">
          <ac:chgData name="Renata Festa" userId="6f22df47-533b-4c2a-a3c1-7f9ad1d63e10" providerId="ADAL" clId="{09EBC500-CCD1-4D38-83DD-0D27B16FD925}" dt="2020-03-30T10:53:21.284" v="1152" actId="1076"/>
          <ac:spMkLst>
            <pc:docMk/>
            <pc:sldMk cId="3638802112" sldId="674"/>
            <ac:spMk id="20" creationId="{8B63A8E3-AC07-4857-A783-17D6CE7EDCD7}"/>
          </ac:spMkLst>
        </pc:spChg>
        <pc:spChg chg="add mod">
          <ac:chgData name="Renata Festa" userId="6f22df47-533b-4c2a-a3c1-7f9ad1d63e10" providerId="ADAL" clId="{09EBC500-CCD1-4D38-83DD-0D27B16FD925}" dt="2020-03-30T10:53:21.284" v="1152" actId="1076"/>
          <ac:spMkLst>
            <pc:docMk/>
            <pc:sldMk cId="3638802112" sldId="674"/>
            <ac:spMk id="21" creationId="{47852E53-E4BE-4AE5-95BA-5C4F3A37C994}"/>
          </ac:spMkLst>
        </pc:spChg>
        <pc:spChg chg="add mod">
          <ac:chgData name="Renata Festa" userId="6f22df47-533b-4c2a-a3c1-7f9ad1d63e10" providerId="ADAL" clId="{09EBC500-CCD1-4D38-83DD-0D27B16FD925}" dt="2020-03-30T10:53:21.284" v="1152" actId="1076"/>
          <ac:spMkLst>
            <pc:docMk/>
            <pc:sldMk cId="3638802112" sldId="674"/>
            <ac:spMk id="27" creationId="{056CBA0E-EB86-4E01-8728-536AA2128F0F}"/>
          </ac:spMkLst>
        </pc:spChg>
        <pc:spChg chg="add mod">
          <ac:chgData name="Renata Festa" userId="6f22df47-533b-4c2a-a3c1-7f9ad1d63e10" providerId="ADAL" clId="{09EBC500-CCD1-4D38-83DD-0D27B16FD925}" dt="2020-03-30T10:53:21.284" v="1152" actId="1076"/>
          <ac:spMkLst>
            <pc:docMk/>
            <pc:sldMk cId="3638802112" sldId="674"/>
            <ac:spMk id="33" creationId="{5080ED38-41E5-415A-99EE-FB5A2A8C5BD9}"/>
          </ac:spMkLst>
        </pc:spChg>
        <pc:spChg chg="add mod">
          <ac:chgData name="Renata Festa" userId="6f22df47-533b-4c2a-a3c1-7f9ad1d63e10" providerId="ADAL" clId="{09EBC500-CCD1-4D38-83DD-0D27B16FD925}" dt="2020-03-30T10:53:21.284" v="1152" actId="1076"/>
          <ac:spMkLst>
            <pc:docMk/>
            <pc:sldMk cId="3638802112" sldId="674"/>
            <ac:spMk id="34" creationId="{FFE9B7B7-3A69-461F-A6E1-138A7C770D41}"/>
          </ac:spMkLst>
        </pc:spChg>
        <pc:grpChg chg="add mod">
          <ac:chgData name="Renata Festa" userId="6f22df47-533b-4c2a-a3c1-7f9ad1d63e10" providerId="ADAL" clId="{09EBC500-CCD1-4D38-83DD-0D27B16FD925}" dt="2020-03-30T10:53:21.284" v="1152" actId="1076"/>
          <ac:grpSpMkLst>
            <pc:docMk/>
            <pc:sldMk cId="3638802112" sldId="674"/>
            <ac:grpSpMk id="5" creationId="{DC70D188-5658-4D93-B100-F300B1406370}"/>
          </ac:grpSpMkLst>
        </pc:grpChg>
        <pc:grpChg chg="add mod">
          <ac:chgData name="Renata Festa" userId="6f22df47-533b-4c2a-a3c1-7f9ad1d63e10" providerId="ADAL" clId="{09EBC500-CCD1-4D38-83DD-0D27B16FD925}" dt="2020-03-30T10:53:21.284" v="1152" actId="1076"/>
          <ac:grpSpMkLst>
            <pc:docMk/>
            <pc:sldMk cId="3638802112" sldId="674"/>
            <ac:grpSpMk id="22" creationId="{78C85B0B-362D-442C-8AEE-AA33E53A2FDC}"/>
          </ac:grpSpMkLst>
        </pc:grpChg>
        <pc:grpChg chg="add mod">
          <ac:chgData name="Renata Festa" userId="6f22df47-533b-4c2a-a3c1-7f9ad1d63e10" providerId="ADAL" clId="{09EBC500-CCD1-4D38-83DD-0D27B16FD925}" dt="2020-03-30T10:53:21.284" v="1152" actId="1076"/>
          <ac:grpSpMkLst>
            <pc:docMk/>
            <pc:sldMk cId="3638802112" sldId="674"/>
            <ac:grpSpMk id="28" creationId="{8B3F3E12-DC0C-45ED-84EC-9C56AE38DCF7}"/>
          </ac:grpSpMkLst>
        </pc:grpChg>
        <pc:grpChg chg="mod">
          <ac:chgData name="Renata Festa" userId="6f22df47-533b-4c2a-a3c1-7f9ad1d63e10" providerId="ADAL" clId="{09EBC500-CCD1-4D38-83DD-0D27B16FD925}" dt="2020-03-30T10:53:21.284" v="1152" actId="1076"/>
          <ac:grpSpMkLst>
            <pc:docMk/>
            <pc:sldMk cId="3638802112" sldId="674"/>
            <ac:grpSpMk id="29" creationId="{B7A2FB36-A544-479F-8C2D-074D089E2B25}"/>
          </ac:grpSpMkLst>
        </pc:grpChg>
        <pc:grpChg chg="add mod">
          <ac:chgData name="Renata Festa" userId="6f22df47-533b-4c2a-a3c1-7f9ad1d63e10" providerId="ADAL" clId="{09EBC500-CCD1-4D38-83DD-0D27B16FD925}" dt="2020-03-30T10:53:21.284" v="1152" actId="1076"/>
          <ac:grpSpMkLst>
            <pc:docMk/>
            <pc:sldMk cId="3638802112" sldId="674"/>
            <ac:grpSpMk id="35" creationId="{81D6D622-5CC2-4563-94B2-0C2475B083FF}"/>
          </ac:grpSpMkLst>
        </pc:grpChg>
        <pc:grpChg chg="mod">
          <ac:chgData name="Renata Festa" userId="6f22df47-533b-4c2a-a3c1-7f9ad1d63e10" providerId="ADAL" clId="{09EBC500-CCD1-4D38-83DD-0D27B16FD925}" dt="2020-03-30T10:53:21.284" v="1152" actId="1076"/>
          <ac:grpSpMkLst>
            <pc:docMk/>
            <pc:sldMk cId="3638802112" sldId="674"/>
            <ac:grpSpMk id="36" creationId="{19D7832F-FE0A-4426-BE39-5FF85C5F8DB7}"/>
          </ac:grpSpMkLst>
        </pc:grpChg>
        <pc:grpChg chg="add mod">
          <ac:chgData name="Renata Festa" userId="6f22df47-533b-4c2a-a3c1-7f9ad1d63e10" providerId="ADAL" clId="{09EBC500-CCD1-4D38-83DD-0D27B16FD925}" dt="2020-03-30T10:53:21.284" v="1152" actId="1076"/>
          <ac:grpSpMkLst>
            <pc:docMk/>
            <pc:sldMk cId="3638802112" sldId="674"/>
            <ac:grpSpMk id="41" creationId="{CDDAA234-41CD-4E0A-A01D-5760967DF074}"/>
          </ac:grpSpMkLst>
        </pc:grpChg>
        <pc:grpChg chg="add mod">
          <ac:chgData name="Renata Festa" userId="6f22df47-533b-4c2a-a3c1-7f9ad1d63e10" providerId="ADAL" clId="{09EBC500-CCD1-4D38-83DD-0D27B16FD925}" dt="2020-03-30T10:53:21.284" v="1152" actId="1076"/>
          <ac:grpSpMkLst>
            <pc:docMk/>
            <pc:sldMk cId="3638802112" sldId="674"/>
            <ac:grpSpMk id="44" creationId="{2304F929-AD09-4FC7-8B36-0113988FDB0C}"/>
          </ac:grpSpMkLst>
        </pc:grpChg>
        <pc:graphicFrameChg chg="add mod">
          <ac:chgData name="Renata Festa" userId="6f22df47-533b-4c2a-a3c1-7f9ad1d63e10" providerId="ADAL" clId="{09EBC500-CCD1-4D38-83DD-0D27B16FD925}" dt="2020-03-30T10:54:37.324" v="1165" actId="20577"/>
          <ac:graphicFrameMkLst>
            <pc:docMk/>
            <pc:sldMk cId="3638802112" sldId="674"/>
            <ac:graphicFrameMk id="47" creationId="{F76C2B60-F8CF-4D35-8709-9BE17FBCE170}"/>
          </ac:graphicFrameMkLst>
        </pc:graphicFrameChg>
        <pc:cxnChg chg="add mod">
          <ac:chgData name="Renata Festa" userId="6f22df47-533b-4c2a-a3c1-7f9ad1d63e10" providerId="ADAL" clId="{09EBC500-CCD1-4D38-83DD-0D27B16FD925}" dt="2020-03-30T10:53:21.284" v="1152" actId="1076"/>
          <ac:cxnSpMkLst>
            <pc:docMk/>
            <pc:sldMk cId="3638802112" sldId="674"/>
            <ac:cxnSpMk id="8" creationId="{5F1CA4EA-18DE-4253-95FF-1D81B5DCF529}"/>
          </ac:cxnSpMkLst>
        </pc:cxnChg>
      </pc:sldChg>
      <pc:sldChg chg="add del">
        <pc:chgData name="Renata Festa" userId="6f22df47-533b-4c2a-a3c1-7f9ad1d63e10" providerId="ADAL" clId="{09EBC500-CCD1-4D38-83DD-0D27B16FD925}" dt="2020-03-30T10:50:33.150" v="1118" actId="47"/>
        <pc:sldMkLst>
          <pc:docMk/>
          <pc:sldMk cId="4190407951" sldId="674"/>
        </pc:sldMkLst>
      </pc:sldChg>
      <pc:sldChg chg="addSp delSp modSp add mod modAnim">
        <pc:chgData name="Renata Festa" userId="6f22df47-533b-4c2a-a3c1-7f9ad1d63e10" providerId="ADAL" clId="{09EBC500-CCD1-4D38-83DD-0D27B16FD925}" dt="2020-03-30T10:55:49.365" v="1172" actId="478"/>
        <pc:sldMkLst>
          <pc:docMk/>
          <pc:sldMk cId="4245121583" sldId="675"/>
        </pc:sldMkLst>
        <pc:spChg chg="mod">
          <ac:chgData name="Renata Festa" userId="6f22df47-533b-4c2a-a3c1-7f9ad1d63e10" providerId="ADAL" clId="{09EBC500-CCD1-4D38-83DD-0D27B16FD925}" dt="2020-03-30T10:55:08.578" v="1167" actId="20577"/>
          <ac:spMkLst>
            <pc:docMk/>
            <pc:sldMk cId="4245121583" sldId="675"/>
            <ac:spMk id="2" creationId="{F6CA3541-C1A0-408D-BF0A-D3C4B8F568EA}"/>
          </ac:spMkLst>
        </pc:spChg>
        <pc:spChg chg="del">
          <ac:chgData name="Renata Festa" userId="6f22df47-533b-4c2a-a3c1-7f9ad1d63e10" providerId="ADAL" clId="{09EBC500-CCD1-4D38-83DD-0D27B16FD925}" dt="2020-03-30T10:55:49.365" v="1172" actId="478"/>
          <ac:spMkLst>
            <pc:docMk/>
            <pc:sldMk cId="4245121583" sldId="675"/>
            <ac:spMk id="3" creationId="{68D176DE-5432-4386-9B9A-374FFD7F7F29}"/>
          </ac:spMkLst>
        </pc:spChg>
        <pc:spChg chg="add mod">
          <ac:chgData name="Renata Festa" userId="6f22df47-533b-4c2a-a3c1-7f9ad1d63e10" providerId="ADAL" clId="{09EBC500-CCD1-4D38-83DD-0D27B16FD925}" dt="2020-03-30T10:55:38.915" v="1170" actId="14100"/>
          <ac:spMkLst>
            <pc:docMk/>
            <pc:sldMk cId="4245121583" sldId="675"/>
            <ac:spMk id="5" creationId="{DCCBE35D-BACB-4D11-811F-D6548C28642D}"/>
          </ac:spMkLst>
        </pc:spChg>
        <pc:picChg chg="add mod">
          <ac:chgData name="Renata Festa" userId="6f22df47-533b-4c2a-a3c1-7f9ad1d63e10" providerId="ADAL" clId="{09EBC500-CCD1-4D38-83DD-0D27B16FD925}" dt="2020-03-30T10:55:42.447" v="1171" actId="14100"/>
          <ac:picMkLst>
            <pc:docMk/>
            <pc:sldMk cId="4245121583" sldId="675"/>
            <ac:picMk id="4" creationId="{A1931259-BABE-43D9-8E88-B4F7811BAA09}"/>
          </ac:picMkLst>
        </pc:picChg>
      </pc:sldChg>
      <pc:sldChg chg="addSp modSp add mod modAnim">
        <pc:chgData name="Renata Festa" userId="6f22df47-533b-4c2a-a3c1-7f9ad1d63e10" providerId="ADAL" clId="{09EBC500-CCD1-4D38-83DD-0D27B16FD925}" dt="2020-03-30T10:58:08.800" v="1191"/>
        <pc:sldMkLst>
          <pc:docMk/>
          <pc:sldMk cId="431266411" sldId="676"/>
        </pc:sldMkLst>
        <pc:spChg chg="mod">
          <ac:chgData name="Renata Festa" userId="6f22df47-533b-4c2a-a3c1-7f9ad1d63e10" providerId="ADAL" clId="{09EBC500-CCD1-4D38-83DD-0D27B16FD925}" dt="2020-03-30T10:55:56.173" v="1173"/>
          <ac:spMkLst>
            <pc:docMk/>
            <pc:sldMk cId="431266411" sldId="676"/>
            <ac:spMk id="2" creationId="{F6CA3541-C1A0-408D-BF0A-D3C4B8F568EA}"/>
          </ac:spMkLst>
        </pc:spChg>
        <pc:spChg chg="add mod">
          <ac:chgData name="Renata Festa" userId="6f22df47-533b-4c2a-a3c1-7f9ad1d63e10" providerId="ADAL" clId="{09EBC500-CCD1-4D38-83DD-0D27B16FD925}" dt="2020-03-30T10:56:56.305" v="1181" actId="1076"/>
          <ac:spMkLst>
            <pc:docMk/>
            <pc:sldMk cId="431266411" sldId="676"/>
            <ac:spMk id="5" creationId="{08BC6320-1636-415A-8A58-376B73389592}"/>
          </ac:spMkLst>
        </pc:spChg>
        <pc:spChg chg="add mod">
          <ac:chgData name="Renata Festa" userId="6f22df47-533b-4c2a-a3c1-7f9ad1d63e10" providerId="ADAL" clId="{09EBC500-CCD1-4D38-83DD-0D27B16FD925}" dt="2020-03-30T10:56:50.640" v="1180" actId="1076"/>
          <ac:spMkLst>
            <pc:docMk/>
            <pc:sldMk cId="431266411" sldId="676"/>
            <ac:spMk id="6" creationId="{571302C8-F5E7-44BF-BDF6-73B0EF95E2B8}"/>
          </ac:spMkLst>
        </pc:spChg>
        <pc:graphicFrameChg chg="add mod">
          <ac:chgData name="Renata Festa" userId="6f22df47-533b-4c2a-a3c1-7f9ad1d63e10" providerId="ADAL" clId="{09EBC500-CCD1-4D38-83DD-0D27B16FD925}" dt="2020-03-30T10:58:08.800" v="1191"/>
          <ac:graphicFrameMkLst>
            <pc:docMk/>
            <pc:sldMk cId="431266411" sldId="676"/>
            <ac:graphicFrameMk id="4" creationId="{F8B00A53-B9D0-4F93-B8B9-878D9EC3BB46}"/>
          </ac:graphicFrameMkLst>
        </pc:graphicFrameChg>
        <pc:graphicFrameChg chg="add mod">
          <ac:chgData name="Renata Festa" userId="6f22df47-533b-4c2a-a3c1-7f9ad1d63e10" providerId="ADAL" clId="{09EBC500-CCD1-4D38-83DD-0D27B16FD925}" dt="2020-03-30T10:56:42.011" v="1179" actId="14100"/>
          <ac:graphicFrameMkLst>
            <pc:docMk/>
            <pc:sldMk cId="431266411" sldId="676"/>
            <ac:graphicFrameMk id="7" creationId="{EBAA5271-B329-4E43-888F-74653FEBC003}"/>
          </ac:graphicFrameMkLst>
        </pc:graphicFrameChg>
      </pc:sldChg>
      <pc:sldChg chg="addSp delSp modSp add mod delAnim modAnim modNotesTx">
        <pc:chgData name="Renata Festa" userId="6f22df47-533b-4c2a-a3c1-7f9ad1d63e10" providerId="ADAL" clId="{09EBC500-CCD1-4D38-83DD-0D27B16FD925}" dt="2020-03-30T11:02:24.705" v="1240" actId="1076"/>
        <pc:sldMkLst>
          <pc:docMk/>
          <pc:sldMk cId="621496957" sldId="677"/>
        </pc:sldMkLst>
        <pc:spChg chg="mod">
          <ac:chgData name="Renata Festa" userId="6f22df47-533b-4c2a-a3c1-7f9ad1d63e10" providerId="ADAL" clId="{09EBC500-CCD1-4D38-83DD-0D27B16FD925}" dt="2020-03-30T10:58:50.951" v="1192"/>
          <ac:spMkLst>
            <pc:docMk/>
            <pc:sldMk cId="621496957" sldId="677"/>
            <ac:spMk id="2" creationId="{F6CA3541-C1A0-408D-BF0A-D3C4B8F568EA}"/>
          </ac:spMkLst>
        </pc:spChg>
        <pc:spChg chg="add del mod">
          <ac:chgData name="Renata Festa" userId="6f22df47-533b-4c2a-a3c1-7f9ad1d63e10" providerId="ADAL" clId="{09EBC500-CCD1-4D38-83DD-0D27B16FD925}" dt="2020-03-30T11:00:24.135" v="1212" actId="478"/>
          <ac:spMkLst>
            <pc:docMk/>
            <pc:sldMk cId="621496957" sldId="677"/>
            <ac:spMk id="6" creationId="{43F1A5E4-7325-40B8-8791-87024BAAE637}"/>
          </ac:spMkLst>
        </pc:spChg>
        <pc:spChg chg="add mod">
          <ac:chgData name="Renata Festa" userId="6f22df47-533b-4c2a-a3c1-7f9ad1d63e10" providerId="ADAL" clId="{09EBC500-CCD1-4D38-83DD-0D27B16FD925}" dt="2020-03-30T11:02:24.705" v="1240" actId="1076"/>
          <ac:spMkLst>
            <pc:docMk/>
            <pc:sldMk cId="621496957" sldId="677"/>
            <ac:spMk id="8" creationId="{28231146-3560-45EE-989E-5B262C6B8F36}"/>
          </ac:spMkLst>
        </pc:spChg>
        <pc:graphicFrameChg chg="add del">
          <ac:chgData name="Renata Festa" userId="6f22df47-533b-4c2a-a3c1-7f9ad1d63e10" providerId="ADAL" clId="{09EBC500-CCD1-4D38-83DD-0D27B16FD925}" dt="2020-03-30T10:59:16.852" v="1195"/>
          <ac:graphicFrameMkLst>
            <pc:docMk/>
            <pc:sldMk cId="621496957" sldId="677"/>
            <ac:graphicFrameMk id="4" creationId="{AC92099A-9D40-46E1-AE78-6246B2E08750}"/>
          </ac:graphicFrameMkLst>
        </pc:graphicFrameChg>
        <pc:graphicFrameChg chg="add del mod">
          <ac:chgData name="Renata Festa" userId="6f22df47-533b-4c2a-a3c1-7f9ad1d63e10" providerId="ADAL" clId="{09EBC500-CCD1-4D38-83DD-0D27B16FD925}" dt="2020-03-30T11:00:14.269" v="1211" actId="478"/>
          <ac:graphicFrameMkLst>
            <pc:docMk/>
            <pc:sldMk cId="621496957" sldId="677"/>
            <ac:graphicFrameMk id="5" creationId="{83B71195-14D6-47CD-A52C-DEF4E2EF79EB}"/>
          </ac:graphicFrameMkLst>
        </pc:graphicFrameChg>
        <pc:graphicFrameChg chg="add mod">
          <ac:chgData name="Renata Festa" userId="6f22df47-533b-4c2a-a3c1-7f9ad1d63e10" providerId="ADAL" clId="{09EBC500-CCD1-4D38-83DD-0D27B16FD925}" dt="2020-03-30T11:02:09.991" v="1239"/>
          <ac:graphicFrameMkLst>
            <pc:docMk/>
            <pc:sldMk cId="621496957" sldId="677"/>
            <ac:graphicFrameMk id="7" creationId="{C210E1AC-C10D-4071-AF19-94F4A9176715}"/>
          </ac:graphicFrameMkLst>
        </pc:graphicFrameChg>
      </pc:sldChg>
      <pc:sldChg chg="addSp modSp add mod modAnim">
        <pc:chgData name="Renata Festa" userId="6f22df47-533b-4c2a-a3c1-7f9ad1d63e10" providerId="ADAL" clId="{09EBC500-CCD1-4D38-83DD-0D27B16FD925}" dt="2020-03-30T11:04:37.643" v="1276" actId="1076"/>
        <pc:sldMkLst>
          <pc:docMk/>
          <pc:sldMk cId="2280637435" sldId="678"/>
        </pc:sldMkLst>
        <pc:spChg chg="mod">
          <ac:chgData name="Renata Festa" userId="6f22df47-533b-4c2a-a3c1-7f9ad1d63e10" providerId="ADAL" clId="{09EBC500-CCD1-4D38-83DD-0D27B16FD925}" dt="2020-03-30T11:02:35.982" v="1241"/>
          <ac:spMkLst>
            <pc:docMk/>
            <pc:sldMk cId="2280637435" sldId="678"/>
            <ac:spMk id="2" creationId="{F6CA3541-C1A0-408D-BF0A-D3C4B8F568EA}"/>
          </ac:spMkLst>
        </pc:spChg>
        <pc:spChg chg="add mod">
          <ac:chgData name="Renata Festa" userId="6f22df47-533b-4c2a-a3c1-7f9ad1d63e10" providerId="ADAL" clId="{09EBC500-CCD1-4D38-83DD-0D27B16FD925}" dt="2020-03-30T11:04:37.643" v="1276" actId="1076"/>
          <ac:spMkLst>
            <pc:docMk/>
            <pc:sldMk cId="2280637435" sldId="678"/>
            <ac:spMk id="5" creationId="{9882B8FC-ED7A-44A0-9036-4D4442371BB5}"/>
          </ac:spMkLst>
        </pc:spChg>
        <pc:graphicFrameChg chg="add mod">
          <ac:chgData name="Renata Festa" userId="6f22df47-533b-4c2a-a3c1-7f9ad1d63e10" providerId="ADAL" clId="{09EBC500-CCD1-4D38-83DD-0D27B16FD925}" dt="2020-03-30T11:04:26.465" v="1275"/>
          <ac:graphicFrameMkLst>
            <pc:docMk/>
            <pc:sldMk cId="2280637435" sldId="678"/>
            <ac:graphicFrameMk id="4" creationId="{DC251EBB-1595-48D1-B124-A44C260C859C}"/>
          </ac:graphicFrameMkLst>
        </pc:graphicFrameChg>
      </pc:sldChg>
      <pc:sldChg chg="add del">
        <pc:chgData name="Renata Festa" userId="6f22df47-533b-4c2a-a3c1-7f9ad1d63e10" providerId="ADAL" clId="{09EBC500-CCD1-4D38-83DD-0D27B16FD925}" dt="2020-03-30T11:04:47.986" v="1277" actId="47"/>
        <pc:sldMkLst>
          <pc:docMk/>
          <pc:sldMk cId="327766396" sldId="679"/>
        </pc:sldMkLst>
      </pc:sldChg>
      <pc:sldChg chg="addSp modSp add mod modShow">
        <pc:chgData name="Renata Festa" userId="6f22df47-533b-4c2a-a3c1-7f9ad1d63e10" providerId="ADAL" clId="{09EBC500-CCD1-4D38-83DD-0D27B16FD925}" dt="2020-03-30T11:06:10.308" v="1301" actId="729"/>
        <pc:sldMkLst>
          <pc:docMk/>
          <pc:sldMk cId="1498292930" sldId="679"/>
        </pc:sldMkLst>
        <pc:spChg chg="mod">
          <ac:chgData name="Renata Festa" userId="6f22df47-533b-4c2a-a3c1-7f9ad1d63e10" providerId="ADAL" clId="{09EBC500-CCD1-4D38-83DD-0D27B16FD925}" dt="2020-03-30T11:05:56.205" v="1298"/>
          <ac:spMkLst>
            <pc:docMk/>
            <pc:sldMk cId="1498292930" sldId="679"/>
            <ac:spMk id="2" creationId="{7DE217A0-6D7A-41EE-B773-70C5835DA4F7}"/>
          </ac:spMkLst>
        </pc:spChg>
        <pc:spChg chg="add mod">
          <ac:chgData name="Renata Festa" userId="6f22df47-533b-4c2a-a3c1-7f9ad1d63e10" providerId="ADAL" clId="{09EBC500-CCD1-4D38-83DD-0D27B16FD925}" dt="2020-03-30T11:06:05.796" v="1300" actId="1076"/>
          <ac:spMkLst>
            <pc:docMk/>
            <pc:sldMk cId="1498292930" sldId="679"/>
            <ac:spMk id="4" creationId="{22CC26F8-6EC2-4203-812D-B9C1BC431CC2}"/>
          </ac:spMkLst>
        </pc:spChg>
        <pc:spChg chg="add mod">
          <ac:chgData name="Renata Festa" userId="6f22df47-533b-4c2a-a3c1-7f9ad1d63e10" providerId="ADAL" clId="{09EBC500-CCD1-4D38-83DD-0D27B16FD925}" dt="2020-03-30T11:06:05.796" v="1300" actId="1076"/>
          <ac:spMkLst>
            <pc:docMk/>
            <pc:sldMk cId="1498292930" sldId="679"/>
            <ac:spMk id="5" creationId="{E1054237-9A98-4940-AC5D-46CC06508651}"/>
          </ac:spMkLst>
        </pc:spChg>
        <pc:grpChg chg="add mod">
          <ac:chgData name="Renata Festa" userId="6f22df47-533b-4c2a-a3c1-7f9ad1d63e10" providerId="ADAL" clId="{09EBC500-CCD1-4D38-83DD-0D27B16FD925}" dt="2020-03-30T11:06:05.796" v="1300" actId="1076"/>
          <ac:grpSpMkLst>
            <pc:docMk/>
            <pc:sldMk cId="1498292930" sldId="679"/>
            <ac:grpSpMk id="7" creationId="{395FE7EC-6CE3-45E2-9B6F-B538A078DF12}"/>
          </ac:grpSpMkLst>
        </pc:grpChg>
        <pc:grpChg chg="mod">
          <ac:chgData name="Renata Festa" userId="6f22df47-533b-4c2a-a3c1-7f9ad1d63e10" providerId="ADAL" clId="{09EBC500-CCD1-4D38-83DD-0D27B16FD925}" dt="2020-03-30T11:06:05.796" v="1300" actId="1076"/>
          <ac:grpSpMkLst>
            <pc:docMk/>
            <pc:sldMk cId="1498292930" sldId="679"/>
            <ac:grpSpMk id="8" creationId="{EF9EF3D0-D86D-4DDA-BB10-109A49274F8F}"/>
          </ac:grpSpMkLst>
        </pc:grpChg>
        <pc:grpChg chg="mod">
          <ac:chgData name="Renata Festa" userId="6f22df47-533b-4c2a-a3c1-7f9ad1d63e10" providerId="ADAL" clId="{09EBC500-CCD1-4D38-83DD-0D27B16FD925}" dt="2020-03-30T11:06:05.796" v="1300" actId="1076"/>
          <ac:grpSpMkLst>
            <pc:docMk/>
            <pc:sldMk cId="1498292930" sldId="679"/>
            <ac:grpSpMk id="9" creationId="{ACFD4E5F-BB27-4756-9632-50668CB1D0CD}"/>
          </ac:grpSpMkLst>
        </pc:grpChg>
        <pc:grpChg chg="add mod">
          <ac:chgData name="Renata Festa" userId="6f22df47-533b-4c2a-a3c1-7f9ad1d63e10" providerId="ADAL" clId="{09EBC500-CCD1-4D38-83DD-0D27B16FD925}" dt="2020-03-30T11:06:05.796" v="1300" actId="1076"/>
          <ac:grpSpMkLst>
            <pc:docMk/>
            <pc:sldMk cId="1498292930" sldId="679"/>
            <ac:grpSpMk id="14" creationId="{26CB3366-07FE-4597-8583-387146F2EB04}"/>
          </ac:grpSpMkLst>
        </pc:grpChg>
        <pc:grpChg chg="mod">
          <ac:chgData name="Renata Festa" userId="6f22df47-533b-4c2a-a3c1-7f9ad1d63e10" providerId="ADAL" clId="{09EBC500-CCD1-4D38-83DD-0D27B16FD925}" dt="2020-03-30T11:06:05.796" v="1300" actId="1076"/>
          <ac:grpSpMkLst>
            <pc:docMk/>
            <pc:sldMk cId="1498292930" sldId="679"/>
            <ac:grpSpMk id="16" creationId="{32F09493-A9E6-45DC-A73C-FFAB78188AD6}"/>
          </ac:grpSpMkLst>
        </pc:grpChg>
        <pc:grpChg chg="mod">
          <ac:chgData name="Renata Festa" userId="6f22df47-533b-4c2a-a3c1-7f9ad1d63e10" providerId="ADAL" clId="{09EBC500-CCD1-4D38-83DD-0D27B16FD925}" dt="2020-03-30T11:06:05.796" v="1300" actId="1076"/>
          <ac:grpSpMkLst>
            <pc:docMk/>
            <pc:sldMk cId="1498292930" sldId="679"/>
            <ac:grpSpMk id="17" creationId="{7BA37028-4BF2-4A8E-B1D9-A6DA140F664C}"/>
          </ac:grpSpMkLst>
        </pc:grpChg>
        <pc:graphicFrameChg chg="add mod">
          <ac:chgData name="Renata Festa" userId="6f22df47-533b-4c2a-a3c1-7f9ad1d63e10" providerId="ADAL" clId="{09EBC500-CCD1-4D38-83DD-0D27B16FD925}" dt="2020-03-30T11:06:05.796" v="1300" actId="1076"/>
          <ac:graphicFrameMkLst>
            <pc:docMk/>
            <pc:sldMk cId="1498292930" sldId="679"/>
            <ac:graphicFrameMk id="6" creationId="{4ED1C95D-D10E-4E2A-89AA-96781BEA7C78}"/>
          </ac:graphicFrameMkLst>
        </pc:graphicFrameChg>
      </pc:sldChg>
      <pc:sldChg chg="addSp modSp add mod">
        <pc:chgData name="Renata Festa" userId="6f22df47-533b-4c2a-a3c1-7f9ad1d63e10" providerId="ADAL" clId="{09EBC500-CCD1-4D38-83DD-0D27B16FD925}" dt="2020-03-30T11:07:47.367" v="1315" actId="14100"/>
        <pc:sldMkLst>
          <pc:docMk/>
          <pc:sldMk cId="945245103" sldId="680"/>
        </pc:sldMkLst>
        <pc:spChg chg="mod">
          <ac:chgData name="Renata Festa" userId="6f22df47-533b-4c2a-a3c1-7f9ad1d63e10" providerId="ADAL" clId="{09EBC500-CCD1-4D38-83DD-0D27B16FD925}" dt="2020-03-30T11:07:35.494" v="1312"/>
          <ac:spMkLst>
            <pc:docMk/>
            <pc:sldMk cId="945245103" sldId="680"/>
            <ac:spMk id="2" creationId="{629DF914-97D1-458D-A982-6715A8BFEB08}"/>
          </ac:spMkLst>
        </pc:spChg>
        <pc:spChg chg="add mod">
          <ac:chgData name="Renata Festa" userId="6f22df47-533b-4c2a-a3c1-7f9ad1d63e10" providerId="ADAL" clId="{09EBC500-CCD1-4D38-83DD-0D27B16FD925}" dt="2020-03-30T11:07:47.367" v="1315" actId="14100"/>
          <ac:spMkLst>
            <pc:docMk/>
            <pc:sldMk cId="945245103" sldId="680"/>
            <ac:spMk id="4" creationId="{9E180644-9A22-4ED0-8031-38D00D4FA64A}"/>
          </ac:spMkLst>
        </pc:spChg>
      </pc:sldChg>
      <pc:sldChg chg="addSp delSp modSp add mod modAnim">
        <pc:chgData name="Renata Festa" userId="6f22df47-533b-4c2a-a3c1-7f9ad1d63e10" providerId="ADAL" clId="{09EBC500-CCD1-4D38-83DD-0D27B16FD925}" dt="2020-03-30T11:08:27.544" v="1325"/>
        <pc:sldMkLst>
          <pc:docMk/>
          <pc:sldMk cId="2163375975" sldId="681"/>
        </pc:sldMkLst>
        <pc:spChg chg="mod">
          <ac:chgData name="Renata Festa" userId="6f22df47-533b-4c2a-a3c1-7f9ad1d63e10" providerId="ADAL" clId="{09EBC500-CCD1-4D38-83DD-0D27B16FD925}" dt="2020-03-30T11:07:54.150" v="1316"/>
          <ac:spMkLst>
            <pc:docMk/>
            <pc:sldMk cId="2163375975" sldId="681"/>
            <ac:spMk id="2" creationId="{629DF914-97D1-458D-A982-6715A8BFEB08}"/>
          </ac:spMkLst>
        </pc:spChg>
        <pc:spChg chg="del mod">
          <ac:chgData name="Renata Festa" userId="6f22df47-533b-4c2a-a3c1-7f9ad1d63e10" providerId="ADAL" clId="{09EBC500-CCD1-4D38-83DD-0D27B16FD925}" dt="2020-03-30T11:08:22.487" v="1323" actId="12084"/>
          <ac:spMkLst>
            <pc:docMk/>
            <pc:sldMk cId="2163375975" sldId="681"/>
            <ac:spMk id="3" creationId="{7B328F90-8744-49C0-9EF2-0307FC023C72}"/>
          </ac:spMkLst>
        </pc:spChg>
        <pc:spChg chg="add mod">
          <ac:chgData name="Renata Festa" userId="6f22df47-533b-4c2a-a3c1-7f9ad1d63e10" providerId="ADAL" clId="{09EBC500-CCD1-4D38-83DD-0D27B16FD925}" dt="2020-03-30T11:08:07.720" v="1318" actId="1076"/>
          <ac:spMkLst>
            <pc:docMk/>
            <pc:sldMk cId="2163375975" sldId="681"/>
            <ac:spMk id="4" creationId="{4DE037D6-53AA-43DB-A301-E0A8762DDD4F}"/>
          </ac:spMkLst>
        </pc:spChg>
        <pc:spChg chg="add mod">
          <ac:chgData name="Renata Festa" userId="6f22df47-533b-4c2a-a3c1-7f9ad1d63e10" providerId="ADAL" clId="{09EBC500-CCD1-4D38-83DD-0D27B16FD925}" dt="2020-03-30T11:08:07.720" v="1318" actId="1076"/>
          <ac:spMkLst>
            <pc:docMk/>
            <pc:sldMk cId="2163375975" sldId="681"/>
            <ac:spMk id="5" creationId="{6E5DC0B9-1D82-495C-81DD-D6B44DDF79CC}"/>
          </ac:spMkLst>
        </pc:spChg>
        <pc:spChg chg="add mod">
          <ac:chgData name="Renata Festa" userId="6f22df47-533b-4c2a-a3c1-7f9ad1d63e10" providerId="ADAL" clId="{09EBC500-CCD1-4D38-83DD-0D27B16FD925}" dt="2020-03-30T11:08:07.720" v="1318" actId="1076"/>
          <ac:spMkLst>
            <pc:docMk/>
            <pc:sldMk cId="2163375975" sldId="681"/>
            <ac:spMk id="6" creationId="{0AE828F6-144F-494C-A8B5-9A2D05120439}"/>
          </ac:spMkLst>
        </pc:spChg>
        <pc:spChg chg="add mod">
          <ac:chgData name="Renata Festa" userId="6f22df47-533b-4c2a-a3c1-7f9ad1d63e10" providerId="ADAL" clId="{09EBC500-CCD1-4D38-83DD-0D27B16FD925}" dt="2020-03-30T11:08:07.720" v="1318" actId="1076"/>
          <ac:spMkLst>
            <pc:docMk/>
            <pc:sldMk cId="2163375975" sldId="681"/>
            <ac:spMk id="7" creationId="{4E57DA36-A6A8-4E72-A532-E7CDCCE38D36}"/>
          </ac:spMkLst>
        </pc:spChg>
        <pc:spChg chg="add mod">
          <ac:chgData name="Renata Festa" userId="6f22df47-533b-4c2a-a3c1-7f9ad1d63e10" providerId="ADAL" clId="{09EBC500-CCD1-4D38-83DD-0D27B16FD925}" dt="2020-03-30T11:08:07.720" v="1318" actId="1076"/>
          <ac:spMkLst>
            <pc:docMk/>
            <pc:sldMk cId="2163375975" sldId="681"/>
            <ac:spMk id="8" creationId="{2FE6CD69-BF66-4379-8704-AF13CFD0954F}"/>
          </ac:spMkLst>
        </pc:spChg>
        <pc:spChg chg="add mod">
          <ac:chgData name="Renata Festa" userId="6f22df47-533b-4c2a-a3c1-7f9ad1d63e10" providerId="ADAL" clId="{09EBC500-CCD1-4D38-83DD-0D27B16FD925}" dt="2020-03-30T11:08:07.720" v="1318" actId="1076"/>
          <ac:spMkLst>
            <pc:docMk/>
            <pc:sldMk cId="2163375975" sldId="681"/>
            <ac:spMk id="15" creationId="{2B559BEB-483F-4E14-A586-692D9BD6652E}"/>
          </ac:spMkLst>
        </pc:spChg>
        <pc:grpChg chg="add mod">
          <ac:chgData name="Renata Festa" userId="6f22df47-533b-4c2a-a3c1-7f9ad1d63e10" providerId="ADAL" clId="{09EBC500-CCD1-4D38-83DD-0D27B16FD925}" dt="2020-03-30T11:08:07.720" v="1318" actId="1076"/>
          <ac:grpSpMkLst>
            <pc:docMk/>
            <pc:sldMk cId="2163375975" sldId="681"/>
            <ac:grpSpMk id="12" creationId="{49023015-FF75-4884-B49A-ACE1636624A6}"/>
          </ac:grpSpMkLst>
        </pc:grpChg>
        <pc:grpChg chg="add mod">
          <ac:chgData name="Renata Festa" userId="6f22df47-533b-4c2a-a3c1-7f9ad1d63e10" providerId="ADAL" clId="{09EBC500-CCD1-4D38-83DD-0D27B16FD925}" dt="2020-03-30T11:08:07.720" v="1318" actId="1076"/>
          <ac:grpSpMkLst>
            <pc:docMk/>
            <pc:sldMk cId="2163375975" sldId="681"/>
            <ac:grpSpMk id="16" creationId="{84826970-9BA4-4A74-8B62-1ADFFBFA7689}"/>
          </ac:grpSpMkLst>
        </pc:grpChg>
        <pc:grpChg chg="add mod">
          <ac:chgData name="Renata Festa" userId="6f22df47-533b-4c2a-a3c1-7f9ad1d63e10" providerId="ADAL" clId="{09EBC500-CCD1-4D38-83DD-0D27B16FD925}" dt="2020-03-30T11:08:07.720" v="1318" actId="1076"/>
          <ac:grpSpMkLst>
            <pc:docMk/>
            <pc:sldMk cId="2163375975" sldId="681"/>
            <ac:grpSpMk id="19" creationId="{0A0132A9-3160-429C-B0B2-64BDA6B19E1C}"/>
          </ac:grpSpMkLst>
        </pc:grpChg>
        <pc:graphicFrameChg chg="add mod">
          <ac:chgData name="Renata Festa" userId="6f22df47-533b-4c2a-a3c1-7f9ad1d63e10" providerId="ADAL" clId="{09EBC500-CCD1-4D38-83DD-0D27B16FD925}" dt="2020-03-30T11:08:22.487" v="1323" actId="12084"/>
          <ac:graphicFrameMkLst>
            <pc:docMk/>
            <pc:sldMk cId="2163375975" sldId="681"/>
            <ac:graphicFrameMk id="22" creationId="{C16D302B-0DC3-4AE3-8D99-CBE24EAD0F2A}"/>
          </ac:graphicFrameMkLst>
        </pc:graphicFrameChg>
        <pc:cxnChg chg="add mod">
          <ac:chgData name="Renata Festa" userId="6f22df47-533b-4c2a-a3c1-7f9ad1d63e10" providerId="ADAL" clId="{09EBC500-CCD1-4D38-83DD-0D27B16FD925}" dt="2020-03-30T11:08:07.720" v="1318" actId="1076"/>
          <ac:cxnSpMkLst>
            <pc:docMk/>
            <pc:sldMk cId="2163375975" sldId="681"/>
            <ac:cxnSpMk id="9" creationId="{55FAFEB2-E728-4255-B1EA-DB451CA186DC}"/>
          </ac:cxnSpMkLst>
        </pc:cxnChg>
        <pc:cxnChg chg="add mod">
          <ac:chgData name="Renata Festa" userId="6f22df47-533b-4c2a-a3c1-7f9ad1d63e10" providerId="ADAL" clId="{09EBC500-CCD1-4D38-83DD-0D27B16FD925}" dt="2020-03-30T11:08:07.720" v="1318" actId="1076"/>
          <ac:cxnSpMkLst>
            <pc:docMk/>
            <pc:sldMk cId="2163375975" sldId="681"/>
            <ac:cxnSpMk id="10" creationId="{7E9657CF-0434-431D-B32D-DBC9228818AB}"/>
          </ac:cxnSpMkLst>
        </pc:cxnChg>
        <pc:cxnChg chg="add mod">
          <ac:chgData name="Renata Festa" userId="6f22df47-533b-4c2a-a3c1-7f9ad1d63e10" providerId="ADAL" clId="{09EBC500-CCD1-4D38-83DD-0D27B16FD925}" dt="2020-03-30T11:08:07.720" v="1318" actId="1076"/>
          <ac:cxnSpMkLst>
            <pc:docMk/>
            <pc:sldMk cId="2163375975" sldId="681"/>
            <ac:cxnSpMk id="11" creationId="{D44A6D69-E861-4E63-A431-D3FF5221A117}"/>
          </ac:cxnSpMkLst>
        </pc:cxnChg>
      </pc:sldChg>
      <pc:sldChg chg="addSp delSp modSp add mod modAnim">
        <pc:chgData name="Renata Festa" userId="6f22df47-533b-4c2a-a3c1-7f9ad1d63e10" providerId="ADAL" clId="{09EBC500-CCD1-4D38-83DD-0D27B16FD925}" dt="2020-03-30T11:17:09.151" v="1398"/>
        <pc:sldMkLst>
          <pc:docMk/>
          <pc:sldMk cId="3232543981" sldId="682"/>
        </pc:sldMkLst>
        <pc:spChg chg="mod">
          <ac:chgData name="Renata Festa" userId="6f22df47-533b-4c2a-a3c1-7f9ad1d63e10" providerId="ADAL" clId="{09EBC500-CCD1-4D38-83DD-0D27B16FD925}" dt="2020-03-30T11:08:44.315" v="1327" actId="20577"/>
          <ac:spMkLst>
            <pc:docMk/>
            <pc:sldMk cId="3232543981" sldId="682"/>
            <ac:spMk id="2" creationId="{629DF914-97D1-458D-A982-6715A8BFEB08}"/>
          </ac:spMkLst>
        </pc:spChg>
        <pc:spChg chg="del mod">
          <ac:chgData name="Renata Festa" userId="6f22df47-533b-4c2a-a3c1-7f9ad1d63e10" providerId="ADAL" clId="{09EBC500-CCD1-4D38-83DD-0D27B16FD925}" dt="2020-03-30T11:09:19.735" v="1334" actId="12084"/>
          <ac:spMkLst>
            <pc:docMk/>
            <pc:sldMk cId="3232543981" sldId="682"/>
            <ac:spMk id="3" creationId="{7B328F90-8744-49C0-9EF2-0307FC023C72}"/>
          </ac:spMkLst>
        </pc:spChg>
        <pc:spChg chg="add mod">
          <ac:chgData name="Renata Festa" userId="6f22df47-533b-4c2a-a3c1-7f9ad1d63e10" providerId="ADAL" clId="{09EBC500-CCD1-4D38-83DD-0D27B16FD925}" dt="2020-03-30T11:10:23.050" v="1347" actId="1076"/>
          <ac:spMkLst>
            <pc:docMk/>
            <pc:sldMk cId="3232543981" sldId="682"/>
            <ac:spMk id="5" creationId="{EC4332F8-F0CD-4D24-9F36-A618FAFFA20E}"/>
          </ac:spMkLst>
        </pc:spChg>
        <pc:spChg chg="add mod">
          <ac:chgData name="Renata Festa" userId="6f22df47-533b-4c2a-a3c1-7f9ad1d63e10" providerId="ADAL" clId="{09EBC500-CCD1-4D38-83DD-0D27B16FD925}" dt="2020-03-30T11:11:16.882" v="1354" actId="14100"/>
          <ac:spMkLst>
            <pc:docMk/>
            <pc:sldMk cId="3232543981" sldId="682"/>
            <ac:spMk id="12" creationId="{2150C62C-A8C6-422D-A5A2-8DD27FEB3F00}"/>
          </ac:spMkLst>
        </pc:spChg>
        <pc:spChg chg="add del mod">
          <ac:chgData name="Renata Festa" userId="6f22df47-533b-4c2a-a3c1-7f9ad1d63e10" providerId="ADAL" clId="{09EBC500-CCD1-4D38-83DD-0D27B16FD925}" dt="2020-03-30T11:11:56.952" v="1356" actId="11529"/>
          <ac:spMkLst>
            <pc:docMk/>
            <pc:sldMk cId="3232543981" sldId="682"/>
            <ac:spMk id="13" creationId="{D3523A9E-2409-41A4-90D9-0443A5671BBF}"/>
          </ac:spMkLst>
        </pc:spChg>
        <pc:spChg chg="add mod">
          <ac:chgData name="Renata Festa" userId="6f22df47-533b-4c2a-a3c1-7f9ad1d63e10" providerId="ADAL" clId="{09EBC500-CCD1-4D38-83DD-0D27B16FD925}" dt="2020-03-30T11:12:38.834" v="1363" actId="1582"/>
          <ac:spMkLst>
            <pc:docMk/>
            <pc:sldMk cId="3232543981" sldId="682"/>
            <ac:spMk id="14" creationId="{9307E407-E91A-41BB-AAF5-1E587D118F68}"/>
          </ac:spMkLst>
        </pc:spChg>
        <pc:spChg chg="add mod">
          <ac:chgData name="Renata Festa" userId="6f22df47-533b-4c2a-a3c1-7f9ad1d63e10" providerId="ADAL" clId="{09EBC500-CCD1-4D38-83DD-0D27B16FD925}" dt="2020-03-30T11:12:50.127" v="1366" actId="14100"/>
          <ac:spMkLst>
            <pc:docMk/>
            <pc:sldMk cId="3232543981" sldId="682"/>
            <ac:spMk id="15" creationId="{8D59CC7F-EC15-468C-8F0A-2B7DF81B0578}"/>
          </ac:spMkLst>
        </pc:spChg>
        <pc:spChg chg="add mod">
          <ac:chgData name="Renata Festa" userId="6f22df47-533b-4c2a-a3c1-7f9ad1d63e10" providerId="ADAL" clId="{09EBC500-CCD1-4D38-83DD-0D27B16FD925}" dt="2020-03-30T11:12:59.369" v="1369" actId="14100"/>
          <ac:spMkLst>
            <pc:docMk/>
            <pc:sldMk cId="3232543981" sldId="682"/>
            <ac:spMk id="16" creationId="{4F784398-4811-4CAD-A489-11D98A8DB181}"/>
          </ac:spMkLst>
        </pc:spChg>
        <pc:graphicFrameChg chg="add mod">
          <ac:chgData name="Renata Festa" userId="6f22df47-533b-4c2a-a3c1-7f9ad1d63e10" providerId="ADAL" clId="{09EBC500-CCD1-4D38-83DD-0D27B16FD925}" dt="2020-03-30T11:11:05.755" v="1352" actId="14100"/>
          <ac:graphicFrameMkLst>
            <pc:docMk/>
            <pc:sldMk cId="3232543981" sldId="682"/>
            <ac:graphicFrameMk id="4" creationId="{5603810B-1085-41C6-98EE-218D26B15C30}"/>
          </ac:graphicFrameMkLst>
        </pc:graphicFrameChg>
        <pc:cxnChg chg="add mod">
          <ac:chgData name="Renata Festa" userId="6f22df47-533b-4c2a-a3c1-7f9ad1d63e10" providerId="ADAL" clId="{09EBC500-CCD1-4D38-83DD-0D27B16FD925}" dt="2020-03-30T11:10:25.987" v="1348" actId="14100"/>
          <ac:cxnSpMkLst>
            <pc:docMk/>
            <pc:sldMk cId="3232543981" sldId="682"/>
            <ac:cxnSpMk id="6" creationId="{D22D8E4B-C9CB-4A3F-B8CA-B1A325FE11D7}"/>
          </ac:cxnSpMkLst>
        </pc:cxnChg>
      </pc:sldChg>
      <pc:sldChg chg="add del">
        <pc:chgData name="Renata Festa" userId="6f22df47-533b-4c2a-a3c1-7f9ad1d63e10" providerId="ADAL" clId="{09EBC500-CCD1-4D38-83DD-0D27B16FD925}" dt="2020-03-30T11:17:35.821" v="1399" actId="47"/>
        <pc:sldMkLst>
          <pc:docMk/>
          <pc:sldMk cId="3363758145" sldId="683"/>
        </pc:sldMkLst>
      </pc:sldChg>
      <pc:sldChg chg="addSp modSp add mod">
        <pc:chgData name="Renata Festa" userId="6f22df47-533b-4c2a-a3c1-7f9ad1d63e10" providerId="ADAL" clId="{09EBC500-CCD1-4D38-83DD-0D27B16FD925}" dt="2020-03-30T11:19:22.611" v="1425" actId="14100"/>
        <pc:sldMkLst>
          <pc:docMk/>
          <pc:sldMk cId="3860894323" sldId="683"/>
        </pc:sldMkLst>
        <pc:spChg chg="mod">
          <ac:chgData name="Renata Festa" userId="6f22df47-533b-4c2a-a3c1-7f9ad1d63e10" providerId="ADAL" clId="{09EBC500-CCD1-4D38-83DD-0D27B16FD925}" dt="2020-03-30T11:19:12.370" v="1421"/>
          <ac:spMkLst>
            <pc:docMk/>
            <pc:sldMk cId="3860894323" sldId="683"/>
            <ac:spMk id="2" creationId="{7FB194EE-3079-428F-A093-44286B74B545}"/>
          </ac:spMkLst>
        </pc:spChg>
        <pc:spChg chg="add mod">
          <ac:chgData name="Renata Festa" userId="6f22df47-533b-4c2a-a3c1-7f9ad1d63e10" providerId="ADAL" clId="{09EBC500-CCD1-4D38-83DD-0D27B16FD925}" dt="2020-03-30T11:19:22.611" v="1425" actId="14100"/>
          <ac:spMkLst>
            <pc:docMk/>
            <pc:sldMk cId="3860894323" sldId="683"/>
            <ac:spMk id="4" creationId="{E89ECA3B-5B2D-4F02-AA58-229543C3DB12}"/>
          </ac:spMkLst>
        </pc:spChg>
      </pc:sldChg>
      <pc:sldChg chg="addSp modSp add mod modAnim">
        <pc:chgData name="Renata Festa" userId="6f22df47-533b-4c2a-a3c1-7f9ad1d63e10" providerId="ADAL" clId="{09EBC500-CCD1-4D38-83DD-0D27B16FD925}" dt="2020-03-30T11:23:37.340" v="1472"/>
        <pc:sldMkLst>
          <pc:docMk/>
          <pc:sldMk cId="3926643301" sldId="684"/>
        </pc:sldMkLst>
        <pc:spChg chg="mod">
          <ac:chgData name="Renata Festa" userId="6f22df47-533b-4c2a-a3c1-7f9ad1d63e10" providerId="ADAL" clId="{09EBC500-CCD1-4D38-83DD-0D27B16FD925}" dt="2020-03-30T11:23:14.856" v="1470" actId="20577"/>
          <ac:spMkLst>
            <pc:docMk/>
            <pc:sldMk cId="3926643301" sldId="684"/>
            <ac:spMk id="2" creationId="{0557C7A1-1547-4A40-B773-FE0CD1D199F3}"/>
          </ac:spMkLst>
        </pc:spChg>
        <pc:spChg chg="mod">
          <ac:chgData name="Renata Festa" userId="6f22df47-533b-4c2a-a3c1-7f9ad1d63e10" providerId="ADAL" clId="{09EBC500-CCD1-4D38-83DD-0D27B16FD925}" dt="2020-03-30T11:21:26.198" v="1448" actId="1035"/>
          <ac:spMkLst>
            <pc:docMk/>
            <pc:sldMk cId="3926643301" sldId="684"/>
            <ac:spMk id="3" creationId="{C13E9F48-194B-40DE-9289-3EAEC60E4D8C}"/>
          </ac:spMkLst>
        </pc:spChg>
        <pc:spChg chg="add mod">
          <ac:chgData name="Renata Festa" userId="6f22df47-533b-4c2a-a3c1-7f9ad1d63e10" providerId="ADAL" clId="{09EBC500-CCD1-4D38-83DD-0D27B16FD925}" dt="2020-03-30T11:21:33.993" v="1458" actId="1038"/>
          <ac:spMkLst>
            <pc:docMk/>
            <pc:sldMk cId="3926643301" sldId="684"/>
            <ac:spMk id="5" creationId="{9ECC95CC-AD82-4D69-9FD4-92BA118F725A}"/>
          </ac:spMkLst>
        </pc:spChg>
        <pc:spChg chg="add mod">
          <ac:chgData name="Renata Festa" userId="6f22df47-533b-4c2a-a3c1-7f9ad1d63e10" providerId="ADAL" clId="{09EBC500-CCD1-4D38-83DD-0D27B16FD925}" dt="2020-03-30T11:21:33.993" v="1458" actId="1038"/>
          <ac:spMkLst>
            <pc:docMk/>
            <pc:sldMk cId="3926643301" sldId="684"/>
            <ac:spMk id="6" creationId="{79276B74-4E71-4825-B73E-9628CAD1C2AA}"/>
          </ac:spMkLst>
        </pc:spChg>
        <pc:spChg chg="mod">
          <ac:chgData name="Renata Festa" userId="6f22df47-533b-4c2a-a3c1-7f9ad1d63e10" providerId="ADAL" clId="{09EBC500-CCD1-4D38-83DD-0D27B16FD925}" dt="2020-03-30T11:23:10.658" v="1469" actId="1076"/>
          <ac:spMkLst>
            <pc:docMk/>
            <pc:sldMk cId="3926643301" sldId="684"/>
            <ac:spMk id="9" creationId="{C2BB39D3-1FD3-498A-B2B3-91E60A87FB12}"/>
          </ac:spMkLst>
        </pc:spChg>
        <pc:spChg chg="mod">
          <ac:chgData name="Renata Festa" userId="6f22df47-533b-4c2a-a3c1-7f9ad1d63e10" providerId="ADAL" clId="{09EBC500-CCD1-4D38-83DD-0D27B16FD925}" dt="2020-03-30T11:23:04.387" v="1467" actId="1076"/>
          <ac:spMkLst>
            <pc:docMk/>
            <pc:sldMk cId="3926643301" sldId="684"/>
            <ac:spMk id="10" creationId="{F95EF591-A6DF-45C5-9EF1-3149BC87DDB5}"/>
          </ac:spMkLst>
        </pc:spChg>
        <pc:spChg chg="add mod">
          <ac:chgData name="Renata Festa" userId="6f22df47-533b-4c2a-a3c1-7f9ad1d63e10" providerId="ADAL" clId="{09EBC500-CCD1-4D38-83DD-0D27B16FD925}" dt="2020-03-30T11:21:15.408" v="1442" actId="14100"/>
          <ac:spMkLst>
            <pc:docMk/>
            <pc:sldMk cId="3926643301" sldId="684"/>
            <ac:spMk id="12" creationId="{926AB338-0463-4013-BC89-1384C6B54B38}"/>
          </ac:spMkLst>
        </pc:spChg>
        <pc:spChg chg="add mod">
          <ac:chgData name="Renata Festa" userId="6f22df47-533b-4c2a-a3c1-7f9ad1d63e10" providerId="ADAL" clId="{09EBC500-CCD1-4D38-83DD-0D27B16FD925}" dt="2020-03-30T11:21:33.993" v="1458" actId="1038"/>
          <ac:spMkLst>
            <pc:docMk/>
            <pc:sldMk cId="3926643301" sldId="684"/>
            <ac:spMk id="21" creationId="{D3F3FD56-4AE9-4A32-9D1C-A6FB7C10B6BA}"/>
          </ac:spMkLst>
        </pc:spChg>
        <pc:spChg chg="add mod">
          <ac:chgData name="Renata Festa" userId="6f22df47-533b-4c2a-a3c1-7f9ad1d63e10" providerId="ADAL" clId="{09EBC500-CCD1-4D38-83DD-0D27B16FD925}" dt="2020-03-30T11:21:33.993" v="1458" actId="1038"/>
          <ac:spMkLst>
            <pc:docMk/>
            <pc:sldMk cId="3926643301" sldId="684"/>
            <ac:spMk id="34" creationId="{8A00E0A3-5687-4C94-AE8B-B8E32B33B5A9}"/>
          </ac:spMkLst>
        </pc:spChg>
        <pc:grpChg chg="add mod">
          <ac:chgData name="Renata Festa" userId="6f22df47-533b-4c2a-a3c1-7f9ad1d63e10" providerId="ADAL" clId="{09EBC500-CCD1-4D38-83DD-0D27B16FD925}" dt="2020-03-30T11:21:33.993" v="1458" actId="1038"/>
          <ac:grpSpMkLst>
            <pc:docMk/>
            <pc:sldMk cId="3926643301" sldId="684"/>
            <ac:grpSpMk id="7" creationId="{8BDCD466-6247-45DD-8679-53E2E535BCC4}"/>
          </ac:grpSpMkLst>
        </pc:grpChg>
        <pc:grpChg chg="add mod">
          <ac:chgData name="Renata Festa" userId="6f22df47-533b-4c2a-a3c1-7f9ad1d63e10" providerId="ADAL" clId="{09EBC500-CCD1-4D38-83DD-0D27B16FD925}" dt="2020-03-30T11:21:33.993" v="1458" actId="1038"/>
          <ac:grpSpMkLst>
            <pc:docMk/>
            <pc:sldMk cId="3926643301" sldId="684"/>
            <ac:grpSpMk id="13" creationId="{E10E556F-5F72-494F-9C51-D4F31B35457F}"/>
          </ac:grpSpMkLst>
        </pc:grpChg>
        <pc:grpChg chg="mod">
          <ac:chgData name="Renata Festa" userId="6f22df47-533b-4c2a-a3c1-7f9ad1d63e10" providerId="ADAL" clId="{09EBC500-CCD1-4D38-83DD-0D27B16FD925}" dt="2020-03-30T11:21:33.993" v="1458" actId="1038"/>
          <ac:grpSpMkLst>
            <pc:docMk/>
            <pc:sldMk cId="3926643301" sldId="684"/>
            <ac:grpSpMk id="14" creationId="{01835A8C-095A-472E-A669-FBF3F2E98816}"/>
          </ac:grpSpMkLst>
        </pc:grpChg>
        <pc:grpChg chg="mod">
          <ac:chgData name="Renata Festa" userId="6f22df47-533b-4c2a-a3c1-7f9ad1d63e10" providerId="ADAL" clId="{09EBC500-CCD1-4D38-83DD-0D27B16FD925}" dt="2020-03-30T11:21:33.993" v="1458" actId="1038"/>
          <ac:grpSpMkLst>
            <pc:docMk/>
            <pc:sldMk cId="3926643301" sldId="684"/>
            <ac:grpSpMk id="16" creationId="{8A4031D2-78D2-4B2E-9DE3-F6A9387A95D7}"/>
          </ac:grpSpMkLst>
        </pc:grpChg>
        <pc:grpChg chg="add mod">
          <ac:chgData name="Renata Festa" userId="6f22df47-533b-4c2a-a3c1-7f9ad1d63e10" providerId="ADAL" clId="{09EBC500-CCD1-4D38-83DD-0D27B16FD925}" dt="2020-03-30T11:21:33.993" v="1458" actId="1038"/>
          <ac:grpSpMkLst>
            <pc:docMk/>
            <pc:sldMk cId="3926643301" sldId="684"/>
            <ac:grpSpMk id="23" creationId="{7445D131-9164-4A1C-BB94-D039DBD5AB08}"/>
          </ac:grpSpMkLst>
        </pc:grpChg>
        <pc:grpChg chg="mod">
          <ac:chgData name="Renata Festa" userId="6f22df47-533b-4c2a-a3c1-7f9ad1d63e10" providerId="ADAL" clId="{09EBC500-CCD1-4D38-83DD-0D27B16FD925}" dt="2020-03-30T11:21:33.993" v="1458" actId="1038"/>
          <ac:grpSpMkLst>
            <pc:docMk/>
            <pc:sldMk cId="3926643301" sldId="684"/>
            <ac:grpSpMk id="24" creationId="{04CBEDDF-06D2-4374-91B1-3EAFE28F80AF}"/>
          </ac:grpSpMkLst>
        </pc:grpChg>
        <pc:grpChg chg="mod">
          <ac:chgData name="Renata Festa" userId="6f22df47-533b-4c2a-a3c1-7f9ad1d63e10" providerId="ADAL" clId="{09EBC500-CCD1-4D38-83DD-0D27B16FD925}" dt="2020-03-30T11:21:33.993" v="1458" actId="1038"/>
          <ac:grpSpMkLst>
            <pc:docMk/>
            <pc:sldMk cId="3926643301" sldId="684"/>
            <ac:grpSpMk id="25" creationId="{5198E95C-562D-411B-8E61-9720E3528548}"/>
          </ac:grpSpMkLst>
        </pc:grpChg>
        <pc:grpChg chg="mod">
          <ac:chgData name="Renata Festa" userId="6f22df47-533b-4c2a-a3c1-7f9ad1d63e10" providerId="ADAL" clId="{09EBC500-CCD1-4D38-83DD-0D27B16FD925}" dt="2020-03-30T11:21:33.993" v="1458" actId="1038"/>
          <ac:grpSpMkLst>
            <pc:docMk/>
            <pc:sldMk cId="3926643301" sldId="684"/>
            <ac:grpSpMk id="26" creationId="{11464112-7E74-4074-A2A6-76C6958C8E58}"/>
          </ac:grpSpMkLst>
        </pc:grpChg>
        <pc:picChg chg="mod">
          <ac:chgData name="Renata Festa" userId="6f22df47-533b-4c2a-a3c1-7f9ad1d63e10" providerId="ADAL" clId="{09EBC500-CCD1-4D38-83DD-0D27B16FD925}" dt="2020-03-30T11:23:07.030" v="1468" actId="1076"/>
          <ac:picMkLst>
            <pc:docMk/>
            <pc:sldMk cId="3926643301" sldId="684"/>
            <ac:picMk id="8" creationId="{9A6DD4B8-FD1C-46CB-BBCD-168F9FEA3D84}"/>
          </ac:picMkLst>
        </pc:picChg>
        <pc:cxnChg chg="add mod">
          <ac:chgData name="Renata Festa" userId="6f22df47-533b-4c2a-a3c1-7f9ad1d63e10" providerId="ADAL" clId="{09EBC500-CCD1-4D38-83DD-0D27B16FD925}" dt="2020-03-30T11:21:33.993" v="1458" actId="1038"/>
          <ac:cxnSpMkLst>
            <pc:docMk/>
            <pc:sldMk cId="3926643301" sldId="684"/>
            <ac:cxnSpMk id="4" creationId="{8CCB7187-15CC-421C-AA18-CC14AC634160}"/>
          </ac:cxnSpMkLst>
        </pc:cxnChg>
        <pc:cxnChg chg="add mod">
          <ac:chgData name="Renata Festa" userId="6f22df47-533b-4c2a-a3c1-7f9ad1d63e10" providerId="ADAL" clId="{09EBC500-CCD1-4D38-83DD-0D27B16FD925}" dt="2020-03-30T11:21:33.993" v="1458" actId="1038"/>
          <ac:cxnSpMkLst>
            <pc:docMk/>
            <pc:sldMk cId="3926643301" sldId="684"/>
            <ac:cxnSpMk id="22" creationId="{4D3222D5-BDF0-4EB4-87B8-E6ECF539662D}"/>
          </ac:cxnSpMkLst>
        </pc:cxnChg>
      </pc:sldChg>
      <pc:sldChg chg="add del">
        <pc:chgData name="Renata Festa" userId="6f22df47-533b-4c2a-a3c1-7f9ad1d63e10" providerId="ADAL" clId="{09EBC500-CCD1-4D38-83DD-0D27B16FD925}" dt="2020-03-30T11:17:36.143" v="1400" actId="47"/>
        <pc:sldMkLst>
          <pc:docMk/>
          <pc:sldMk cId="4104391204" sldId="684"/>
        </pc:sldMkLst>
      </pc:sldChg>
      <pc:sldChg chg="add del">
        <pc:chgData name="Renata Festa" userId="6f22df47-533b-4c2a-a3c1-7f9ad1d63e10" providerId="ADAL" clId="{09EBC500-CCD1-4D38-83DD-0D27B16FD925}" dt="2020-03-30T11:24:05.835" v="1473" actId="47"/>
        <pc:sldMkLst>
          <pc:docMk/>
          <pc:sldMk cId="1946824395" sldId="685"/>
        </pc:sldMkLst>
      </pc:sldChg>
      <pc:sldChg chg="add del">
        <pc:chgData name="Renata Festa" userId="6f22df47-533b-4c2a-a3c1-7f9ad1d63e10" providerId="ADAL" clId="{09EBC500-CCD1-4D38-83DD-0D27B16FD925}" dt="2020-03-30T11:17:36.496" v="1401" actId="47"/>
        <pc:sldMkLst>
          <pc:docMk/>
          <pc:sldMk cId="3179953802" sldId="685"/>
        </pc:sldMkLst>
      </pc:sldChg>
      <pc:sldChg chg="addSp delSp modSp add mod modAnim">
        <pc:chgData name="Renata Festa" userId="6f22df47-533b-4c2a-a3c1-7f9ad1d63e10" providerId="ADAL" clId="{09EBC500-CCD1-4D38-83DD-0D27B16FD925}" dt="2020-03-30T11:25:40.963" v="1504"/>
        <pc:sldMkLst>
          <pc:docMk/>
          <pc:sldMk cId="4177029334" sldId="685"/>
        </pc:sldMkLst>
        <pc:spChg chg="mod">
          <ac:chgData name="Renata Festa" userId="6f22df47-533b-4c2a-a3c1-7f9ad1d63e10" providerId="ADAL" clId="{09EBC500-CCD1-4D38-83DD-0D27B16FD925}" dt="2020-03-30T11:25:23.076" v="1497"/>
          <ac:spMkLst>
            <pc:docMk/>
            <pc:sldMk cId="4177029334" sldId="685"/>
            <ac:spMk id="2" creationId="{3FDEAAB2-9EFA-4510-9A3E-40C95A91E02E}"/>
          </ac:spMkLst>
        </pc:spChg>
        <pc:spChg chg="del mod">
          <ac:chgData name="Renata Festa" userId="6f22df47-533b-4c2a-a3c1-7f9ad1d63e10" providerId="ADAL" clId="{09EBC500-CCD1-4D38-83DD-0D27B16FD925}" dt="2020-03-30T11:25:36.873" v="1502" actId="12084"/>
          <ac:spMkLst>
            <pc:docMk/>
            <pc:sldMk cId="4177029334" sldId="685"/>
            <ac:spMk id="3" creationId="{77249A71-4FEF-4700-8427-A758E035F07E}"/>
          </ac:spMkLst>
        </pc:spChg>
        <pc:graphicFrameChg chg="add mod">
          <ac:chgData name="Renata Festa" userId="6f22df47-533b-4c2a-a3c1-7f9ad1d63e10" providerId="ADAL" clId="{09EBC500-CCD1-4D38-83DD-0D27B16FD925}" dt="2020-03-30T11:25:36.873" v="1502" actId="12084"/>
          <ac:graphicFrameMkLst>
            <pc:docMk/>
            <pc:sldMk cId="4177029334" sldId="685"/>
            <ac:graphicFrameMk id="4" creationId="{99753E43-6FF5-4DE5-873C-C730B7CEBC31}"/>
          </ac:graphicFrameMkLst>
        </pc:graphicFrameChg>
      </pc:sldChg>
      <pc:sldChg chg="addSp modSp add modAnim">
        <pc:chgData name="Renata Festa" userId="6f22df47-533b-4c2a-a3c1-7f9ad1d63e10" providerId="ADAL" clId="{09EBC500-CCD1-4D38-83DD-0D27B16FD925}" dt="2020-03-30T11:27:03.195" v="1528"/>
        <pc:sldMkLst>
          <pc:docMk/>
          <pc:sldMk cId="2559332806" sldId="686"/>
        </pc:sldMkLst>
        <pc:spChg chg="mod">
          <ac:chgData name="Renata Festa" userId="6f22df47-533b-4c2a-a3c1-7f9ad1d63e10" providerId="ADAL" clId="{09EBC500-CCD1-4D38-83DD-0D27B16FD925}" dt="2020-03-30T11:26:33.589" v="1515" actId="1037"/>
          <ac:spMkLst>
            <pc:docMk/>
            <pc:sldMk cId="2559332806" sldId="686"/>
            <ac:spMk id="2" creationId="{3FDEAAB2-9EFA-4510-9A3E-40C95A91E02E}"/>
          </ac:spMkLst>
        </pc:spChg>
        <pc:spChg chg="mod">
          <ac:chgData name="Renata Festa" userId="6f22df47-533b-4c2a-a3c1-7f9ad1d63e10" providerId="ADAL" clId="{09EBC500-CCD1-4D38-83DD-0D27B16FD925}" dt="2020-03-30T11:26:33.589" v="1515" actId="1037"/>
          <ac:spMkLst>
            <pc:docMk/>
            <pc:sldMk cId="2559332806" sldId="686"/>
            <ac:spMk id="3" creationId="{77249A71-4FEF-4700-8427-A758E035F07E}"/>
          </ac:spMkLst>
        </pc:spChg>
        <pc:spChg chg="add mod">
          <ac:chgData name="Renata Festa" userId="6f22df47-533b-4c2a-a3c1-7f9ad1d63e10" providerId="ADAL" clId="{09EBC500-CCD1-4D38-83DD-0D27B16FD925}" dt="2020-03-30T11:26:46.310" v="1527" actId="1037"/>
          <ac:spMkLst>
            <pc:docMk/>
            <pc:sldMk cId="2559332806" sldId="686"/>
            <ac:spMk id="4" creationId="{6DA322B8-AB9F-44AC-A8CB-82541399C37F}"/>
          </ac:spMkLst>
        </pc:spChg>
        <pc:spChg chg="add mod">
          <ac:chgData name="Renata Festa" userId="6f22df47-533b-4c2a-a3c1-7f9ad1d63e10" providerId="ADAL" clId="{09EBC500-CCD1-4D38-83DD-0D27B16FD925}" dt="2020-03-30T11:26:46.310" v="1527" actId="1037"/>
          <ac:spMkLst>
            <pc:docMk/>
            <pc:sldMk cId="2559332806" sldId="686"/>
            <ac:spMk id="6" creationId="{C97C0E8F-1772-411C-BA39-7FEB56B36322}"/>
          </ac:spMkLst>
        </pc:spChg>
        <pc:spChg chg="add mod">
          <ac:chgData name="Renata Festa" userId="6f22df47-533b-4c2a-a3c1-7f9ad1d63e10" providerId="ADAL" clId="{09EBC500-CCD1-4D38-83DD-0D27B16FD925}" dt="2020-03-30T11:26:46.310" v="1527" actId="1037"/>
          <ac:spMkLst>
            <pc:docMk/>
            <pc:sldMk cId="2559332806" sldId="686"/>
            <ac:spMk id="7" creationId="{20EE9184-56B2-4169-B184-6823437FD695}"/>
          </ac:spMkLst>
        </pc:spChg>
        <pc:spChg chg="add mod">
          <ac:chgData name="Renata Festa" userId="6f22df47-533b-4c2a-a3c1-7f9ad1d63e10" providerId="ADAL" clId="{09EBC500-CCD1-4D38-83DD-0D27B16FD925}" dt="2020-03-30T11:26:46.310" v="1527" actId="1037"/>
          <ac:spMkLst>
            <pc:docMk/>
            <pc:sldMk cId="2559332806" sldId="686"/>
            <ac:spMk id="8" creationId="{EE5F416B-22D7-4D0A-90B5-6AED6E3F9D75}"/>
          </ac:spMkLst>
        </pc:spChg>
        <pc:spChg chg="add mod">
          <ac:chgData name="Renata Festa" userId="6f22df47-533b-4c2a-a3c1-7f9ad1d63e10" providerId="ADAL" clId="{09EBC500-CCD1-4D38-83DD-0D27B16FD925}" dt="2020-03-30T11:26:46.310" v="1527" actId="1037"/>
          <ac:spMkLst>
            <pc:docMk/>
            <pc:sldMk cId="2559332806" sldId="686"/>
            <ac:spMk id="9" creationId="{81238C8A-BE08-412B-938A-60F7086DAC21}"/>
          </ac:spMkLst>
        </pc:spChg>
        <pc:spChg chg="add mod">
          <ac:chgData name="Renata Festa" userId="6f22df47-533b-4c2a-a3c1-7f9ad1d63e10" providerId="ADAL" clId="{09EBC500-CCD1-4D38-83DD-0D27B16FD925}" dt="2020-03-30T11:26:46.310" v="1527" actId="1037"/>
          <ac:spMkLst>
            <pc:docMk/>
            <pc:sldMk cId="2559332806" sldId="686"/>
            <ac:spMk id="11" creationId="{4F7E6DF2-F573-40C2-BAAF-6F86B5561D4D}"/>
          </ac:spMkLst>
        </pc:spChg>
        <pc:spChg chg="add mod">
          <ac:chgData name="Renata Festa" userId="6f22df47-533b-4c2a-a3c1-7f9ad1d63e10" providerId="ADAL" clId="{09EBC500-CCD1-4D38-83DD-0D27B16FD925}" dt="2020-03-30T11:26:46.310" v="1527" actId="1037"/>
          <ac:spMkLst>
            <pc:docMk/>
            <pc:sldMk cId="2559332806" sldId="686"/>
            <ac:spMk id="12" creationId="{757F1433-5D81-40B3-B461-97973D3E8232}"/>
          </ac:spMkLst>
        </pc:spChg>
        <pc:spChg chg="add mod">
          <ac:chgData name="Renata Festa" userId="6f22df47-533b-4c2a-a3c1-7f9ad1d63e10" providerId="ADAL" clId="{09EBC500-CCD1-4D38-83DD-0D27B16FD925}" dt="2020-03-30T11:26:46.310" v="1527" actId="1037"/>
          <ac:spMkLst>
            <pc:docMk/>
            <pc:sldMk cId="2559332806" sldId="686"/>
            <ac:spMk id="13" creationId="{615F2A7B-D0C3-4643-A9B1-6499AE15BE11}"/>
          </ac:spMkLst>
        </pc:spChg>
        <pc:grpChg chg="add mod">
          <ac:chgData name="Renata Festa" userId="6f22df47-533b-4c2a-a3c1-7f9ad1d63e10" providerId="ADAL" clId="{09EBC500-CCD1-4D38-83DD-0D27B16FD925}" dt="2020-03-30T11:26:46.310" v="1527" actId="1037"/>
          <ac:grpSpMkLst>
            <pc:docMk/>
            <pc:sldMk cId="2559332806" sldId="686"/>
            <ac:grpSpMk id="14" creationId="{F987E9CB-2E66-42D3-A316-9D4EE40B1DF0}"/>
          </ac:grpSpMkLst>
        </pc:grpChg>
        <pc:grpChg chg="add mod">
          <ac:chgData name="Renata Festa" userId="6f22df47-533b-4c2a-a3c1-7f9ad1d63e10" providerId="ADAL" clId="{09EBC500-CCD1-4D38-83DD-0D27B16FD925}" dt="2020-03-30T11:26:46.310" v="1527" actId="1037"/>
          <ac:grpSpMkLst>
            <pc:docMk/>
            <pc:sldMk cId="2559332806" sldId="686"/>
            <ac:grpSpMk id="18" creationId="{4191FE3C-3B77-4C83-8457-D6C41D3B68F4}"/>
          </ac:grpSpMkLst>
        </pc:grpChg>
        <pc:grpChg chg="mod">
          <ac:chgData name="Renata Festa" userId="6f22df47-533b-4c2a-a3c1-7f9ad1d63e10" providerId="ADAL" clId="{09EBC500-CCD1-4D38-83DD-0D27B16FD925}" dt="2020-03-30T11:26:46.310" v="1527" actId="1037"/>
          <ac:grpSpMkLst>
            <pc:docMk/>
            <pc:sldMk cId="2559332806" sldId="686"/>
            <ac:grpSpMk id="19" creationId="{64EBF010-F99A-4694-B069-E012DA0D08F2}"/>
          </ac:grpSpMkLst>
        </pc:grpChg>
        <pc:grpChg chg="add mod">
          <ac:chgData name="Renata Festa" userId="6f22df47-533b-4c2a-a3c1-7f9ad1d63e10" providerId="ADAL" clId="{09EBC500-CCD1-4D38-83DD-0D27B16FD925}" dt="2020-03-30T11:26:46.310" v="1527" actId="1037"/>
          <ac:grpSpMkLst>
            <pc:docMk/>
            <pc:sldMk cId="2559332806" sldId="686"/>
            <ac:grpSpMk id="35" creationId="{326D8480-8F29-407E-A9AA-EBF66030D080}"/>
          </ac:grpSpMkLst>
        </pc:grpChg>
        <pc:grpChg chg="mod">
          <ac:chgData name="Renata Festa" userId="6f22df47-533b-4c2a-a3c1-7f9ad1d63e10" providerId="ADAL" clId="{09EBC500-CCD1-4D38-83DD-0D27B16FD925}" dt="2020-03-30T11:26:46.310" v="1527" actId="1037"/>
          <ac:grpSpMkLst>
            <pc:docMk/>
            <pc:sldMk cId="2559332806" sldId="686"/>
            <ac:grpSpMk id="36" creationId="{8753873B-56A4-4239-A322-4690FD78A717}"/>
          </ac:grpSpMkLst>
        </pc:grpChg>
        <pc:grpChg chg="mod">
          <ac:chgData name="Renata Festa" userId="6f22df47-533b-4c2a-a3c1-7f9ad1d63e10" providerId="ADAL" clId="{09EBC500-CCD1-4D38-83DD-0D27B16FD925}" dt="2020-03-30T11:26:46.310" v="1527" actId="1037"/>
          <ac:grpSpMkLst>
            <pc:docMk/>
            <pc:sldMk cId="2559332806" sldId="686"/>
            <ac:grpSpMk id="37" creationId="{51741987-7E60-4EB6-A6C5-998BB8450057}"/>
          </ac:grpSpMkLst>
        </pc:grpChg>
        <pc:grpChg chg="mod">
          <ac:chgData name="Renata Festa" userId="6f22df47-533b-4c2a-a3c1-7f9ad1d63e10" providerId="ADAL" clId="{09EBC500-CCD1-4D38-83DD-0D27B16FD925}" dt="2020-03-30T11:26:46.310" v="1527" actId="1037"/>
          <ac:grpSpMkLst>
            <pc:docMk/>
            <pc:sldMk cId="2559332806" sldId="686"/>
            <ac:grpSpMk id="38" creationId="{9BD9E8B0-4444-4C75-ACB6-E87FA2D8A2FE}"/>
          </ac:grpSpMkLst>
        </pc:grpChg>
        <pc:grpChg chg="add mod">
          <ac:chgData name="Renata Festa" userId="6f22df47-533b-4c2a-a3c1-7f9ad1d63e10" providerId="ADAL" clId="{09EBC500-CCD1-4D38-83DD-0D27B16FD925}" dt="2020-03-30T11:26:46.310" v="1527" actId="1037"/>
          <ac:grpSpMkLst>
            <pc:docMk/>
            <pc:sldMk cId="2559332806" sldId="686"/>
            <ac:grpSpMk id="50" creationId="{3059443D-CAF5-4520-AC6E-DF353555D592}"/>
          </ac:grpSpMkLst>
        </pc:grpChg>
        <pc:grpChg chg="mod">
          <ac:chgData name="Renata Festa" userId="6f22df47-533b-4c2a-a3c1-7f9ad1d63e10" providerId="ADAL" clId="{09EBC500-CCD1-4D38-83DD-0D27B16FD925}" dt="2020-03-30T11:26:46.310" v="1527" actId="1037"/>
          <ac:grpSpMkLst>
            <pc:docMk/>
            <pc:sldMk cId="2559332806" sldId="686"/>
            <ac:grpSpMk id="52" creationId="{A8AF5E4F-C0D4-4EBF-87B3-4C3F8A95C557}"/>
          </ac:grpSpMkLst>
        </pc:grpChg>
        <pc:grpChg chg="mod">
          <ac:chgData name="Renata Festa" userId="6f22df47-533b-4c2a-a3c1-7f9ad1d63e10" providerId="ADAL" clId="{09EBC500-CCD1-4D38-83DD-0D27B16FD925}" dt="2020-03-30T11:26:46.310" v="1527" actId="1037"/>
          <ac:grpSpMkLst>
            <pc:docMk/>
            <pc:sldMk cId="2559332806" sldId="686"/>
            <ac:grpSpMk id="53" creationId="{F237216C-714F-4A98-9A33-D7255B9BA7E1}"/>
          </ac:grpSpMkLst>
        </pc:grpChg>
        <pc:graphicFrameChg chg="add mod">
          <ac:chgData name="Renata Festa" userId="6f22df47-533b-4c2a-a3c1-7f9ad1d63e10" providerId="ADAL" clId="{09EBC500-CCD1-4D38-83DD-0D27B16FD925}" dt="2020-03-30T11:26:37.241" v="1517" actId="14100"/>
          <ac:graphicFrameMkLst>
            <pc:docMk/>
            <pc:sldMk cId="2559332806" sldId="686"/>
            <ac:graphicFrameMk id="63" creationId="{68B29237-EA36-4C5C-B7F7-795F0B6E15F6}"/>
          </ac:graphicFrameMkLst>
        </pc:graphicFrameChg>
        <pc:picChg chg="add mod">
          <ac:chgData name="Renata Festa" userId="6f22df47-533b-4c2a-a3c1-7f9ad1d63e10" providerId="ADAL" clId="{09EBC500-CCD1-4D38-83DD-0D27B16FD925}" dt="2020-03-30T11:26:46.310" v="1527" actId="1037"/>
          <ac:picMkLst>
            <pc:docMk/>
            <pc:sldMk cId="2559332806" sldId="686"/>
            <ac:picMk id="5" creationId="{960954A6-82E6-4590-8B9F-DCCA89807D70}"/>
          </ac:picMkLst>
        </pc:picChg>
        <pc:cxnChg chg="add mod">
          <ac:chgData name="Renata Festa" userId="6f22df47-533b-4c2a-a3c1-7f9ad1d63e10" providerId="ADAL" clId="{09EBC500-CCD1-4D38-83DD-0D27B16FD925}" dt="2020-03-30T11:26:46.310" v="1527" actId="1037"/>
          <ac:cxnSpMkLst>
            <pc:docMk/>
            <pc:sldMk cId="2559332806" sldId="686"/>
            <ac:cxnSpMk id="10" creationId="{3D0B027D-FBA5-445B-B236-E2685CCFB304}"/>
          </ac:cxnSpMkLst>
        </pc:cxnChg>
        <pc:cxnChg chg="add mod">
          <ac:chgData name="Renata Festa" userId="6f22df47-533b-4c2a-a3c1-7f9ad1d63e10" providerId="ADAL" clId="{09EBC500-CCD1-4D38-83DD-0D27B16FD925}" dt="2020-03-30T11:26:46.310" v="1527" actId="1037"/>
          <ac:cxnSpMkLst>
            <pc:docMk/>
            <pc:sldMk cId="2559332806" sldId="686"/>
            <ac:cxnSpMk id="17" creationId="{A56BEFDD-CE2C-4321-9BBE-75423C98B872}"/>
          </ac:cxnSpMkLst>
        </pc:cxnChg>
        <pc:cxnChg chg="add mod">
          <ac:chgData name="Renata Festa" userId="6f22df47-533b-4c2a-a3c1-7f9ad1d63e10" providerId="ADAL" clId="{09EBC500-CCD1-4D38-83DD-0D27B16FD925}" dt="2020-03-30T11:26:46.310" v="1527" actId="1037"/>
          <ac:cxnSpMkLst>
            <pc:docMk/>
            <pc:sldMk cId="2559332806" sldId="686"/>
            <ac:cxnSpMk id="46" creationId="{74E6852B-51E7-4913-A201-6DF4D4799529}"/>
          </ac:cxnSpMkLst>
        </pc:cxnChg>
        <pc:cxnChg chg="add mod">
          <ac:chgData name="Renata Festa" userId="6f22df47-533b-4c2a-a3c1-7f9ad1d63e10" providerId="ADAL" clId="{09EBC500-CCD1-4D38-83DD-0D27B16FD925}" dt="2020-03-30T11:26:46.310" v="1527" actId="1037"/>
          <ac:cxnSpMkLst>
            <pc:docMk/>
            <pc:sldMk cId="2559332806" sldId="686"/>
            <ac:cxnSpMk id="47" creationId="{9AD9DC6F-2825-494A-BE78-7F2D6E4BB5DA}"/>
          </ac:cxnSpMkLst>
        </pc:cxnChg>
        <pc:cxnChg chg="add mod">
          <ac:chgData name="Renata Festa" userId="6f22df47-533b-4c2a-a3c1-7f9ad1d63e10" providerId="ADAL" clId="{09EBC500-CCD1-4D38-83DD-0D27B16FD925}" dt="2020-03-30T11:26:46.310" v="1527" actId="1037"/>
          <ac:cxnSpMkLst>
            <pc:docMk/>
            <pc:sldMk cId="2559332806" sldId="686"/>
            <ac:cxnSpMk id="48" creationId="{1EF3B213-1022-446F-9CD6-121E2446D671}"/>
          </ac:cxnSpMkLst>
        </pc:cxnChg>
        <pc:cxnChg chg="add mod">
          <ac:chgData name="Renata Festa" userId="6f22df47-533b-4c2a-a3c1-7f9ad1d63e10" providerId="ADAL" clId="{09EBC500-CCD1-4D38-83DD-0D27B16FD925}" dt="2020-03-30T11:26:46.310" v="1527" actId="1037"/>
          <ac:cxnSpMkLst>
            <pc:docMk/>
            <pc:sldMk cId="2559332806" sldId="686"/>
            <ac:cxnSpMk id="49" creationId="{D803A4A9-64C7-4E24-B4CF-FC220F9BCBE6}"/>
          </ac:cxnSpMkLst>
        </pc:cxnChg>
      </pc:sldChg>
      <pc:sldChg chg="add del">
        <pc:chgData name="Renata Festa" userId="6f22df47-533b-4c2a-a3c1-7f9ad1d63e10" providerId="ADAL" clId="{09EBC500-CCD1-4D38-83DD-0D27B16FD925}" dt="2020-03-30T11:24:06.295" v="1474" actId="47"/>
        <pc:sldMkLst>
          <pc:docMk/>
          <pc:sldMk cId="4287889609" sldId="686"/>
        </pc:sldMkLst>
      </pc:sldChg>
      <pc:sldChg chg="addSp delSp modSp add mod delAnim modAnim">
        <pc:chgData name="Renata Festa" userId="6f22df47-533b-4c2a-a3c1-7f9ad1d63e10" providerId="ADAL" clId="{09EBC500-CCD1-4D38-83DD-0D27B16FD925}" dt="2020-03-30T11:29:52.613" v="1563" actId="478"/>
        <pc:sldMkLst>
          <pc:docMk/>
          <pc:sldMk cId="1066392282" sldId="687"/>
        </pc:sldMkLst>
        <pc:spChg chg="mod">
          <ac:chgData name="Renata Festa" userId="6f22df47-533b-4c2a-a3c1-7f9ad1d63e10" providerId="ADAL" clId="{09EBC500-CCD1-4D38-83DD-0D27B16FD925}" dt="2020-03-30T11:27:13.889" v="1531"/>
          <ac:spMkLst>
            <pc:docMk/>
            <pc:sldMk cId="1066392282" sldId="687"/>
            <ac:spMk id="2" creationId="{3FDEAAB2-9EFA-4510-9A3E-40C95A91E02E}"/>
          </ac:spMkLst>
        </pc:spChg>
        <pc:spChg chg="del mod">
          <ac:chgData name="Renata Festa" userId="6f22df47-533b-4c2a-a3c1-7f9ad1d63e10" providerId="ADAL" clId="{09EBC500-CCD1-4D38-83DD-0D27B16FD925}" dt="2020-03-30T11:27:47.806" v="1536" actId="478"/>
          <ac:spMkLst>
            <pc:docMk/>
            <pc:sldMk cId="1066392282" sldId="687"/>
            <ac:spMk id="3" creationId="{77249A71-4FEF-4700-8427-A758E035F07E}"/>
          </ac:spMkLst>
        </pc:spChg>
        <pc:spChg chg="add del mod">
          <ac:chgData name="Renata Festa" userId="6f22df47-533b-4c2a-a3c1-7f9ad1d63e10" providerId="ADAL" clId="{09EBC500-CCD1-4D38-83DD-0D27B16FD925}" dt="2020-03-30T11:28:35.372" v="1549" actId="478"/>
          <ac:spMkLst>
            <pc:docMk/>
            <pc:sldMk cId="1066392282" sldId="687"/>
            <ac:spMk id="6" creationId="{6C842EDC-96C1-4FD4-9671-E790EE3F813D}"/>
          </ac:spMkLst>
        </pc:spChg>
        <pc:spChg chg="add del mod">
          <ac:chgData name="Renata Festa" userId="6f22df47-533b-4c2a-a3c1-7f9ad1d63e10" providerId="ADAL" clId="{09EBC500-CCD1-4D38-83DD-0D27B16FD925}" dt="2020-03-30T11:29:52.613" v="1563" actId="478"/>
          <ac:spMkLst>
            <pc:docMk/>
            <pc:sldMk cId="1066392282" sldId="687"/>
            <ac:spMk id="7" creationId="{008A4CB3-69BA-4706-8577-7E7B2D4C5B9A}"/>
          </ac:spMkLst>
        </pc:spChg>
        <pc:graphicFrameChg chg="add del mod">
          <ac:chgData name="Renata Festa" userId="6f22df47-533b-4c2a-a3c1-7f9ad1d63e10" providerId="ADAL" clId="{09EBC500-CCD1-4D38-83DD-0D27B16FD925}" dt="2020-03-30T11:29:21.234" v="1558" actId="478"/>
          <ac:graphicFrameMkLst>
            <pc:docMk/>
            <pc:sldMk cId="1066392282" sldId="687"/>
            <ac:graphicFrameMk id="4" creationId="{D88DA425-91C6-4795-9DCB-85D92ACDDF87}"/>
          </ac:graphicFrameMkLst>
        </pc:graphicFrameChg>
        <pc:graphicFrameChg chg="add mod">
          <ac:chgData name="Renata Festa" userId="6f22df47-533b-4c2a-a3c1-7f9ad1d63e10" providerId="ADAL" clId="{09EBC500-CCD1-4D38-83DD-0D27B16FD925}" dt="2020-03-30T11:29:37.554" v="1562" actId="14100"/>
          <ac:graphicFrameMkLst>
            <pc:docMk/>
            <pc:sldMk cId="1066392282" sldId="687"/>
            <ac:graphicFrameMk id="8" creationId="{B3FE8885-35C4-4AFD-989A-40D9C461D9F5}"/>
          </ac:graphicFrameMkLst>
        </pc:graphicFrameChg>
      </pc:sldChg>
      <pc:sldChg chg="add del">
        <pc:chgData name="Renata Festa" userId="6f22df47-533b-4c2a-a3c1-7f9ad1d63e10" providerId="ADAL" clId="{09EBC500-CCD1-4D38-83DD-0D27B16FD925}" dt="2020-03-30T11:29:59.991" v="1564" actId="47"/>
        <pc:sldMkLst>
          <pc:docMk/>
          <pc:sldMk cId="1034358545" sldId="688"/>
        </pc:sldMkLst>
      </pc:sldChg>
      <pc:sldChg chg="addSp modSp add mod">
        <pc:chgData name="Renata Festa" userId="6f22df47-533b-4c2a-a3c1-7f9ad1d63e10" providerId="ADAL" clId="{09EBC500-CCD1-4D38-83DD-0D27B16FD925}" dt="2020-03-30T11:31:45.198" v="1594" actId="20577"/>
        <pc:sldMkLst>
          <pc:docMk/>
          <pc:sldMk cId="3584439836" sldId="688"/>
        </pc:sldMkLst>
        <pc:spChg chg="mod">
          <ac:chgData name="Renata Festa" userId="6f22df47-533b-4c2a-a3c1-7f9ad1d63e10" providerId="ADAL" clId="{09EBC500-CCD1-4D38-83DD-0D27B16FD925}" dt="2020-03-30T11:31:16.500" v="1587"/>
          <ac:spMkLst>
            <pc:docMk/>
            <pc:sldMk cId="3584439836" sldId="688"/>
            <ac:spMk id="2" creationId="{357FA922-CABC-4EFD-BBCF-A80F543A1240}"/>
          </ac:spMkLst>
        </pc:spChg>
        <pc:graphicFrameChg chg="add mod">
          <ac:chgData name="Renata Festa" userId="6f22df47-533b-4c2a-a3c1-7f9ad1d63e10" providerId="ADAL" clId="{09EBC500-CCD1-4D38-83DD-0D27B16FD925}" dt="2020-03-30T11:31:45.198" v="1594" actId="20577"/>
          <ac:graphicFrameMkLst>
            <pc:docMk/>
            <pc:sldMk cId="3584439836" sldId="688"/>
            <ac:graphicFrameMk id="4" creationId="{CEB83125-D7BB-46F3-A727-E480DA74AE24}"/>
          </ac:graphicFrameMkLst>
        </pc:graphicFrameChg>
      </pc:sldChg>
      <pc:sldChg chg="add del">
        <pc:chgData name="Renata Festa" userId="6f22df47-533b-4c2a-a3c1-7f9ad1d63e10" providerId="ADAL" clId="{09EBC500-CCD1-4D38-83DD-0D27B16FD925}" dt="2020-03-30T11:30:00.435" v="1565" actId="47"/>
        <pc:sldMkLst>
          <pc:docMk/>
          <pc:sldMk cId="204779262" sldId="689"/>
        </pc:sldMkLst>
      </pc:sldChg>
      <pc:sldChg chg="addSp delSp modSp add mod">
        <pc:chgData name="Renata Festa" userId="6f22df47-533b-4c2a-a3c1-7f9ad1d63e10" providerId="ADAL" clId="{09EBC500-CCD1-4D38-83DD-0D27B16FD925}" dt="2020-03-30T11:32:32.512" v="1601" actId="478"/>
        <pc:sldMkLst>
          <pc:docMk/>
          <pc:sldMk cId="1222625216" sldId="689"/>
        </pc:sldMkLst>
        <pc:spChg chg="mod">
          <ac:chgData name="Renata Festa" userId="6f22df47-533b-4c2a-a3c1-7f9ad1d63e10" providerId="ADAL" clId="{09EBC500-CCD1-4D38-83DD-0D27B16FD925}" dt="2020-03-30T11:31:59.287" v="1595"/>
          <ac:spMkLst>
            <pc:docMk/>
            <pc:sldMk cId="1222625216" sldId="689"/>
            <ac:spMk id="2" creationId="{357FA922-CABC-4EFD-BBCF-A80F543A1240}"/>
          </ac:spMkLst>
        </pc:spChg>
        <pc:spChg chg="del mod">
          <ac:chgData name="Renata Festa" userId="6f22df47-533b-4c2a-a3c1-7f9ad1d63e10" providerId="ADAL" clId="{09EBC500-CCD1-4D38-83DD-0D27B16FD925}" dt="2020-03-30T11:32:29.236" v="1600" actId="478"/>
          <ac:spMkLst>
            <pc:docMk/>
            <pc:sldMk cId="1222625216" sldId="689"/>
            <ac:spMk id="3" creationId="{2DB7971A-3041-4A25-8EAC-DD97EB877C3C}"/>
          </ac:spMkLst>
        </pc:spChg>
        <pc:spChg chg="add del mod">
          <ac:chgData name="Renata Festa" userId="6f22df47-533b-4c2a-a3c1-7f9ad1d63e10" providerId="ADAL" clId="{09EBC500-CCD1-4D38-83DD-0D27B16FD925}" dt="2020-03-30T11:32:32.512" v="1601" actId="478"/>
          <ac:spMkLst>
            <pc:docMk/>
            <pc:sldMk cId="1222625216" sldId="689"/>
            <ac:spMk id="6" creationId="{D1A16A78-4799-4886-8FE2-40D4DEB7FE33}"/>
          </ac:spMkLst>
        </pc:spChg>
        <pc:graphicFrameChg chg="add mod">
          <ac:chgData name="Renata Festa" userId="6f22df47-533b-4c2a-a3c1-7f9ad1d63e10" providerId="ADAL" clId="{09EBC500-CCD1-4D38-83DD-0D27B16FD925}" dt="2020-03-30T11:32:22.425" v="1599" actId="14100"/>
          <ac:graphicFrameMkLst>
            <pc:docMk/>
            <pc:sldMk cId="1222625216" sldId="689"/>
            <ac:graphicFrameMk id="4" creationId="{BE7EB58D-AABB-4937-BDA3-037809D5FEA2}"/>
          </ac:graphicFrameMkLst>
        </pc:graphicFrameChg>
      </pc:sldChg>
      <pc:sldChg chg="add del">
        <pc:chgData name="Renata Festa" userId="6f22df47-533b-4c2a-a3c1-7f9ad1d63e10" providerId="ADAL" clId="{09EBC500-CCD1-4D38-83DD-0D27B16FD925}" dt="2020-03-30T11:30:00.802" v="1566" actId="47"/>
        <pc:sldMkLst>
          <pc:docMk/>
          <pc:sldMk cId="105786580" sldId="690"/>
        </pc:sldMkLst>
      </pc:sldChg>
      <pc:sldChg chg="addSp delSp modSp add modAnim">
        <pc:chgData name="Renata Festa" userId="6f22df47-533b-4c2a-a3c1-7f9ad1d63e10" providerId="ADAL" clId="{09EBC500-CCD1-4D38-83DD-0D27B16FD925}" dt="2020-03-30T11:33:46.838" v="1626" actId="14100"/>
        <pc:sldMkLst>
          <pc:docMk/>
          <pc:sldMk cId="3435379314" sldId="690"/>
        </pc:sldMkLst>
        <pc:spChg chg="mod">
          <ac:chgData name="Renata Festa" userId="6f22df47-533b-4c2a-a3c1-7f9ad1d63e10" providerId="ADAL" clId="{09EBC500-CCD1-4D38-83DD-0D27B16FD925}" dt="2020-03-30T11:32:47.834" v="1602"/>
          <ac:spMkLst>
            <pc:docMk/>
            <pc:sldMk cId="3435379314" sldId="690"/>
            <ac:spMk id="2" creationId="{357FA922-CABC-4EFD-BBCF-A80F543A1240}"/>
          </ac:spMkLst>
        </pc:spChg>
        <pc:spChg chg="add del mod">
          <ac:chgData name="Renata Festa" userId="6f22df47-533b-4c2a-a3c1-7f9ad1d63e10" providerId="ADAL" clId="{09EBC500-CCD1-4D38-83DD-0D27B16FD925}" dt="2020-03-30T11:33:39.466" v="1624" actId="1038"/>
          <ac:spMkLst>
            <pc:docMk/>
            <pc:sldMk cId="3435379314" sldId="690"/>
            <ac:spMk id="4" creationId="{8F221B38-5A31-48EE-9B01-653FEF04C405}"/>
          </ac:spMkLst>
        </pc:spChg>
        <pc:spChg chg="add del mod">
          <ac:chgData name="Renata Festa" userId="6f22df47-533b-4c2a-a3c1-7f9ad1d63e10" providerId="ADAL" clId="{09EBC500-CCD1-4D38-83DD-0D27B16FD925}" dt="2020-03-30T11:33:39.466" v="1624" actId="1038"/>
          <ac:spMkLst>
            <pc:docMk/>
            <pc:sldMk cId="3435379314" sldId="690"/>
            <ac:spMk id="5" creationId="{AB3E10EE-E69D-42A4-956E-4F713F64297D}"/>
          </ac:spMkLst>
        </pc:spChg>
        <pc:spChg chg="add del mod">
          <ac:chgData name="Renata Festa" userId="6f22df47-533b-4c2a-a3c1-7f9ad1d63e10" providerId="ADAL" clId="{09EBC500-CCD1-4D38-83DD-0D27B16FD925}" dt="2020-03-30T11:33:39.466" v="1624" actId="1038"/>
          <ac:spMkLst>
            <pc:docMk/>
            <pc:sldMk cId="3435379314" sldId="690"/>
            <ac:spMk id="6" creationId="{04478ED7-1B49-4270-9067-4E8DE6093D55}"/>
          </ac:spMkLst>
        </pc:spChg>
        <pc:spChg chg="add del mod">
          <ac:chgData name="Renata Festa" userId="6f22df47-533b-4c2a-a3c1-7f9ad1d63e10" providerId="ADAL" clId="{09EBC500-CCD1-4D38-83DD-0D27B16FD925}" dt="2020-03-30T11:33:39.466" v="1624" actId="1038"/>
          <ac:spMkLst>
            <pc:docMk/>
            <pc:sldMk cId="3435379314" sldId="690"/>
            <ac:spMk id="7" creationId="{2ABA178E-F6DB-4C14-BCA3-AC1ED49A7961}"/>
          </ac:spMkLst>
        </pc:spChg>
        <pc:spChg chg="add del mod">
          <ac:chgData name="Renata Festa" userId="6f22df47-533b-4c2a-a3c1-7f9ad1d63e10" providerId="ADAL" clId="{09EBC500-CCD1-4D38-83DD-0D27B16FD925}" dt="2020-03-30T11:33:39.466" v="1624" actId="1038"/>
          <ac:spMkLst>
            <pc:docMk/>
            <pc:sldMk cId="3435379314" sldId="690"/>
            <ac:spMk id="9" creationId="{AC5EDFEE-DB31-41E9-8499-5B2DE4ED56BD}"/>
          </ac:spMkLst>
        </pc:spChg>
        <pc:spChg chg="add del mod">
          <ac:chgData name="Renata Festa" userId="6f22df47-533b-4c2a-a3c1-7f9ad1d63e10" providerId="ADAL" clId="{09EBC500-CCD1-4D38-83DD-0D27B16FD925}" dt="2020-03-30T11:33:39.466" v="1624" actId="1038"/>
          <ac:spMkLst>
            <pc:docMk/>
            <pc:sldMk cId="3435379314" sldId="690"/>
            <ac:spMk id="10" creationId="{FA1F67CE-A964-45C3-8FE8-52A858741AA2}"/>
          </ac:spMkLst>
        </pc:spChg>
        <pc:spChg chg="add del mod">
          <ac:chgData name="Renata Festa" userId="6f22df47-533b-4c2a-a3c1-7f9ad1d63e10" providerId="ADAL" clId="{09EBC500-CCD1-4D38-83DD-0D27B16FD925}" dt="2020-03-30T11:33:39.466" v="1624" actId="1038"/>
          <ac:spMkLst>
            <pc:docMk/>
            <pc:sldMk cId="3435379314" sldId="690"/>
            <ac:spMk id="11" creationId="{5203201D-13B9-4AF8-8F1A-2DB8D2D87355}"/>
          </ac:spMkLst>
        </pc:spChg>
        <pc:spChg chg="add del mod">
          <ac:chgData name="Renata Festa" userId="6f22df47-533b-4c2a-a3c1-7f9ad1d63e10" providerId="ADAL" clId="{09EBC500-CCD1-4D38-83DD-0D27B16FD925}" dt="2020-03-30T11:33:39.466" v="1624" actId="1038"/>
          <ac:spMkLst>
            <pc:docMk/>
            <pc:sldMk cId="3435379314" sldId="690"/>
            <ac:spMk id="12" creationId="{A9675AF2-D4E5-4566-9A09-4DC1F2E78E28}"/>
          </ac:spMkLst>
        </pc:spChg>
        <pc:spChg chg="add del mod">
          <ac:chgData name="Renata Festa" userId="6f22df47-533b-4c2a-a3c1-7f9ad1d63e10" providerId="ADAL" clId="{09EBC500-CCD1-4D38-83DD-0D27B16FD925}" dt="2020-03-30T11:33:39.466" v="1624" actId="1038"/>
          <ac:spMkLst>
            <pc:docMk/>
            <pc:sldMk cId="3435379314" sldId="690"/>
            <ac:spMk id="35" creationId="{F3E96206-338D-4C39-9D1D-2852DC6208B5}"/>
          </ac:spMkLst>
        </pc:spChg>
        <pc:spChg chg="add del mod">
          <ac:chgData name="Renata Festa" userId="6f22df47-533b-4c2a-a3c1-7f9ad1d63e10" providerId="ADAL" clId="{09EBC500-CCD1-4D38-83DD-0D27B16FD925}" dt="2020-03-30T11:33:39.466" v="1624" actId="1038"/>
          <ac:spMkLst>
            <pc:docMk/>
            <pc:sldMk cId="3435379314" sldId="690"/>
            <ac:spMk id="38" creationId="{3815C6B0-302C-44B9-B22E-9D127CC1DD0F}"/>
          </ac:spMkLst>
        </pc:spChg>
        <pc:spChg chg="add del mod">
          <ac:chgData name="Renata Festa" userId="6f22df47-533b-4c2a-a3c1-7f9ad1d63e10" providerId="ADAL" clId="{09EBC500-CCD1-4D38-83DD-0D27B16FD925}" dt="2020-03-30T11:33:39.466" v="1624" actId="1038"/>
          <ac:spMkLst>
            <pc:docMk/>
            <pc:sldMk cId="3435379314" sldId="690"/>
            <ac:spMk id="40" creationId="{D4B24D31-991C-4903-9A99-593B33B012B8}"/>
          </ac:spMkLst>
        </pc:spChg>
        <pc:spChg chg="add del mod">
          <ac:chgData name="Renata Festa" userId="6f22df47-533b-4c2a-a3c1-7f9ad1d63e10" providerId="ADAL" clId="{09EBC500-CCD1-4D38-83DD-0D27B16FD925}" dt="2020-03-30T11:33:39.466" v="1624" actId="1038"/>
          <ac:spMkLst>
            <pc:docMk/>
            <pc:sldMk cId="3435379314" sldId="690"/>
            <ac:spMk id="41" creationId="{34E93DAC-6B0A-4479-94CA-187B06DB9677}"/>
          </ac:spMkLst>
        </pc:spChg>
        <pc:spChg chg="add del mod">
          <ac:chgData name="Renata Festa" userId="6f22df47-533b-4c2a-a3c1-7f9ad1d63e10" providerId="ADAL" clId="{09EBC500-CCD1-4D38-83DD-0D27B16FD925}" dt="2020-03-30T11:33:39.466" v="1624" actId="1038"/>
          <ac:spMkLst>
            <pc:docMk/>
            <pc:sldMk cId="3435379314" sldId="690"/>
            <ac:spMk id="42" creationId="{A08C18AA-40CC-4F32-9F11-3E87A2169EF9}"/>
          </ac:spMkLst>
        </pc:spChg>
        <pc:spChg chg="add del mod">
          <ac:chgData name="Renata Festa" userId="6f22df47-533b-4c2a-a3c1-7f9ad1d63e10" providerId="ADAL" clId="{09EBC500-CCD1-4D38-83DD-0D27B16FD925}" dt="2020-03-30T11:33:39.466" v="1624" actId="1038"/>
          <ac:spMkLst>
            <pc:docMk/>
            <pc:sldMk cId="3435379314" sldId="690"/>
            <ac:spMk id="43" creationId="{9CE4B55B-23A4-459D-ACBB-AE8F48BD6BFD}"/>
          </ac:spMkLst>
        </pc:spChg>
        <pc:spChg chg="add del mod">
          <ac:chgData name="Renata Festa" userId="6f22df47-533b-4c2a-a3c1-7f9ad1d63e10" providerId="ADAL" clId="{09EBC500-CCD1-4D38-83DD-0D27B16FD925}" dt="2020-03-30T11:33:39.466" v="1624" actId="1038"/>
          <ac:spMkLst>
            <pc:docMk/>
            <pc:sldMk cId="3435379314" sldId="690"/>
            <ac:spMk id="44" creationId="{FBF3FC7E-50E9-4A36-A71B-71170A242BA4}"/>
          </ac:spMkLst>
        </pc:spChg>
        <pc:grpChg chg="add del mod">
          <ac:chgData name="Renata Festa" userId="6f22df47-533b-4c2a-a3c1-7f9ad1d63e10" providerId="ADAL" clId="{09EBC500-CCD1-4D38-83DD-0D27B16FD925}" dt="2020-03-30T11:33:39.466" v="1624" actId="1038"/>
          <ac:grpSpMkLst>
            <pc:docMk/>
            <pc:sldMk cId="3435379314" sldId="690"/>
            <ac:grpSpMk id="13" creationId="{A4D887AD-3337-4754-A509-22D1EE81F4FA}"/>
          </ac:grpSpMkLst>
        </pc:grpChg>
        <pc:grpChg chg="add del mod">
          <ac:chgData name="Renata Festa" userId="6f22df47-533b-4c2a-a3c1-7f9ad1d63e10" providerId="ADAL" clId="{09EBC500-CCD1-4D38-83DD-0D27B16FD925}" dt="2020-03-30T11:33:39.466" v="1624" actId="1038"/>
          <ac:grpSpMkLst>
            <pc:docMk/>
            <pc:sldMk cId="3435379314" sldId="690"/>
            <ac:grpSpMk id="17" creationId="{5B580206-6AF8-40CF-8ACC-9678AF02BFC6}"/>
          </ac:grpSpMkLst>
        </pc:grpChg>
        <pc:grpChg chg="mod">
          <ac:chgData name="Renata Festa" userId="6f22df47-533b-4c2a-a3c1-7f9ad1d63e10" providerId="ADAL" clId="{09EBC500-CCD1-4D38-83DD-0D27B16FD925}" dt="2020-03-30T11:33:39.466" v="1624" actId="1038"/>
          <ac:grpSpMkLst>
            <pc:docMk/>
            <pc:sldMk cId="3435379314" sldId="690"/>
            <ac:grpSpMk id="21" creationId="{B31B28E5-B9E8-464F-8A02-0255DCA87578}"/>
          </ac:grpSpMkLst>
        </pc:grpChg>
        <pc:grpChg chg="add del mod">
          <ac:chgData name="Renata Festa" userId="6f22df47-533b-4c2a-a3c1-7f9ad1d63e10" providerId="ADAL" clId="{09EBC500-CCD1-4D38-83DD-0D27B16FD925}" dt="2020-03-30T11:33:39.466" v="1624" actId="1038"/>
          <ac:grpSpMkLst>
            <pc:docMk/>
            <pc:sldMk cId="3435379314" sldId="690"/>
            <ac:grpSpMk id="24" creationId="{00A5D6D8-07D0-4CF6-A5BA-93661BC0D7B3}"/>
          </ac:grpSpMkLst>
        </pc:grpChg>
        <pc:grpChg chg="mod">
          <ac:chgData name="Renata Festa" userId="6f22df47-533b-4c2a-a3c1-7f9ad1d63e10" providerId="ADAL" clId="{09EBC500-CCD1-4D38-83DD-0D27B16FD925}" dt="2020-03-30T11:33:39.466" v="1624" actId="1038"/>
          <ac:grpSpMkLst>
            <pc:docMk/>
            <pc:sldMk cId="3435379314" sldId="690"/>
            <ac:grpSpMk id="25" creationId="{43F6BE95-2A16-45A6-BC7A-DE524E45F08E}"/>
          </ac:grpSpMkLst>
        </pc:grpChg>
        <pc:grpChg chg="mod">
          <ac:chgData name="Renata Festa" userId="6f22df47-533b-4c2a-a3c1-7f9ad1d63e10" providerId="ADAL" clId="{09EBC500-CCD1-4D38-83DD-0D27B16FD925}" dt="2020-03-30T11:33:39.466" v="1624" actId="1038"/>
          <ac:grpSpMkLst>
            <pc:docMk/>
            <pc:sldMk cId="3435379314" sldId="690"/>
            <ac:grpSpMk id="26" creationId="{70BBF900-1B04-4589-804C-433D52A25332}"/>
          </ac:grpSpMkLst>
        </pc:grpChg>
        <pc:grpChg chg="mod">
          <ac:chgData name="Renata Festa" userId="6f22df47-533b-4c2a-a3c1-7f9ad1d63e10" providerId="ADAL" clId="{09EBC500-CCD1-4D38-83DD-0D27B16FD925}" dt="2020-03-30T11:33:39.466" v="1624" actId="1038"/>
          <ac:grpSpMkLst>
            <pc:docMk/>
            <pc:sldMk cId="3435379314" sldId="690"/>
            <ac:grpSpMk id="27" creationId="{F0276D1D-6B0D-494F-BDDA-A0E29FF92C0A}"/>
          </ac:grpSpMkLst>
        </pc:grpChg>
        <pc:grpChg chg="add del mod">
          <ac:chgData name="Renata Festa" userId="6f22df47-533b-4c2a-a3c1-7f9ad1d63e10" providerId="ADAL" clId="{09EBC500-CCD1-4D38-83DD-0D27B16FD925}" dt="2020-03-30T11:33:39.466" v="1624" actId="1038"/>
          <ac:grpSpMkLst>
            <pc:docMk/>
            <pc:sldMk cId="3435379314" sldId="690"/>
            <ac:grpSpMk id="45" creationId="{52F2445C-9010-4083-BA09-A8A3C32D0A23}"/>
          </ac:grpSpMkLst>
        </pc:grpChg>
        <pc:grpChg chg="mod">
          <ac:chgData name="Renata Festa" userId="6f22df47-533b-4c2a-a3c1-7f9ad1d63e10" providerId="ADAL" clId="{09EBC500-CCD1-4D38-83DD-0D27B16FD925}" dt="2020-03-30T11:33:39.466" v="1624" actId="1038"/>
          <ac:grpSpMkLst>
            <pc:docMk/>
            <pc:sldMk cId="3435379314" sldId="690"/>
            <ac:grpSpMk id="47" creationId="{E9F44E4C-1D78-4B0A-9959-8B9EB7A8E5D5}"/>
          </ac:grpSpMkLst>
        </pc:grpChg>
        <pc:graphicFrameChg chg="add del mod">
          <ac:chgData name="Renata Festa" userId="6f22df47-533b-4c2a-a3c1-7f9ad1d63e10" providerId="ADAL" clId="{09EBC500-CCD1-4D38-83DD-0D27B16FD925}" dt="2020-03-30T11:33:46.838" v="1626" actId="14100"/>
          <ac:graphicFrameMkLst>
            <pc:docMk/>
            <pc:sldMk cId="3435379314" sldId="690"/>
            <ac:graphicFrameMk id="50" creationId="{4081CE8E-C9DB-46F3-BAA5-AD50B90E02C5}"/>
          </ac:graphicFrameMkLst>
        </pc:graphicFrameChg>
        <pc:cxnChg chg="add del mod">
          <ac:chgData name="Renata Festa" userId="6f22df47-533b-4c2a-a3c1-7f9ad1d63e10" providerId="ADAL" clId="{09EBC500-CCD1-4D38-83DD-0D27B16FD925}" dt="2020-03-30T11:33:39.466" v="1624" actId="1038"/>
          <ac:cxnSpMkLst>
            <pc:docMk/>
            <pc:sldMk cId="3435379314" sldId="690"/>
            <ac:cxnSpMk id="8" creationId="{055E8F91-4F55-4D7E-B423-68693568C4F2}"/>
          </ac:cxnSpMkLst>
        </pc:cxnChg>
        <pc:cxnChg chg="add del mod">
          <ac:chgData name="Renata Festa" userId="6f22df47-533b-4c2a-a3c1-7f9ad1d63e10" providerId="ADAL" clId="{09EBC500-CCD1-4D38-83DD-0D27B16FD925}" dt="2020-03-30T11:33:39.466" v="1624" actId="1038"/>
          <ac:cxnSpMkLst>
            <pc:docMk/>
            <pc:sldMk cId="3435379314" sldId="690"/>
            <ac:cxnSpMk id="36" creationId="{18AAF2F5-7634-4943-A660-5B10A0BB8FF3}"/>
          </ac:cxnSpMkLst>
        </pc:cxnChg>
        <pc:cxnChg chg="add del mod">
          <ac:chgData name="Renata Festa" userId="6f22df47-533b-4c2a-a3c1-7f9ad1d63e10" providerId="ADAL" clId="{09EBC500-CCD1-4D38-83DD-0D27B16FD925}" dt="2020-03-30T11:33:39.466" v="1624" actId="1038"/>
          <ac:cxnSpMkLst>
            <pc:docMk/>
            <pc:sldMk cId="3435379314" sldId="690"/>
            <ac:cxnSpMk id="37" creationId="{19238B34-E1BD-44DB-AA4D-F7E4F325471E}"/>
          </ac:cxnSpMkLst>
        </pc:cxnChg>
        <pc:cxnChg chg="add del mod">
          <ac:chgData name="Renata Festa" userId="6f22df47-533b-4c2a-a3c1-7f9ad1d63e10" providerId="ADAL" clId="{09EBC500-CCD1-4D38-83DD-0D27B16FD925}" dt="2020-03-30T11:33:39.466" v="1624" actId="1038"/>
          <ac:cxnSpMkLst>
            <pc:docMk/>
            <pc:sldMk cId="3435379314" sldId="690"/>
            <ac:cxnSpMk id="39" creationId="{8E812056-9921-4442-88EC-A2A444378AF9}"/>
          </ac:cxnSpMkLst>
        </pc:cxnChg>
      </pc:sldChg>
      <pc:sldChg chg="addSp modSp add mod modAnim">
        <pc:chgData name="Renata Festa" userId="6f22df47-533b-4c2a-a3c1-7f9ad1d63e10" providerId="ADAL" clId="{09EBC500-CCD1-4D38-83DD-0D27B16FD925}" dt="2020-03-30T11:34:20.077" v="1629"/>
        <pc:sldMkLst>
          <pc:docMk/>
          <pc:sldMk cId="1701640623" sldId="691"/>
        </pc:sldMkLst>
        <pc:spChg chg="mod">
          <ac:chgData name="Renata Festa" userId="6f22df47-533b-4c2a-a3c1-7f9ad1d63e10" providerId="ADAL" clId="{09EBC500-CCD1-4D38-83DD-0D27B16FD925}" dt="2020-03-30T11:34:08.346" v="1628" actId="20577"/>
          <ac:spMkLst>
            <pc:docMk/>
            <pc:sldMk cId="1701640623" sldId="691"/>
            <ac:spMk id="2" creationId="{357FA922-CABC-4EFD-BBCF-A80F543A1240}"/>
          </ac:spMkLst>
        </pc:spChg>
        <pc:spChg chg="add">
          <ac:chgData name="Renata Festa" userId="6f22df47-533b-4c2a-a3c1-7f9ad1d63e10" providerId="ADAL" clId="{09EBC500-CCD1-4D38-83DD-0D27B16FD925}" dt="2020-03-30T11:34:20.077" v="1629"/>
          <ac:spMkLst>
            <pc:docMk/>
            <pc:sldMk cId="1701640623" sldId="691"/>
            <ac:spMk id="5" creationId="{EA3B2B9F-6BB5-4AA5-8520-5F7FA72BE12D}"/>
          </ac:spMkLst>
        </pc:spChg>
        <pc:spChg chg="add">
          <ac:chgData name="Renata Festa" userId="6f22df47-533b-4c2a-a3c1-7f9ad1d63e10" providerId="ADAL" clId="{09EBC500-CCD1-4D38-83DD-0D27B16FD925}" dt="2020-03-30T11:34:20.077" v="1629"/>
          <ac:spMkLst>
            <pc:docMk/>
            <pc:sldMk cId="1701640623" sldId="691"/>
            <ac:spMk id="6" creationId="{6D257947-EC23-40AF-9FD7-F56FAE24186A}"/>
          </ac:spMkLst>
        </pc:spChg>
        <pc:spChg chg="add">
          <ac:chgData name="Renata Festa" userId="6f22df47-533b-4c2a-a3c1-7f9ad1d63e10" providerId="ADAL" clId="{09EBC500-CCD1-4D38-83DD-0D27B16FD925}" dt="2020-03-30T11:34:20.077" v="1629"/>
          <ac:spMkLst>
            <pc:docMk/>
            <pc:sldMk cId="1701640623" sldId="691"/>
            <ac:spMk id="7" creationId="{456C5FD1-EB72-42EF-B1CB-7F3885D908CD}"/>
          </ac:spMkLst>
        </pc:spChg>
        <pc:picChg chg="add">
          <ac:chgData name="Renata Festa" userId="6f22df47-533b-4c2a-a3c1-7f9ad1d63e10" providerId="ADAL" clId="{09EBC500-CCD1-4D38-83DD-0D27B16FD925}" dt="2020-03-30T11:34:20.077" v="1629"/>
          <ac:picMkLst>
            <pc:docMk/>
            <pc:sldMk cId="1701640623" sldId="691"/>
            <ac:picMk id="8" creationId="{A8FC3728-3A60-4F7E-9DAF-94766E15F156}"/>
          </ac:picMkLst>
        </pc:picChg>
        <pc:picChg chg="add">
          <ac:chgData name="Renata Festa" userId="6f22df47-533b-4c2a-a3c1-7f9ad1d63e10" providerId="ADAL" clId="{09EBC500-CCD1-4D38-83DD-0D27B16FD925}" dt="2020-03-30T11:34:20.077" v="1629"/>
          <ac:picMkLst>
            <pc:docMk/>
            <pc:sldMk cId="1701640623" sldId="691"/>
            <ac:picMk id="9" creationId="{60B69432-3770-4E04-82DD-90AA362A0307}"/>
          </ac:picMkLst>
        </pc:picChg>
        <pc:picChg chg="add">
          <ac:chgData name="Renata Festa" userId="6f22df47-533b-4c2a-a3c1-7f9ad1d63e10" providerId="ADAL" clId="{09EBC500-CCD1-4D38-83DD-0D27B16FD925}" dt="2020-03-30T11:34:20.077" v="1629"/>
          <ac:picMkLst>
            <pc:docMk/>
            <pc:sldMk cId="1701640623" sldId="691"/>
            <ac:picMk id="10" creationId="{DB837D27-9B80-49B3-A7B8-A0A1549DE8C4}"/>
          </ac:picMkLst>
        </pc:picChg>
        <pc:picChg chg="add">
          <ac:chgData name="Renata Festa" userId="6f22df47-533b-4c2a-a3c1-7f9ad1d63e10" providerId="ADAL" clId="{09EBC500-CCD1-4D38-83DD-0D27B16FD925}" dt="2020-03-30T11:34:20.077" v="1629"/>
          <ac:picMkLst>
            <pc:docMk/>
            <pc:sldMk cId="1701640623" sldId="691"/>
            <ac:picMk id="11" creationId="{E5187062-2C45-4D14-B423-D06274A95C8A}"/>
          </ac:picMkLst>
        </pc:picChg>
        <pc:picChg chg="add">
          <ac:chgData name="Renata Festa" userId="6f22df47-533b-4c2a-a3c1-7f9ad1d63e10" providerId="ADAL" clId="{09EBC500-CCD1-4D38-83DD-0D27B16FD925}" dt="2020-03-30T11:34:20.077" v="1629"/>
          <ac:picMkLst>
            <pc:docMk/>
            <pc:sldMk cId="1701640623" sldId="691"/>
            <ac:picMk id="12" creationId="{C684CC57-666F-49ED-A2D9-2F5380869C87}"/>
          </ac:picMkLst>
        </pc:picChg>
        <pc:cxnChg chg="add">
          <ac:chgData name="Renata Festa" userId="6f22df47-533b-4c2a-a3c1-7f9ad1d63e10" providerId="ADAL" clId="{09EBC500-CCD1-4D38-83DD-0D27B16FD925}" dt="2020-03-30T11:34:20.077" v="1629"/>
          <ac:cxnSpMkLst>
            <pc:docMk/>
            <pc:sldMk cId="1701640623" sldId="691"/>
            <ac:cxnSpMk id="4" creationId="{B80A9105-1AE0-480D-90F4-E055E991B5FC}"/>
          </ac:cxnSpMkLst>
        </pc:cxnChg>
      </pc:sldChg>
      <pc:sldChg chg="addSp modSp add mod modAnim">
        <pc:chgData name="Renata Festa" userId="6f22df47-533b-4c2a-a3c1-7f9ad1d63e10" providerId="ADAL" clId="{09EBC500-CCD1-4D38-83DD-0D27B16FD925}" dt="2020-03-30T11:34:51.574" v="1634" actId="14100"/>
        <pc:sldMkLst>
          <pc:docMk/>
          <pc:sldMk cId="3745596632" sldId="692"/>
        </pc:sldMkLst>
        <pc:spChg chg="mod">
          <ac:chgData name="Renata Festa" userId="6f22df47-533b-4c2a-a3c1-7f9ad1d63e10" providerId="ADAL" clId="{09EBC500-CCD1-4D38-83DD-0D27B16FD925}" dt="2020-03-30T11:34:37.681" v="1631" actId="20577"/>
          <ac:spMkLst>
            <pc:docMk/>
            <pc:sldMk cId="3745596632" sldId="692"/>
            <ac:spMk id="2" creationId="{357FA922-CABC-4EFD-BBCF-A80F543A1240}"/>
          </ac:spMkLst>
        </pc:spChg>
        <pc:graphicFrameChg chg="add mod">
          <ac:chgData name="Renata Festa" userId="6f22df47-533b-4c2a-a3c1-7f9ad1d63e10" providerId="ADAL" clId="{09EBC500-CCD1-4D38-83DD-0D27B16FD925}" dt="2020-03-30T11:34:51.574" v="1634" actId="14100"/>
          <ac:graphicFrameMkLst>
            <pc:docMk/>
            <pc:sldMk cId="3745596632" sldId="692"/>
            <ac:graphicFrameMk id="4" creationId="{D04C4CC6-4338-494B-850D-7305A037FCE4}"/>
          </ac:graphicFrameMkLst>
        </pc:graphicFrameChg>
      </pc:sldChg>
      <pc:sldChg chg="addSp modSp add mod">
        <pc:chgData name="Renata Festa" userId="6f22df47-533b-4c2a-a3c1-7f9ad1d63e10" providerId="ADAL" clId="{09EBC500-CCD1-4D38-83DD-0D27B16FD925}" dt="2020-03-30T11:35:52.983" v="1653" actId="14100"/>
        <pc:sldMkLst>
          <pc:docMk/>
          <pc:sldMk cId="2189967666" sldId="693"/>
        </pc:sldMkLst>
        <pc:spChg chg="mod">
          <ac:chgData name="Renata Festa" userId="6f22df47-533b-4c2a-a3c1-7f9ad1d63e10" providerId="ADAL" clId="{09EBC500-CCD1-4D38-83DD-0D27B16FD925}" dt="2020-03-30T11:35:40.784" v="1651" actId="20577"/>
          <ac:spMkLst>
            <pc:docMk/>
            <pc:sldMk cId="2189967666" sldId="693"/>
            <ac:spMk id="2" creationId="{8E1106C1-85EA-48C4-B450-8E63694F8E1A}"/>
          </ac:spMkLst>
        </pc:spChg>
        <pc:graphicFrameChg chg="add mod">
          <ac:chgData name="Renata Festa" userId="6f22df47-533b-4c2a-a3c1-7f9ad1d63e10" providerId="ADAL" clId="{09EBC500-CCD1-4D38-83DD-0D27B16FD925}" dt="2020-03-30T11:35:52.983" v="1653" actId="14100"/>
          <ac:graphicFrameMkLst>
            <pc:docMk/>
            <pc:sldMk cId="2189967666" sldId="693"/>
            <ac:graphicFrameMk id="4" creationId="{3B7BC4A1-705E-40E6-8B6F-A3AD2074333D}"/>
          </ac:graphicFrameMkLst>
        </pc:graphicFrameChg>
      </pc:sldChg>
      <pc:sldChg chg="addSp modSp add mod modAnim">
        <pc:chgData name="Renata Festa" userId="6f22df47-533b-4c2a-a3c1-7f9ad1d63e10" providerId="ADAL" clId="{09EBC500-CCD1-4D38-83DD-0D27B16FD925}" dt="2020-03-30T11:36:36.890" v="1661" actId="2711"/>
        <pc:sldMkLst>
          <pc:docMk/>
          <pc:sldMk cId="2729530483" sldId="694"/>
        </pc:sldMkLst>
        <pc:spChg chg="mod">
          <ac:chgData name="Renata Festa" userId="6f22df47-533b-4c2a-a3c1-7f9ad1d63e10" providerId="ADAL" clId="{09EBC500-CCD1-4D38-83DD-0D27B16FD925}" dt="2020-03-30T11:36:03.749" v="1655" actId="20577"/>
          <ac:spMkLst>
            <pc:docMk/>
            <pc:sldMk cId="2729530483" sldId="694"/>
            <ac:spMk id="2" creationId="{8E1106C1-85EA-48C4-B450-8E63694F8E1A}"/>
          </ac:spMkLst>
        </pc:spChg>
        <pc:graphicFrameChg chg="add mod">
          <ac:chgData name="Renata Festa" userId="6f22df47-533b-4c2a-a3c1-7f9ad1d63e10" providerId="ADAL" clId="{09EBC500-CCD1-4D38-83DD-0D27B16FD925}" dt="2020-03-30T11:36:36.890" v="1661" actId="2711"/>
          <ac:graphicFrameMkLst>
            <pc:docMk/>
            <pc:sldMk cId="2729530483" sldId="694"/>
            <ac:graphicFrameMk id="4" creationId="{94B72629-560A-4424-A744-84C769A525B8}"/>
          </ac:graphicFrameMkLst>
        </pc:graphicFrameChg>
      </pc:sldChg>
      <pc:sldChg chg="addSp modSp add mod">
        <pc:chgData name="Renata Festa" userId="6f22df47-533b-4c2a-a3c1-7f9ad1d63e10" providerId="ADAL" clId="{09EBC500-CCD1-4D38-83DD-0D27B16FD925}" dt="2020-03-30T11:37:33.106" v="1671" actId="14100"/>
        <pc:sldMkLst>
          <pc:docMk/>
          <pc:sldMk cId="687763397" sldId="695"/>
        </pc:sldMkLst>
        <pc:spChg chg="mod">
          <ac:chgData name="Renata Festa" userId="6f22df47-533b-4c2a-a3c1-7f9ad1d63e10" providerId="ADAL" clId="{09EBC500-CCD1-4D38-83DD-0D27B16FD925}" dt="2020-03-30T11:37:22.774" v="1669" actId="20577"/>
          <ac:spMkLst>
            <pc:docMk/>
            <pc:sldMk cId="687763397" sldId="695"/>
            <ac:spMk id="2" creationId="{8E1106C1-85EA-48C4-B450-8E63694F8E1A}"/>
          </ac:spMkLst>
        </pc:spChg>
        <pc:graphicFrameChg chg="add mod">
          <ac:chgData name="Renata Festa" userId="6f22df47-533b-4c2a-a3c1-7f9ad1d63e10" providerId="ADAL" clId="{09EBC500-CCD1-4D38-83DD-0D27B16FD925}" dt="2020-03-30T11:37:33.106" v="1671" actId="14100"/>
          <ac:graphicFrameMkLst>
            <pc:docMk/>
            <pc:sldMk cId="687763397" sldId="695"/>
            <ac:graphicFrameMk id="4" creationId="{8B5E8976-92CB-4CCC-A404-C14C84832708}"/>
          </ac:graphicFrameMkLst>
        </pc:graphicFrameChg>
      </pc:sldChg>
      <pc:sldChg chg="addSp modSp add mod modAnim">
        <pc:chgData name="Renata Festa" userId="6f22df47-533b-4c2a-a3c1-7f9ad1d63e10" providerId="ADAL" clId="{09EBC500-CCD1-4D38-83DD-0D27B16FD925}" dt="2020-03-30T11:38:19.490" v="1687" actId="1037"/>
        <pc:sldMkLst>
          <pc:docMk/>
          <pc:sldMk cId="3356156530" sldId="696"/>
        </pc:sldMkLst>
        <pc:spChg chg="mod">
          <ac:chgData name="Renata Festa" userId="6f22df47-533b-4c2a-a3c1-7f9ad1d63e10" providerId="ADAL" clId="{09EBC500-CCD1-4D38-83DD-0D27B16FD925}" dt="2020-03-30T11:37:49.540" v="1675" actId="20577"/>
          <ac:spMkLst>
            <pc:docMk/>
            <pc:sldMk cId="3356156530" sldId="696"/>
            <ac:spMk id="2" creationId="{8E1106C1-85EA-48C4-B450-8E63694F8E1A}"/>
          </ac:spMkLst>
        </pc:spChg>
        <pc:spChg chg="add mod">
          <ac:chgData name="Renata Festa" userId="6f22df47-533b-4c2a-a3c1-7f9ad1d63e10" providerId="ADAL" clId="{09EBC500-CCD1-4D38-83DD-0D27B16FD925}" dt="2020-03-30T11:38:19.490" v="1687" actId="1037"/>
          <ac:spMkLst>
            <pc:docMk/>
            <pc:sldMk cId="3356156530" sldId="696"/>
            <ac:spMk id="4" creationId="{C36E5CD0-4773-4337-9B95-4F9A5851157A}"/>
          </ac:spMkLst>
        </pc:spChg>
        <pc:spChg chg="add mod">
          <ac:chgData name="Renata Festa" userId="6f22df47-533b-4c2a-a3c1-7f9ad1d63e10" providerId="ADAL" clId="{09EBC500-CCD1-4D38-83DD-0D27B16FD925}" dt="2020-03-30T11:38:19.490" v="1687" actId="1037"/>
          <ac:spMkLst>
            <pc:docMk/>
            <pc:sldMk cId="3356156530" sldId="696"/>
            <ac:spMk id="5" creationId="{5AD64875-13A7-4028-9CE6-331163CA1021}"/>
          </ac:spMkLst>
        </pc:spChg>
        <pc:spChg chg="add mod">
          <ac:chgData name="Renata Festa" userId="6f22df47-533b-4c2a-a3c1-7f9ad1d63e10" providerId="ADAL" clId="{09EBC500-CCD1-4D38-83DD-0D27B16FD925}" dt="2020-03-30T11:38:19.490" v="1687" actId="1037"/>
          <ac:spMkLst>
            <pc:docMk/>
            <pc:sldMk cId="3356156530" sldId="696"/>
            <ac:spMk id="6" creationId="{8583C35F-775E-4D15-9A03-3B57940515D0}"/>
          </ac:spMkLst>
        </pc:spChg>
        <pc:spChg chg="add mod">
          <ac:chgData name="Renata Festa" userId="6f22df47-533b-4c2a-a3c1-7f9ad1d63e10" providerId="ADAL" clId="{09EBC500-CCD1-4D38-83DD-0D27B16FD925}" dt="2020-03-30T11:38:19.490" v="1687" actId="1037"/>
          <ac:spMkLst>
            <pc:docMk/>
            <pc:sldMk cId="3356156530" sldId="696"/>
            <ac:spMk id="7" creationId="{9F12974E-E2B9-4462-B8B2-CE67F9DB6AAC}"/>
          </ac:spMkLst>
        </pc:spChg>
        <pc:spChg chg="add mod">
          <ac:chgData name="Renata Festa" userId="6f22df47-533b-4c2a-a3c1-7f9ad1d63e10" providerId="ADAL" clId="{09EBC500-CCD1-4D38-83DD-0D27B16FD925}" dt="2020-03-30T11:38:19.490" v="1687" actId="1037"/>
          <ac:spMkLst>
            <pc:docMk/>
            <pc:sldMk cId="3356156530" sldId="696"/>
            <ac:spMk id="10" creationId="{0AD93648-622B-41BE-9A5E-B50B09004BCC}"/>
          </ac:spMkLst>
        </pc:spChg>
        <pc:spChg chg="add mod">
          <ac:chgData name="Renata Festa" userId="6f22df47-533b-4c2a-a3c1-7f9ad1d63e10" providerId="ADAL" clId="{09EBC500-CCD1-4D38-83DD-0D27B16FD925}" dt="2020-03-30T11:38:19.490" v="1687" actId="1037"/>
          <ac:spMkLst>
            <pc:docMk/>
            <pc:sldMk cId="3356156530" sldId="696"/>
            <ac:spMk id="11" creationId="{BD9590FC-6D81-402B-9C71-058BEE4216BE}"/>
          </ac:spMkLst>
        </pc:spChg>
        <pc:spChg chg="add mod">
          <ac:chgData name="Renata Festa" userId="6f22df47-533b-4c2a-a3c1-7f9ad1d63e10" providerId="ADAL" clId="{09EBC500-CCD1-4D38-83DD-0D27B16FD925}" dt="2020-03-30T11:38:19.490" v="1687" actId="1037"/>
          <ac:spMkLst>
            <pc:docMk/>
            <pc:sldMk cId="3356156530" sldId="696"/>
            <ac:spMk id="19" creationId="{E19F224F-C236-4832-83B1-A0A10E0EC29C}"/>
          </ac:spMkLst>
        </pc:spChg>
        <pc:grpChg chg="add mod">
          <ac:chgData name="Renata Festa" userId="6f22df47-533b-4c2a-a3c1-7f9ad1d63e10" providerId="ADAL" clId="{09EBC500-CCD1-4D38-83DD-0D27B16FD925}" dt="2020-03-30T11:38:19.490" v="1687" actId="1037"/>
          <ac:grpSpMkLst>
            <pc:docMk/>
            <pc:sldMk cId="3356156530" sldId="696"/>
            <ac:grpSpMk id="12" creationId="{10068E3E-0E47-4498-8F1C-D41311F64D60}"/>
          </ac:grpSpMkLst>
        </pc:grpChg>
        <pc:grpChg chg="add mod">
          <ac:chgData name="Renata Festa" userId="6f22df47-533b-4c2a-a3c1-7f9ad1d63e10" providerId="ADAL" clId="{09EBC500-CCD1-4D38-83DD-0D27B16FD925}" dt="2020-03-30T11:38:19.490" v="1687" actId="1037"/>
          <ac:grpSpMkLst>
            <pc:docMk/>
            <pc:sldMk cId="3356156530" sldId="696"/>
            <ac:grpSpMk id="20" creationId="{CBE229AD-F602-4EDA-B39A-433C75F18448}"/>
          </ac:grpSpMkLst>
        </pc:grpChg>
        <pc:graphicFrameChg chg="add mod">
          <ac:chgData name="Renata Festa" userId="6f22df47-533b-4c2a-a3c1-7f9ad1d63e10" providerId="ADAL" clId="{09EBC500-CCD1-4D38-83DD-0D27B16FD925}" dt="2020-03-30T11:38:08.125" v="1678" actId="14100"/>
          <ac:graphicFrameMkLst>
            <pc:docMk/>
            <pc:sldMk cId="3356156530" sldId="696"/>
            <ac:graphicFrameMk id="23" creationId="{E2CFB2A8-F63C-45D8-AA78-AEB6B2644A21}"/>
          </ac:graphicFrameMkLst>
        </pc:graphicFrameChg>
        <pc:picChg chg="add mod">
          <ac:chgData name="Renata Festa" userId="6f22df47-533b-4c2a-a3c1-7f9ad1d63e10" providerId="ADAL" clId="{09EBC500-CCD1-4D38-83DD-0D27B16FD925}" dt="2020-03-30T11:38:19.490" v="1687" actId="1037"/>
          <ac:picMkLst>
            <pc:docMk/>
            <pc:sldMk cId="3356156530" sldId="696"/>
            <ac:picMk id="8" creationId="{D23E615F-4B80-4486-B8EF-BD5ACB26F170}"/>
          </ac:picMkLst>
        </pc:picChg>
        <pc:picChg chg="add mod">
          <ac:chgData name="Renata Festa" userId="6f22df47-533b-4c2a-a3c1-7f9ad1d63e10" providerId="ADAL" clId="{09EBC500-CCD1-4D38-83DD-0D27B16FD925}" dt="2020-03-30T11:38:19.490" v="1687" actId="1037"/>
          <ac:picMkLst>
            <pc:docMk/>
            <pc:sldMk cId="3356156530" sldId="696"/>
            <ac:picMk id="9" creationId="{6F09E696-8EAE-429A-92CB-D9E3F1D0AA32}"/>
          </ac:picMkLst>
        </pc:picChg>
      </pc:sldChg>
      <pc:sldChg chg="add del">
        <pc:chgData name="Renata Festa" userId="6f22df47-533b-4c2a-a3c1-7f9ad1d63e10" providerId="ADAL" clId="{09EBC500-CCD1-4D38-83DD-0D27B16FD925}" dt="2020-03-30T11:40:30.793" v="1714" actId="47"/>
        <pc:sldMkLst>
          <pc:docMk/>
          <pc:sldMk cId="2351171536" sldId="697"/>
        </pc:sldMkLst>
      </pc:sldChg>
      <pc:sldChg chg="modSp add mod">
        <pc:chgData name="Renata Festa" userId="6f22df47-533b-4c2a-a3c1-7f9ad1d63e10" providerId="ADAL" clId="{09EBC500-CCD1-4D38-83DD-0D27B16FD925}" dt="2020-03-30T11:37:07.389" v="1667" actId="6549"/>
        <pc:sldMkLst>
          <pc:docMk/>
          <pc:sldMk cId="811236764" sldId="698"/>
        </pc:sldMkLst>
        <pc:spChg chg="mod">
          <ac:chgData name="Renata Festa" userId="6f22df47-533b-4c2a-a3c1-7f9ad1d63e10" providerId="ADAL" clId="{09EBC500-CCD1-4D38-83DD-0D27B16FD925}" dt="2020-03-30T11:37:00.819" v="1663"/>
          <ac:spMkLst>
            <pc:docMk/>
            <pc:sldMk cId="811236764" sldId="698"/>
            <ac:spMk id="3" creationId="{8F64A22E-2B43-4FC6-AF08-0CDB3F9E9269}"/>
          </ac:spMkLst>
        </pc:spChg>
        <pc:spChg chg="mod">
          <ac:chgData name="Renata Festa" userId="6f22df47-533b-4c2a-a3c1-7f9ad1d63e10" providerId="ADAL" clId="{09EBC500-CCD1-4D38-83DD-0D27B16FD925}" dt="2020-03-30T11:37:07.389" v="1667" actId="6549"/>
          <ac:spMkLst>
            <pc:docMk/>
            <pc:sldMk cId="811236764" sldId="698"/>
            <ac:spMk id="6" creationId="{637E159C-9ACF-48AE-927A-D5FB13695C7F}"/>
          </ac:spMkLst>
        </pc:spChg>
      </pc:sldChg>
      <pc:sldChg chg="addSp modSp add mod">
        <pc:chgData name="Renata Festa" userId="6f22df47-533b-4c2a-a3c1-7f9ad1d63e10" providerId="ADAL" clId="{09EBC500-CCD1-4D38-83DD-0D27B16FD925}" dt="2020-03-30T11:39:43.903" v="1704" actId="1037"/>
        <pc:sldMkLst>
          <pc:docMk/>
          <pc:sldMk cId="2984374178" sldId="699"/>
        </pc:sldMkLst>
        <pc:spChg chg="mod">
          <ac:chgData name="Renata Festa" userId="6f22df47-533b-4c2a-a3c1-7f9ad1d63e10" providerId="ADAL" clId="{09EBC500-CCD1-4D38-83DD-0D27B16FD925}" dt="2020-03-30T11:38:49.321" v="1689" actId="20577"/>
          <ac:spMkLst>
            <pc:docMk/>
            <pc:sldMk cId="2984374178" sldId="699"/>
            <ac:spMk id="2" creationId="{8E1106C1-85EA-48C4-B450-8E63694F8E1A}"/>
          </ac:spMkLst>
        </pc:spChg>
        <pc:spChg chg="add mod">
          <ac:chgData name="Renata Festa" userId="6f22df47-533b-4c2a-a3c1-7f9ad1d63e10" providerId="ADAL" clId="{09EBC500-CCD1-4D38-83DD-0D27B16FD925}" dt="2020-03-30T11:39:43.903" v="1704" actId="1037"/>
          <ac:spMkLst>
            <pc:docMk/>
            <pc:sldMk cId="2984374178" sldId="699"/>
            <ac:spMk id="4" creationId="{54BB21ED-B7ED-41AA-BA0E-0AAC7292EFEE}"/>
          </ac:spMkLst>
        </pc:spChg>
        <pc:spChg chg="add mod">
          <ac:chgData name="Renata Festa" userId="6f22df47-533b-4c2a-a3c1-7f9ad1d63e10" providerId="ADAL" clId="{09EBC500-CCD1-4D38-83DD-0D27B16FD925}" dt="2020-03-30T11:39:43.903" v="1704" actId="1037"/>
          <ac:spMkLst>
            <pc:docMk/>
            <pc:sldMk cId="2984374178" sldId="699"/>
            <ac:spMk id="5" creationId="{BDE89A6B-AD5A-43E6-B97D-273D74F7FB42}"/>
          </ac:spMkLst>
        </pc:spChg>
        <pc:spChg chg="add mod">
          <ac:chgData name="Renata Festa" userId="6f22df47-533b-4c2a-a3c1-7f9ad1d63e10" providerId="ADAL" clId="{09EBC500-CCD1-4D38-83DD-0D27B16FD925}" dt="2020-03-30T11:39:43.903" v="1704" actId="1037"/>
          <ac:spMkLst>
            <pc:docMk/>
            <pc:sldMk cId="2984374178" sldId="699"/>
            <ac:spMk id="6" creationId="{DAD00DE2-2E0B-4937-9A97-0974BFA53574}"/>
          </ac:spMkLst>
        </pc:spChg>
        <pc:spChg chg="add mod">
          <ac:chgData name="Renata Festa" userId="6f22df47-533b-4c2a-a3c1-7f9ad1d63e10" providerId="ADAL" clId="{09EBC500-CCD1-4D38-83DD-0D27B16FD925}" dt="2020-03-30T11:39:43.903" v="1704" actId="1037"/>
          <ac:spMkLst>
            <pc:docMk/>
            <pc:sldMk cId="2984374178" sldId="699"/>
            <ac:spMk id="7" creationId="{7DD0EDDB-2802-41DB-95AB-64D8D760BA46}"/>
          </ac:spMkLst>
        </pc:spChg>
        <pc:spChg chg="add mod">
          <ac:chgData name="Renata Festa" userId="6f22df47-533b-4c2a-a3c1-7f9ad1d63e10" providerId="ADAL" clId="{09EBC500-CCD1-4D38-83DD-0D27B16FD925}" dt="2020-03-30T11:39:43.903" v="1704" actId="1037"/>
          <ac:spMkLst>
            <pc:docMk/>
            <pc:sldMk cId="2984374178" sldId="699"/>
            <ac:spMk id="8" creationId="{56098493-B07E-496F-8FE1-0F33CC7FE1A7}"/>
          </ac:spMkLst>
        </pc:spChg>
        <pc:spChg chg="add mod">
          <ac:chgData name="Renata Festa" userId="6f22df47-533b-4c2a-a3c1-7f9ad1d63e10" providerId="ADAL" clId="{09EBC500-CCD1-4D38-83DD-0D27B16FD925}" dt="2020-03-30T11:39:43.903" v="1704" actId="1037"/>
          <ac:spMkLst>
            <pc:docMk/>
            <pc:sldMk cId="2984374178" sldId="699"/>
            <ac:spMk id="9" creationId="{17C26963-39B1-4631-9F78-02A71538C907}"/>
          </ac:spMkLst>
        </pc:spChg>
        <pc:spChg chg="mod">
          <ac:chgData name="Renata Festa" userId="6f22df47-533b-4c2a-a3c1-7f9ad1d63e10" providerId="ADAL" clId="{09EBC500-CCD1-4D38-83DD-0D27B16FD925}" dt="2020-03-30T11:39:28.417" v="1699" actId="403"/>
          <ac:spMkLst>
            <pc:docMk/>
            <pc:sldMk cId="2984374178" sldId="699"/>
            <ac:spMk id="11" creationId="{7BF7B3BB-5126-48F2-ADE1-B50E4824AB8E}"/>
          </ac:spMkLst>
        </pc:spChg>
        <pc:spChg chg="mod">
          <ac:chgData name="Renata Festa" userId="6f22df47-533b-4c2a-a3c1-7f9ad1d63e10" providerId="ADAL" clId="{09EBC500-CCD1-4D38-83DD-0D27B16FD925}" dt="2020-03-30T11:39:28.417" v="1699" actId="403"/>
          <ac:spMkLst>
            <pc:docMk/>
            <pc:sldMk cId="2984374178" sldId="699"/>
            <ac:spMk id="12" creationId="{E0E9A276-869B-4E02-8DCA-A309E10066EC}"/>
          </ac:spMkLst>
        </pc:spChg>
        <pc:spChg chg="mod">
          <ac:chgData name="Renata Festa" userId="6f22df47-533b-4c2a-a3c1-7f9ad1d63e10" providerId="ADAL" clId="{09EBC500-CCD1-4D38-83DD-0D27B16FD925}" dt="2020-03-30T11:39:28.417" v="1699" actId="403"/>
          <ac:spMkLst>
            <pc:docMk/>
            <pc:sldMk cId="2984374178" sldId="699"/>
            <ac:spMk id="13" creationId="{63CFC4DA-8C53-4BCE-AD38-5BC8E1FC84B6}"/>
          </ac:spMkLst>
        </pc:spChg>
        <pc:spChg chg="mod">
          <ac:chgData name="Renata Festa" userId="6f22df47-533b-4c2a-a3c1-7f9ad1d63e10" providerId="ADAL" clId="{09EBC500-CCD1-4D38-83DD-0D27B16FD925}" dt="2020-03-30T11:39:28.417" v="1699" actId="403"/>
          <ac:spMkLst>
            <pc:docMk/>
            <pc:sldMk cId="2984374178" sldId="699"/>
            <ac:spMk id="14" creationId="{92085C72-BE8D-48DF-96DF-DC0D873B84E7}"/>
          </ac:spMkLst>
        </pc:spChg>
        <pc:spChg chg="mod">
          <ac:chgData name="Renata Festa" userId="6f22df47-533b-4c2a-a3c1-7f9ad1d63e10" providerId="ADAL" clId="{09EBC500-CCD1-4D38-83DD-0D27B16FD925}" dt="2020-03-30T11:39:28.417" v="1699" actId="403"/>
          <ac:spMkLst>
            <pc:docMk/>
            <pc:sldMk cId="2984374178" sldId="699"/>
            <ac:spMk id="15" creationId="{99A393BB-B3C1-4076-8CCC-B345472C2C0A}"/>
          </ac:spMkLst>
        </pc:spChg>
        <pc:spChg chg="mod">
          <ac:chgData name="Renata Festa" userId="6f22df47-533b-4c2a-a3c1-7f9ad1d63e10" providerId="ADAL" clId="{09EBC500-CCD1-4D38-83DD-0D27B16FD925}" dt="2020-03-30T11:39:28.417" v="1699" actId="403"/>
          <ac:spMkLst>
            <pc:docMk/>
            <pc:sldMk cId="2984374178" sldId="699"/>
            <ac:spMk id="16" creationId="{8DB64BE2-EEAF-44D8-BBD4-51F1AAA4CEFD}"/>
          </ac:spMkLst>
        </pc:spChg>
        <pc:spChg chg="add mod">
          <ac:chgData name="Renata Festa" userId="6f22df47-533b-4c2a-a3c1-7f9ad1d63e10" providerId="ADAL" clId="{09EBC500-CCD1-4D38-83DD-0D27B16FD925}" dt="2020-03-30T11:39:43.903" v="1704" actId="1037"/>
          <ac:spMkLst>
            <pc:docMk/>
            <pc:sldMk cId="2984374178" sldId="699"/>
            <ac:spMk id="17" creationId="{F6CBF847-E98D-4C33-975E-CEF035C8A6CC}"/>
          </ac:spMkLst>
        </pc:spChg>
        <pc:spChg chg="add mod">
          <ac:chgData name="Renata Festa" userId="6f22df47-533b-4c2a-a3c1-7f9ad1d63e10" providerId="ADAL" clId="{09EBC500-CCD1-4D38-83DD-0D27B16FD925}" dt="2020-03-30T11:39:43.903" v="1704" actId="1037"/>
          <ac:spMkLst>
            <pc:docMk/>
            <pc:sldMk cId="2984374178" sldId="699"/>
            <ac:spMk id="18" creationId="{F1EBE68C-17A8-4ECA-A7FA-F8F099691085}"/>
          </ac:spMkLst>
        </pc:spChg>
        <pc:spChg chg="add mod">
          <ac:chgData name="Renata Festa" userId="6f22df47-533b-4c2a-a3c1-7f9ad1d63e10" providerId="ADAL" clId="{09EBC500-CCD1-4D38-83DD-0D27B16FD925}" dt="2020-03-30T11:39:43.903" v="1704" actId="1037"/>
          <ac:spMkLst>
            <pc:docMk/>
            <pc:sldMk cId="2984374178" sldId="699"/>
            <ac:spMk id="19" creationId="{FC085CE7-95C2-441C-B86E-D5528FC147B5}"/>
          </ac:spMkLst>
        </pc:spChg>
        <pc:spChg chg="add mod">
          <ac:chgData name="Renata Festa" userId="6f22df47-533b-4c2a-a3c1-7f9ad1d63e10" providerId="ADAL" clId="{09EBC500-CCD1-4D38-83DD-0D27B16FD925}" dt="2020-03-30T11:39:43.903" v="1704" actId="1037"/>
          <ac:spMkLst>
            <pc:docMk/>
            <pc:sldMk cId="2984374178" sldId="699"/>
            <ac:spMk id="20" creationId="{059D93F4-C216-4BF4-95F1-99BC52A3F1E7}"/>
          </ac:spMkLst>
        </pc:spChg>
        <pc:spChg chg="add mod">
          <ac:chgData name="Renata Festa" userId="6f22df47-533b-4c2a-a3c1-7f9ad1d63e10" providerId="ADAL" clId="{09EBC500-CCD1-4D38-83DD-0D27B16FD925}" dt="2020-03-30T11:39:43.903" v="1704" actId="1037"/>
          <ac:spMkLst>
            <pc:docMk/>
            <pc:sldMk cId="2984374178" sldId="699"/>
            <ac:spMk id="21" creationId="{6D20CA93-D4CD-4932-8434-ED1B522BAF2E}"/>
          </ac:spMkLst>
        </pc:spChg>
        <pc:spChg chg="add mod">
          <ac:chgData name="Renata Festa" userId="6f22df47-533b-4c2a-a3c1-7f9ad1d63e10" providerId="ADAL" clId="{09EBC500-CCD1-4D38-83DD-0D27B16FD925}" dt="2020-03-30T11:39:43.903" v="1704" actId="1037"/>
          <ac:spMkLst>
            <pc:docMk/>
            <pc:sldMk cId="2984374178" sldId="699"/>
            <ac:spMk id="22" creationId="{CEFAA354-DA1E-45B6-8049-DD175A770304}"/>
          </ac:spMkLst>
        </pc:spChg>
        <pc:grpChg chg="add mod">
          <ac:chgData name="Renata Festa" userId="6f22df47-533b-4c2a-a3c1-7f9ad1d63e10" providerId="ADAL" clId="{09EBC500-CCD1-4D38-83DD-0D27B16FD925}" dt="2020-03-30T11:39:43.903" v="1704" actId="1037"/>
          <ac:grpSpMkLst>
            <pc:docMk/>
            <pc:sldMk cId="2984374178" sldId="699"/>
            <ac:grpSpMk id="10" creationId="{B3EDC58B-22BF-476D-99AA-FE9105EB3F5A}"/>
          </ac:grpSpMkLst>
        </pc:grpChg>
      </pc:sldChg>
      <pc:sldChg chg="add del">
        <pc:chgData name="Renata Festa" userId="6f22df47-533b-4c2a-a3c1-7f9ad1d63e10" providerId="ADAL" clId="{09EBC500-CCD1-4D38-83DD-0D27B16FD925}" dt="2020-03-30T11:40:30.254" v="1713" actId="47"/>
        <pc:sldMkLst>
          <pc:docMk/>
          <pc:sldMk cId="3525256636" sldId="700"/>
        </pc:sldMkLst>
      </pc:sldChg>
      <pc:sldChg chg="add del">
        <pc:chgData name="Renata Festa" userId="6f22df47-533b-4c2a-a3c1-7f9ad1d63e10" providerId="ADAL" clId="{09EBC500-CCD1-4D38-83DD-0D27B16FD925}" dt="2020-03-30T11:40:00.404" v="1706" actId="47"/>
        <pc:sldMkLst>
          <pc:docMk/>
          <pc:sldMk cId="1375442302" sldId="701"/>
        </pc:sldMkLst>
      </pc:sldChg>
      <pc:sldChg chg="modSp add mod">
        <pc:chgData name="Renata Festa" userId="6f22df47-533b-4c2a-a3c1-7f9ad1d63e10" providerId="ADAL" clId="{09EBC500-CCD1-4D38-83DD-0D27B16FD925}" dt="2020-03-30T11:40:20.030" v="1712" actId="20577"/>
        <pc:sldMkLst>
          <pc:docMk/>
          <pc:sldMk cId="2787079526" sldId="701"/>
        </pc:sldMkLst>
        <pc:spChg chg="mod">
          <ac:chgData name="Renata Festa" userId="6f22df47-533b-4c2a-a3c1-7f9ad1d63e10" providerId="ADAL" clId="{09EBC500-CCD1-4D38-83DD-0D27B16FD925}" dt="2020-03-30T11:40:13.729" v="1708"/>
          <ac:spMkLst>
            <pc:docMk/>
            <pc:sldMk cId="2787079526" sldId="701"/>
            <ac:spMk id="3" creationId="{8F64A22E-2B43-4FC6-AF08-0CDB3F9E9269}"/>
          </ac:spMkLst>
        </pc:spChg>
        <pc:spChg chg="mod">
          <ac:chgData name="Renata Festa" userId="6f22df47-533b-4c2a-a3c1-7f9ad1d63e10" providerId="ADAL" clId="{09EBC500-CCD1-4D38-83DD-0D27B16FD925}" dt="2020-03-30T11:40:20.030" v="1712" actId="20577"/>
          <ac:spMkLst>
            <pc:docMk/>
            <pc:sldMk cId="2787079526" sldId="701"/>
            <ac:spMk id="6" creationId="{637E159C-9ACF-48AE-927A-D5FB13695C7F}"/>
          </ac:spMkLst>
        </pc:spChg>
      </pc:sldChg>
    </pc:docChg>
  </pc:docChgLst>
  <pc:docChgLst>
    <pc:chgData name="Batuhan Yildiz" userId="90f344fc-4655-4923-aeaf-697bba59c1a7" providerId="ADAL" clId="{16FB7F30-96EA-4404-8E16-DDF8296BDF62}"/>
    <pc:docChg chg="undo custSel modSld">
      <pc:chgData name="Batuhan Yildiz" userId="90f344fc-4655-4923-aeaf-697bba59c1a7" providerId="ADAL" clId="{16FB7F30-96EA-4404-8E16-DDF8296BDF62}" dt="2020-05-01T01:28:01.494" v="126" actId="6549"/>
      <pc:docMkLst>
        <pc:docMk/>
      </pc:docMkLst>
      <pc:sldChg chg="modNotesTx">
        <pc:chgData name="Batuhan Yildiz" userId="90f344fc-4655-4923-aeaf-697bba59c1a7" providerId="ADAL" clId="{16FB7F30-96EA-4404-8E16-DDF8296BDF62}" dt="2020-05-01T01:05:19.996" v="17" actId="6549"/>
        <pc:sldMkLst>
          <pc:docMk/>
          <pc:sldMk cId="1487953619" sldId="574"/>
        </pc:sldMkLst>
      </pc:sldChg>
      <pc:sldChg chg="modNotesTx">
        <pc:chgData name="Batuhan Yildiz" userId="90f344fc-4655-4923-aeaf-697bba59c1a7" providerId="ADAL" clId="{16FB7F30-96EA-4404-8E16-DDF8296BDF62}" dt="2020-05-01T01:10:37.524" v="27" actId="6549"/>
        <pc:sldMkLst>
          <pc:docMk/>
          <pc:sldMk cId="743308310" sldId="593"/>
        </pc:sldMkLst>
      </pc:sldChg>
      <pc:sldChg chg="modNotesTx">
        <pc:chgData name="Batuhan Yildiz" userId="90f344fc-4655-4923-aeaf-697bba59c1a7" providerId="ADAL" clId="{16FB7F30-96EA-4404-8E16-DDF8296BDF62}" dt="2020-05-01T01:13:55.837" v="85" actId="20577"/>
        <pc:sldMkLst>
          <pc:docMk/>
          <pc:sldMk cId="3871311965" sldId="601"/>
        </pc:sldMkLst>
      </pc:sldChg>
      <pc:sldChg chg="modNotesTx">
        <pc:chgData name="Batuhan Yildiz" userId="90f344fc-4655-4923-aeaf-697bba59c1a7" providerId="ADAL" clId="{16FB7F30-96EA-4404-8E16-DDF8296BDF62}" dt="2020-05-01T01:20:17.649" v="113" actId="6549"/>
        <pc:sldMkLst>
          <pc:docMk/>
          <pc:sldMk cId="13571892" sldId="609"/>
        </pc:sldMkLst>
      </pc:sldChg>
      <pc:sldChg chg="modNotesTx">
        <pc:chgData name="Batuhan Yildiz" userId="90f344fc-4655-4923-aeaf-697bba59c1a7" providerId="ADAL" clId="{16FB7F30-96EA-4404-8E16-DDF8296BDF62}" dt="2020-05-01T01:28:01.494" v="126" actId="6549"/>
        <pc:sldMkLst>
          <pc:docMk/>
          <pc:sldMk cId="1689261473" sldId="617"/>
        </pc:sldMkLst>
      </pc:sldChg>
    </pc:docChg>
  </pc:docChgLst>
  <pc:docChgLst>
    <pc:chgData name="Batuhan Yildiz" userId="90f344fc-4655-4923-aeaf-697bba59c1a7" providerId="ADAL" clId="{8CBEF927-9AD5-451C-9ED2-7CC09B6668CA}"/>
    <pc:docChg chg="undo custSel modSld">
      <pc:chgData name="Batuhan Yildiz" userId="90f344fc-4655-4923-aeaf-697bba59c1a7" providerId="ADAL" clId="{8CBEF927-9AD5-451C-9ED2-7CC09B6668CA}" dt="2020-05-19T21:59:40.254" v="89" actId="478"/>
      <pc:docMkLst>
        <pc:docMk/>
      </pc:docMkLst>
      <pc:sldChg chg="delSp modSp mod">
        <pc:chgData name="Batuhan Yildiz" userId="90f344fc-4655-4923-aeaf-697bba59c1a7" providerId="ADAL" clId="{8CBEF927-9AD5-451C-9ED2-7CC09B6668CA}" dt="2020-05-19T21:40:17.335" v="6" actId="478"/>
        <pc:sldMkLst>
          <pc:docMk/>
          <pc:sldMk cId="384087871" sldId="641"/>
        </pc:sldMkLst>
        <pc:spChg chg="del">
          <ac:chgData name="Batuhan Yildiz" userId="90f344fc-4655-4923-aeaf-697bba59c1a7" providerId="ADAL" clId="{8CBEF927-9AD5-451C-9ED2-7CC09B6668CA}" dt="2020-05-19T21:40:17.335" v="6" actId="478"/>
          <ac:spMkLst>
            <pc:docMk/>
            <pc:sldMk cId="384087871" sldId="641"/>
            <ac:spMk id="3" creationId="{5CCE366E-BAD6-4A66-B593-D8A629C5682C}"/>
          </ac:spMkLst>
        </pc:spChg>
        <pc:graphicFrameChg chg="mod modGraphic">
          <ac:chgData name="Batuhan Yildiz" userId="90f344fc-4655-4923-aeaf-697bba59c1a7" providerId="ADAL" clId="{8CBEF927-9AD5-451C-9ED2-7CC09B6668CA}" dt="2020-05-19T21:40:08.966" v="5" actId="14100"/>
          <ac:graphicFrameMkLst>
            <pc:docMk/>
            <pc:sldMk cId="384087871" sldId="641"/>
            <ac:graphicFrameMk id="10" creationId="{A13FFBFC-D3E9-4F75-8FA3-A0B1EB840D80}"/>
          </ac:graphicFrameMkLst>
        </pc:graphicFrameChg>
      </pc:sldChg>
      <pc:sldChg chg="modSp">
        <pc:chgData name="Batuhan Yildiz" userId="90f344fc-4655-4923-aeaf-697bba59c1a7" providerId="ADAL" clId="{8CBEF927-9AD5-451C-9ED2-7CC09B6668CA}" dt="2020-05-19T21:55:11.181" v="68" actId="14100"/>
        <pc:sldMkLst>
          <pc:docMk/>
          <pc:sldMk cId="2816314315" sldId="644"/>
        </pc:sldMkLst>
        <pc:graphicFrameChg chg="mod">
          <ac:chgData name="Batuhan Yildiz" userId="90f344fc-4655-4923-aeaf-697bba59c1a7" providerId="ADAL" clId="{8CBEF927-9AD5-451C-9ED2-7CC09B6668CA}" dt="2020-05-19T21:55:11.181" v="68" actId="14100"/>
          <ac:graphicFrameMkLst>
            <pc:docMk/>
            <pc:sldMk cId="2816314315" sldId="644"/>
            <ac:graphicFrameMk id="3" creationId="{9484E1FE-7534-495E-863C-657A46F5E628}"/>
          </ac:graphicFrameMkLst>
        </pc:graphicFrameChg>
      </pc:sldChg>
      <pc:sldChg chg="modSp">
        <pc:chgData name="Batuhan Yildiz" userId="90f344fc-4655-4923-aeaf-697bba59c1a7" providerId="ADAL" clId="{8CBEF927-9AD5-451C-9ED2-7CC09B6668CA}" dt="2020-05-19T21:50:59.631" v="52" actId="255"/>
        <pc:sldMkLst>
          <pc:docMk/>
          <pc:sldMk cId="1361087952" sldId="646"/>
        </pc:sldMkLst>
        <pc:graphicFrameChg chg="mod">
          <ac:chgData name="Batuhan Yildiz" userId="90f344fc-4655-4923-aeaf-697bba59c1a7" providerId="ADAL" clId="{8CBEF927-9AD5-451C-9ED2-7CC09B6668CA}" dt="2020-05-19T21:50:59.631" v="52" actId="255"/>
          <ac:graphicFrameMkLst>
            <pc:docMk/>
            <pc:sldMk cId="1361087952" sldId="646"/>
            <ac:graphicFrameMk id="3" creationId="{9484E1FE-7534-495E-863C-657A46F5E628}"/>
          </ac:graphicFrameMkLst>
        </pc:graphicFrameChg>
      </pc:sldChg>
      <pc:sldChg chg="modSp">
        <pc:chgData name="Batuhan Yildiz" userId="90f344fc-4655-4923-aeaf-697bba59c1a7" providerId="ADAL" clId="{8CBEF927-9AD5-451C-9ED2-7CC09B6668CA}" dt="2020-05-19T21:49:29.018" v="44" actId="255"/>
        <pc:sldMkLst>
          <pc:docMk/>
          <pc:sldMk cId="3626538139" sldId="647"/>
        </pc:sldMkLst>
        <pc:graphicFrameChg chg="mod">
          <ac:chgData name="Batuhan Yildiz" userId="90f344fc-4655-4923-aeaf-697bba59c1a7" providerId="ADAL" clId="{8CBEF927-9AD5-451C-9ED2-7CC09B6668CA}" dt="2020-05-19T21:49:29.018" v="44" actId="255"/>
          <ac:graphicFrameMkLst>
            <pc:docMk/>
            <pc:sldMk cId="3626538139" sldId="647"/>
            <ac:graphicFrameMk id="3" creationId="{9484E1FE-7534-495E-863C-657A46F5E628}"/>
          </ac:graphicFrameMkLst>
        </pc:graphicFrameChg>
      </pc:sldChg>
      <pc:sldChg chg="modSp">
        <pc:chgData name="Batuhan Yildiz" userId="90f344fc-4655-4923-aeaf-697bba59c1a7" providerId="ADAL" clId="{8CBEF927-9AD5-451C-9ED2-7CC09B6668CA}" dt="2020-05-19T21:42:35.290" v="16" actId="14100"/>
        <pc:sldMkLst>
          <pc:docMk/>
          <pc:sldMk cId="3377701618" sldId="650"/>
        </pc:sldMkLst>
        <pc:graphicFrameChg chg="mod">
          <ac:chgData name="Batuhan Yildiz" userId="90f344fc-4655-4923-aeaf-697bba59c1a7" providerId="ADAL" clId="{8CBEF927-9AD5-451C-9ED2-7CC09B6668CA}" dt="2020-05-19T21:42:35.290" v="16" actId="14100"/>
          <ac:graphicFrameMkLst>
            <pc:docMk/>
            <pc:sldMk cId="3377701618" sldId="650"/>
            <ac:graphicFrameMk id="3" creationId="{9484E1FE-7534-495E-863C-657A46F5E628}"/>
          </ac:graphicFrameMkLst>
        </pc:graphicFrameChg>
      </pc:sldChg>
      <pc:sldChg chg="modSp">
        <pc:chgData name="Batuhan Yildiz" userId="90f344fc-4655-4923-aeaf-697bba59c1a7" providerId="ADAL" clId="{8CBEF927-9AD5-451C-9ED2-7CC09B6668CA}" dt="2020-05-19T21:40:36.394" v="8" actId="12100"/>
        <pc:sldMkLst>
          <pc:docMk/>
          <pc:sldMk cId="790089944" sldId="651"/>
        </pc:sldMkLst>
        <pc:graphicFrameChg chg="mod">
          <ac:chgData name="Batuhan Yildiz" userId="90f344fc-4655-4923-aeaf-697bba59c1a7" providerId="ADAL" clId="{8CBEF927-9AD5-451C-9ED2-7CC09B6668CA}" dt="2020-05-19T21:40:36.394" v="8" actId="12100"/>
          <ac:graphicFrameMkLst>
            <pc:docMk/>
            <pc:sldMk cId="790089944" sldId="651"/>
            <ac:graphicFrameMk id="65" creationId="{CDCE79F0-0194-4236-9987-3FF01EC2C5BC}"/>
          </ac:graphicFrameMkLst>
        </pc:graphicFrameChg>
      </pc:sldChg>
      <pc:sldChg chg="modSp">
        <pc:chgData name="Batuhan Yildiz" userId="90f344fc-4655-4923-aeaf-697bba59c1a7" providerId="ADAL" clId="{8CBEF927-9AD5-451C-9ED2-7CC09B6668CA}" dt="2020-05-19T21:40:47.224" v="9" actId="12100"/>
        <pc:sldMkLst>
          <pc:docMk/>
          <pc:sldMk cId="4065858178" sldId="652"/>
        </pc:sldMkLst>
        <pc:graphicFrameChg chg="mod">
          <ac:chgData name="Batuhan Yildiz" userId="90f344fc-4655-4923-aeaf-697bba59c1a7" providerId="ADAL" clId="{8CBEF927-9AD5-451C-9ED2-7CC09B6668CA}" dt="2020-05-19T21:40:47.224" v="9" actId="12100"/>
          <ac:graphicFrameMkLst>
            <pc:docMk/>
            <pc:sldMk cId="4065858178" sldId="652"/>
            <ac:graphicFrameMk id="5" creationId="{995DE8B3-90BB-4E43-8AB2-C7B23E25B00A}"/>
          </ac:graphicFrameMkLst>
        </pc:graphicFrameChg>
      </pc:sldChg>
      <pc:sldChg chg="modSp modAnim">
        <pc:chgData name="Batuhan Yildiz" userId="90f344fc-4655-4923-aeaf-697bba59c1a7" providerId="ADAL" clId="{8CBEF927-9AD5-451C-9ED2-7CC09B6668CA}" dt="2020-05-19T21:41:47.009" v="13" actId="12100"/>
        <pc:sldMkLst>
          <pc:docMk/>
          <pc:sldMk cId="630716458" sldId="653"/>
        </pc:sldMkLst>
        <pc:graphicFrameChg chg="mod">
          <ac:chgData name="Batuhan Yildiz" userId="90f344fc-4655-4923-aeaf-697bba59c1a7" providerId="ADAL" clId="{8CBEF927-9AD5-451C-9ED2-7CC09B6668CA}" dt="2020-05-19T21:41:47.009" v="13" actId="12100"/>
          <ac:graphicFrameMkLst>
            <pc:docMk/>
            <pc:sldMk cId="630716458" sldId="653"/>
            <ac:graphicFrameMk id="4" creationId="{4E7FB55A-2C6D-400F-8F89-6CCD7B42531C}"/>
          </ac:graphicFrameMkLst>
        </pc:graphicFrameChg>
      </pc:sldChg>
      <pc:sldChg chg="modSp">
        <pc:chgData name="Batuhan Yildiz" userId="90f344fc-4655-4923-aeaf-697bba59c1a7" providerId="ADAL" clId="{8CBEF927-9AD5-451C-9ED2-7CC09B6668CA}" dt="2020-05-19T21:42:15.258" v="14" actId="207"/>
        <pc:sldMkLst>
          <pc:docMk/>
          <pc:sldMk cId="1794916588" sldId="654"/>
        </pc:sldMkLst>
        <pc:spChg chg="mod">
          <ac:chgData name="Batuhan Yildiz" userId="90f344fc-4655-4923-aeaf-697bba59c1a7" providerId="ADAL" clId="{8CBEF927-9AD5-451C-9ED2-7CC09B6668CA}" dt="2020-05-19T21:42:15.258" v="14" actId="207"/>
          <ac:spMkLst>
            <pc:docMk/>
            <pc:sldMk cId="1794916588" sldId="654"/>
            <ac:spMk id="7" creationId="{A6304FEA-03ED-4B98-B11C-8D6D1F6C780C}"/>
          </ac:spMkLst>
        </pc:spChg>
      </pc:sldChg>
      <pc:sldChg chg="modSp">
        <pc:chgData name="Batuhan Yildiz" userId="90f344fc-4655-4923-aeaf-697bba59c1a7" providerId="ADAL" clId="{8CBEF927-9AD5-451C-9ED2-7CC09B6668CA}" dt="2020-05-19T21:43:02.675" v="20" actId="14100"/>
        <pc:sldMkLst>
          <pc:docMk/>
          <pc:sldMk cId="3565955703" sldId="655"/>
        </pc:sldMkLst>
        <pc:graphicFrameChg chg="mod">
          <ac:chgData name="Batuhan Yildiz" userId="90f344fc-4655-4923-aeaf-697bba59c1a7" providerId="ADAL" clId="{8CBEF927-9AD5-451C-9ED2-7CC09B6668CA}" dt="2020-05-19T21:43:02.675" v="20" actId="14100"/>
          <ac:graphicFrameMkLst>
            <pc:docMk/>
            <pc:sldMk cId="3565955703" sldId="655"/>
            <ac:graphicFrameMk id="4" creationId="{ECD81283-FAFB-407D-A631-B1EA8B99D9E5}"/>
          </ac:graphicFrameMkLst>
        </pc:graphicFrameChg>
      </pc:sldChg>
      <pc:sldChg chg="modSp">
        <pc:chgData name="Batuhan Yildiz" userId="90f344fc-4655-4923-aeaf-697bba59c1a7" providerId="ADAL" clId="{8CBEF927-9AD5-451C-9ED2-7CC09B6668CA}" dt="2020-05-19T21:44:07.733" v="21" actId="12100"/>
        <pc:sldMkLst>
          <pc:docMk/>
          <pc:sldMk cId="3180457341" sldId="657"/>
        </pc:sldMkLst>
        <pc:graphicFrameChg chg="mod">
          <ac:chgData name="Batuhan Yildiz" userId="90f344fc-4655-4923-aeaf-697bba59c1a7" providerId="ADAL" clId="{8CBEF927-9AD5-451C-9ED2-7CC09B6668CA}" dt="2020-05-19T21:44:07.733" v="21" actId="12100"/>
          <ac:graphicFrameMkLst>
            <pc:docMk/>
            <pc:sldMk cId="3180457341" sldId="657"/>
            <ac:graphicFrameMk id="5" creationId="{A9E451C3-1216-42E7-A6BB-92BF0A2FBAE0}"/>
          </ac:graphicFrameMkLst>
        </pc:graphicFrameChg>
      </pc:sldChg>
      <pc:sldChg chg="modSp">
        <pc:chgData name="Batuhan Yildiz" userId="90f344fc-4655-4923-aeaf-697bba59c1a7" providerId="ADAL" clId="{8CBEF927-9AD5-451C-9ED2-7CC09B6668CA}" dt="2020-05-19T21:44:28.165" v="23" actId="12100"/>
        <pc:sldMkLst>
          <pc:docMk/>
          <pc:sldMk cId="843847078" sldId="658"/>
        </pc:sldMkLst>
        <pc:graphicFrameChg chg="mod">
          <ac:chgData name="Batuhan Yildiz" userId="90f344fc-4655-4923-aeaf-697bba59c1a7" providerId="ADAL" clId="{8CBEF927-9AD5-451C-9ED2-7CC09B6668CA}" dt="2020-05-19T21:44:28.165" v="23" actId="12100"/>
          <ac:graphicFrameMkLst>
            <pc:docMk/>
            <pc:sldMk cId="843847078" sldId="658"/>
            <ac:graphicFrameMk id="5" creationId="{2C92F978-4CA7-4BF6-92C7-DE0A61994C36}"/>
          </ac:graphicFrameMkLst>
        </pc:graphicFrameChg>
      </pc:sldChg>
      <pc:sldChg chg="delSp mod">
        <pc:chgData name="Batuhan Yildiz" userId="90f344fc-4655-4923-aeaf-697bba59c1a7" providerId="ADAL" clId="{8CBEF927-9AD5-451C-9ED2-7CC09B6668CA}" dt="2020-05-19T21:44:39.777" v="24" actId="478"/>
        <pc:sldMkLst>
          <pc:docMk/>
          <pc:sldMk cId="2109347412" sldId="659"/>
        </pc:sldMkLst>
        <pc:spChg chg="del">
          <ac:chgData name="Batuhan Yildiz" userId="90f344fc-4655-4923-aeaf-697bba59c1a7" providerId="ADAL" clId="{8CBEF927-9AD5-451C-9ED2-7CC09B6668CA}" dt="2020-05-19T21:44:39.777" v="24" actId="478"/>
          <ac:spMkLst>
            <pc:docMk/>
            <pc:sldMk cId="2109347412" sldId="659"/>
            <ac:spMk id="3" creationId="{7E6B30F7-F81C-4643-8CFC-F2D84B99F090}"/>
          </ac:spMkLst>
        </pc:spChg>
      </pc:sldChg>
      <pc:sldChg chg="modSp">
        <pc:chgData name="Batuhan Yildiz" userId="90f344fc-4655-4923-aeaf-697bba59c1a7" providerId="ADAL" clId="{8CBEF927-9AD5-451C-9ED2-7CC09B6668CA}" dt="2020-05-19T21:44:46.872" v="25" actId="12100"/>
        <pc:sldMkLst>
          <pc:docMk/>
          <pc:sldMk cId="4253656825" sldId="660"/>
        </pc:sldMkLst>
        <pc:graphicFrameChg chg="mod">
          <ac:chgData name="Batuhan Yildiz" userId="90f344fc-4655-4923-aeaf-697bba59c1a7" providerId="ADAL" clId="{8CBEF927-9AD5-451C-9ED2-7CC09B6668CA}" dt="2020-05-19T21:44:46.872" v="25" actId="12100"/>
          <ac:graphicFrameMkLst>
            <pc:docMk/>
            <pc:sldMk cId="4253656825" sldId="660"/>
            <ac:graphicFrameMk id="4" creationId="{0D135BFA-DA20-43D1-9C32-99570BDCA6A1}"/>
          </ac:graphicFrameMkLst>
        </pc:graphicFrameChg>
      </pc:sldChg>
      <pc:sldChg chg="modSp">
        <pc:chgData name="Batuhan Yildiz" userId="90f344fc-4655-4923-aeaf-697bba59c1a7" providerId="ADAL" clId="{8CBEF927-9AD5-451C-9ED2-7CC09B6668CA}" dt="2020-05-19T21:45:10.970" v="27" actId="255"/>
        <pc:sldMkLst>
          <pc:docMk/>
          <pc:sldMk cId="1382598971" sldId="661"/>
        </pc:sldMkLst>
        <pc:graphicFrameChg chg="mod">
          <ac:chgData name="Batuhan Yildiz" userId="90f344fc-4655-4923-aeaf-697bba59c1a7" providerId="ADAL" clId="{8CBEF927-9AD5-451C-9ED2-7CC09B6668CA}" dt="2020-05-19T21:45:10.970" v="27" actId="255"/>
          <ac:graphicFrameMkLst>
            <pc:docMk/>
            <pc:sldMk cId="1382598971" sldId="661"/>
            <ac:graphicFrameMk id="12" creationId="{56F2E991-6E3E-439F-8F27-C52E12291514}"/>
          </ac:graphicFrameMkLst>
        </pc:graphicFrameChg>
      </pc:sldChg>
      <pc:sldChg chg="modSp">
        <pc:chgData name="Batuhan Yildiz" userId="90f344fc-4655-4923-aeaf-697bba59c1a7" providerId="ADAL" clId="{8CBEF927-9AD5-451C-9ED2-7CC09B6668CA}" dt="2020-05-19T21:44:21.788" v="22" actId="12100"/>
        <pc:sldMkLst>
          <pc:docMk/>
          <pc:sldMk cId="2984954813" sldId="662"/>
        </pc:sldMkLst>
        <pc:graphicFrameChg chg="mod">
          <ac:chgData name="Batuhan Yildiz" userId="90f344fc-4655-4923-aeaf-697bba59c1a7" providerId="ADAL" clId="{8CBEF927-9AD5-451C-9ED2-7CC09B6668CA}" dt="2020-05-19T21:44:21.788" v="22" actId="12100"/>
          <ac:graphicFrameMkLst>
            <pc:docMk/>
            <pc:sldMk cId="2984954813" sldId="662"/>
            <ac:graphicFrameMk id="5" creationId="{A9E451C3-1216-42E7-A6BB-92BF0A2FBAE0}"/>
          </ac:graphicFrameMkLst>
        </pc:graphicFrameChg>
      </pc:sldChg>
      <pc:sldChg chg="modSp">
        <pc:chgData name="Batuhan Yildiz" userId="90f344fc-4655-4923-aeaf-697bba59c1a7" providerId="ADAL" clId="{8CBEF927-9AD5-451C-9ED2-7CC09B6668CA}" dt="2020-05-19T21:45:25.122" v="29" actId="255"/>
        <pc:sldMkLst>
          <pc:docMk/>
          <pc:sldMk cId="2571899831" sldId="663"/>
        </pc:sldMkLst>
        <pc:graphicFrameChg chg="mod">
          <ac:chgData name="Batuhan Yildiz" userId="90f344fc-4655-4923-aeaf-697bba59c1a7" providerId="ADAL" clId="{8CBEF927-9AD5-451C-9ED2-7CC09B6668CA}" dt="2020-05-19T21:45:25.122" v="29" actId="255"/>
          <ac:graphicFrameMkLst>
            <pc:docMk/>
            <pc:sldMk cId="2571899831" sldId="663"/>
            <ac:graphicFrameMk id="4" creationId="{A2408101-D67D-4506-8558-807639AEB55A}"/>
          </ac:graphicFrameMkLst>
        </pc:graphicFrameChg>
      </pc:sldChg>
      <pc:sldChg chg="modSp modAnim">
        <pc:chgData name="Batuhan Yildiz" userId="90f344fc-4655-4923-aeaf-697bba59c1a7" providerId="ADAL" clId="{8CBEF927-9AD5-451C-9ED2-7CC09B6668CA}" dt="2020-05-19T21:45:51.348" v="32" actId="14100"/>
        <pc:sldMkLst>
          <pc:docMk/>
          <pc:sldMk cId="477074457" sldId="664"/>
        </pc:sldMkLst>
        <pc:graphicFrameChg chg="mod">
          <ac:chgData name="Batuhan Yildiz" userId="90f344fc-4655-4923-aeaf-697bba59c1a7" providerId="ADAL" clId="{8CBEF927-9AD5-451C-9ED2-7CC09B6668CA}" dt="2020-05-19T21:45:51.348" v="32" actId="14100"/>
          <ac:graphicFrameMkLst>
            <pc:docMk/>
            <pc:sldMk cId="477074457" sldId="664"/>
            <ac:graphicFrameMk id="49" creationId="{5E3C1D81-692F-4A4F-A1BE-4A16E160D88F}"/>
          </ac:graphicFrameMkLst>
        </pc:graphicFrameChg>
      </pc:sldChg>
      <pc:sldChg chg="addSp delSp modSp mod modClrScheme chgLayout">
        <pc:chgData name="Batuhan Yildiz" userId="90f344fc-4655-4923-aeaf-697bba59c1a7" providerId="ADAL" clId="{8CBEF927-9AD5-451C-9ED2-7CC09B6668CA}" dt="2020-05-19T21:46:39.783" v="36" actId="700"/>
        <pc:sldMkLst>
          <pc:docMk/>
          <pc:sldMk cId="237758153" sldId="665"/>
        </pc:sldMkLst>
        <pc:spChg chg="mod ord">
          <ac:chgData name="Batuhan Yildiz" userId="90f344fc-4655-4923-aeaf-697bba59c1a7" providerId="ADAL" clId="{8CBEF927-9AD5-451C-9ED2-7CC09B6668CA}" dt="2020-05-19T21:46:39.783" v="36" actId="700"/>
          <ac:spMkLst>
            <pc:docMk/>
            <pc:sldMk cId="237758153" sldId="665"/>
            <ac:spMk id="2" creationId="{59F9591A-8F78-4C18-A986-C8ADA6DA017D}"/>
          </ac:spMkLst>
        </pc:spChg>
        <pc:spChg chg="add del mod ord">
          <ac:chgData name="Batuhan Yildiz" userId="90f344fc-4655-4923-aeaf-697bba59c1a7" providerId="ADAL" clId="{8CBEF927-9AD5-451C-9ED2-7CC09B6668CA}" dt="2020-05-19T21:46:39.783" v="36" actId="700"/>
          <ac:spMkLst>
            <pc:docMk/>
            <pc:sldMk cId="237758153" sldId="665"/>
            <ac:spMk id="3" creationId="{8E4CF69D-1FA8-4021-9158-1757AC8E0E68}"/>
          </ac:spMkLst>
        </pc:spChg>
        <pc:graphicFrameChg chg="mod ord">
          <ac:chgData name="Batuhan Yildiz" userId="90f344fc-4655-4923-aeaf-697bba59c1a7" providerId="ADAL" clId="{8CBEF927-9AD5-451C-9ED2-7CC09B6668CA}" dt="2020-05-19T21:46:39.783" v="36" actId="700"/>
          <ac:graphicFrameMkLst>
            <pc:docMk/>
            <pc:sldMk cId="237758153" sldId="665"/>
            <ac:graphicFrameMk id="4" creationId="{E8275E22-5A11-428F-ABA0-6E1E55962C85}"/>
          </ac:graphicFrameMkLst>
        </pc:graphicFrameChg>
      </pc:sldChg>
      <pc:sldChg chg="modSp modAnim">
        <pc:chgData name="Batuhan Yildiz" userId="90f344fc-4655-4923-aeaf-697bba59c1a7" providerId="ADAL" clId="{8CBEF927-9AD5-451C-9ED2-7CC09B6668CA}" dt="2020-05-19T21:47:30.675" v="38" actId="13782"/>
        <pc:sldMkLst>
          <pc:docMk/>
          <pc:sldMk cId="3219170857" sldId="668"/>
        </pc:sldMkLst>
        <pc:graphicFrameChg chg="mod">
          <ac:chgData name="Batuhan Yildiz" userId="90f344fc-4655-4923-aeaf-697bba59c1a7" providerId="ADAL" clId="{8CBEF927-9AD5-451C-9ED2-7CC09B6668CA}" dt="2020-05-19T21:47:30.675" v="38" actId="13782"/>
          <ac:graphicFrameMkLst>
            <pc:docMk/>
            <pc:sldMk cId="3219170857" sldId="668"/>
            <ac:graphicFrameMk id="4" creationId="{5A6413BB-0179-42BA-B5EA-977B29E8FDEE}"/>
          </ac:graphicFrameMkLst>
        </pc:graphicFrameChg>
      </pc:sldChg>
      <pc:sldChg chg="modSp modAnim">
        <pc:chgData name="Batuhan Yildiz" userId="90f344fc-4655-4923-aeaf-697bba59c1a7" providerId="ADAL" clId="{8CBEF927-9AD5-451C-9ED2-7CC09B6668CA}" dt="2020-05-19T21:48:34.667" v="41" actId="255"/>
        <pc:sldMkLst>
          <pc:docMk/>
          <pc:sldMk cId="2461982373" sldId="669"/>
        </pc:sldMkLst>
        <pc:graphicFrameChg chg="mod">
          <ac:chgData name="Batuhan Yildiz" userId="90f344fc-4655-4923-aeaf-697bba59c1a7" providerId="ADAL" clId="{8CBEF927-9AD5-451C-9ED2-7CC09B6668CA}" dt="2020-05-19T21:48:34.667" v="41" actId="255"/>
          <ac:graphicFrameMkLst>
            <pc:docMk/>
            <pc:sldMk cId="2461982373" sldId="669"/>
            <ac:graphicFrameMk id="28" creationId="{31E3A79F-A4F1-4E22-B803-D79AE89A95B8}"/>
          </ac:graphicFrameMkLst>
        </pc:graphicFrameChg>
      </pc:sldChg>
      <pc:sldChg chg="modSp">
        <pc:chgData name="Batuhan Yildiz" userId="90f344fc-4655-4923-aeaf-697bba59c1a7" providerId="ADAL" clId="{8CBEF927-9AD5-451C-9ED2-7CC09B6668CA}" dt="2020-05-19T21:48:56.570" v="42" actId="12100"/>
        <pc:sldMkLst>
          <pc:docMk/>
          <pc:sldMk cId="2144852012" sldId="670"/>
        </pc:sldMkLst>
        <pc:graphicFrameChg chg="mod">
          <ac:chgData name="Batuhan Yildiz" userId="90f344fc-4655-4923-aeaf-697bba59c1a7" providerId="ADAL" clId="{8CBEF927-9AD5-451C-9ED2-7CC09B6668CA}" dt="2020-05-19T21:48:56.570" v="42" actId="12100"/>
          <ac:graphicFrameMkLst>
            <pc:docMk/>
            <pc:sldMk cId="2144852012" sldId="670"/>
            <ac:graphicFrameMk id="4" creationId="{D6C7F796-D01D-42D4-9F06-40D884359220}"/>
          </ac:graphicFrameMkLst>
        </pc:graphicFrameChg>
      </pc:sldChg>
      <pc:sldChg chg="modSp">
        <pc:chgData name="Batuhan Yildiz" userId="90f344fc-4655-4923-aeaf-697bba59c1a7" providerId="ADAL" clId="{8CBEF927-9AD5-451C-9ED2-7CC09B6668CA}" dt="2020-05-19T21:49:15.826" v="43" actId="12100"/>
        <pc:sldMkLst>
          <pc:docMk/>
          <pc:sldMk cId="2819802108" sldId="672"/>
        </pc:sldMkLst>
        <pc:graphicFrameChg chg="mod">
          <ac:chgData name="Batuhan Yildiz" userId="90f344fc-4655-4923-aeaf-697bba59c1a7" providerId="ADAL" clId="{8CBEF927-9AD5-451C-9ED2-7CC09B6668CA}" dt="2020-05-19T21:49:15.826" v="43" actId="12100"/>
          <ac:graphicFrameMkLst>
            <pc:docMk/>
            <pc:sldMk cId="2819802108" sldId="672"/>
            <ac:graphicFrameMk id="5" creationId="{45C71BE8-5095-407F-98C3-01A8AFF95914}"/>
          </ac:graphicFrameMkLst>
        </pc:graphicFrameChg>
      </pc:sldChg>
      <pc:sldChg chg="modSp">
        <pc:chgData name="Batuhan Yildiz" userId="90f344fc-4655-4923-aeaf-697bba59c1a7" providerId="ADAL" clId="{8CBEF927-9AD5-451C-9ED2-7CC09B6668CA}" dt="2020-05-19T21:49:43.501" v="45" actId="12100"/>
        <pc:sldMkLst>
          <pc:docMk/>
          <pc:sldMk cId="3638802112" sldId="674"/>
        </pc:sldMkLst>
        <pc:graphicFrameChg chg="mod">
          <ac:chgData name="Batuhan Yildiz" userId="90f344fc-4655-4923-aeaf-697bba59c1a7" providerId="ADAL" clId="{8CBEF927-9AD5-451C-9ED2-7CC09B6668CA}" dt="2020-05-19T21:49:43.501" v="45" actId="12100"/>
          <ac:graphicFrameMkLst>
            <pc:docMk/>
            <pc:sldMk cId="3638802112" sldId="674"/>
            <ac:graphicFrameMk id="47" creationId="{F76C2B60-F8CF-4D35-8709-9BE17FBCE170}"/>
          </ac:graphicFrameMkLst>
        </pc:graphicFrameChg>
      </pc:sldChg>
      <pc:sldChg chg="modSp mod">
        <pc:chgData name="Batuhan Yildiz" userId="90f344fc-4655-4923-aeaf-697bba59c1a7" providerId="ADAL" clId="{8CBEF927-9AD5-451C-9ED2-7CC09B6668CA}" dt="2020-05-19T21:50:40.925" v="51" actId="20577"/>
        <pc:sldMkLst>
          <pc:docMk/>
          <pc:sldMk cId="2280637435" sldId="678"/>
        </pc:sldMkLst>
        <pc:spChg chg="mod">
          <ac:chgData name="Batuhan Yildiz" userId="90f344fc-4655-4923-aeaf-697bba59c1a7" providerId="ADAL" clId="{8CBEF927-9AD5-451C-9ED2-7CC09B6668CA}" dt="2020-05-19T21:50:40.925" v="51" actId="20577"/>
          <ac:spMkLst>
            <pc:docMk/>
            <pc:sldMk cId="2280637435" sldId="678"/>
            <ac:spMk id="5" creationId="{9882B8FC-ED7A-44A0-9036-4D4442371BB5}"/>
          </ac:spMkLst>
        </pc:spChg>
        <pc:graphicFrameChg chg="mod">
          <ac:chgData name="Batuhan Yildiz" userId="90f344fc-4655-4923-aeaf-697bba59c1a7" providerId="ADAL" clId="{8CBEF927-9AD5-451C-9ED2-7CC09B6668CA}" dt="2020-05-19T21:50:14.678" v="47" actId="12100"/>
          <ac:graphicFrameMkLst>
            <pc:docMk/>
            <pc:sldMk cId="2280637435" sldId="678"/>
            <ac:graphicFrameMk id="4" creationId="{DC251EBB-1595-48D1-B124-A44C260C859C}"/>
          </ac:graphicFrameMkLst>
        </pc:graphicFrameChg>
      </pc:sldChg>
      <pc:sldChg chg="modSp">
        <pc:chgData name="Batuhan Yildiz" userId="90f344fc-4655-4923-aeaf-697bba59c1a7" providerId="ADAL" clId="{8CBEF927-9AD5-451C-9ED2-7CC09B6668CA}" dt="2020-05-19T21:51:16.728" v="53" actId="207"/>
        <pc:sldMkLst>
          <pc:docMk/>
          <pc:sldMk cId="945245103" sldId="680"/>
        </pc:sldMkLst>
        <pc:spChg chg="mod">
          <ac:chgData name="Batuhan Yildiz" userId="90f344fc-4655-4923-aeaf-697bba59c1a7" providerId="ADAL" clId="{8CBEF927-9AD5-451C-9ED2-7CC09B6668CA}" dt="2020-05-19T21:51:16.728" v="53" actId="207"/>
          <ac:spMkLst>
            <pc:docMk/>
            <pc:sldMk cId="945245103" sldId="680"/>
            <ac:spMk id="4" creationId="{9E180644-9A22-4ED0-8031-38D00D4FA64A}"/>
          </ac:spMkLst>
        </pc:spChg>
      </pc:sldChg>
      <pc:sldChg chg="modSp">
        <pc:chgData name="Batuhan Yildiz" userId="90f344fc-4655-4923-aeaf-697bba59c1a7" providerId="ADAL" clId="{8CBEF927-9AD5-451C-9ED2-7CC09B6668CA}" dt="2020-05-19T21:51:27.831" v="55" actId="14100"/>
        <pc:sldMkLst>
          <pc:docMk/>
          <pc:sldMk cId="2163375975" sldId="681"/>
        </pc:sldMkLst>
        <pc:graphicFrameChg chg="mod">
          <ac:chgData name="Batuhan Yildiz" userId="90f344fc-4655-4923-aeaf-697bba59c1a7" providerId="ADAL" clId="{8CBEF927-9AD5-451C-9ED2-7CC09B6668CA}" dt="2020-05-19T21:51:27.831" v="55" actId="14100"/>
          <ac:graphicFrameMkLst>
            <pc:docMk/>
            <pc:sldMk cId="2163375975" sldId="681"/>
            <ac:graphicFrameMk id="22" creationId="{C16D302B-0DC3-4AE3-8D99-CBE24EAD0F2A}"/>
          </ac:graphicFrameMkLst>
        </pc:graphicFrameChg>
      </pc:sldChg>
      <pc:sldChg chg="modSp mod">
        <pc:chgData name="Batuhan Yildiz" userId="90f344fc-4655-4923-aeaf-697bba59c1a7" providerId="ADAL" clId="{8CBEF927-9AD5-451C-9ED2-7CC09B6668CA}" dt="2020-05-19T21:54:01.071" v="61" actId="208"/>
        <pc:sldMkLst>
          <pc:docMk/>
          <pc:sldMk cId="3232543981" sldId="682"/>
        </pc:sldMkLst>
        <pc:spChg chg="mod">
          <ac:chgData name="Batuhan Yildiz" userId="90f344fc-4655-4923-aeaf-697bba59c1a7" providerId="ADAL" clId="{8CBEF927-9AD5-451C-9ED2-7CC09B6668CA}" dt="2020-05-19T21:53:54.887" v="60" actId="207"/>
          <ac:spMkLst>
            <pc:docMk/>
            <pc:sldMk cId="3232543981" sldId="682"/>
            <ac:spMk id="5" creationId="{EC4332F8-F0CD-4D24-9F36-A618FAFFA20E}"/>
          </ac:spMkLst>
        </pc:spChg>
        <pc:graphicFrameChg chg="mod">
          <ac:chgData name="Batuhan Yildiz" userId="90f344fc-4655-4923-aeaf-697bba59c1a7" providerId="ADAL" clId="{8CBEF927-9AD5-451C-9ED2-7CC09B6668CA}" dt="2020-05-19T21:52:27.128" v="59" actId="12100"/>
          <ac:graphicFrameMkLst>
            <pc:docMk/>
            <pc:sldMk cId="3232543981" sldId="682"/>
            <ac:graphicFrameMk id="4" creationId="{5603810B-1085-41C6-98EE-218D26B15C30}"/>
          </ac:graphicFrameMkLst>
        </pc:graphicFrameChg>
        <pc:cxnChg chg="mod">
          <ac:chgData name="Batuhan Yildiz" userId="90f344fc-4655-4923-aeaf-697bba59c1a7" providerId="ADAL" clId="{8CBEF927-9AD5-451C-9ED2-7CC09B6668CA}" dt="2020-05-19T21:54:01.071" v="61" actId="208"/>
          <ac:cxnSpMkLst>
            <pc:docMk/>
            <pc:sldMk cId="3232543981" sldId="682"/>
            <ac:cxnSpMk id="6" creationId="{D22D8E4B-C9CB-4A3F-B8CA-B1A325FE11D7}"/>
          </ac:cxnSpMkLst>
        </pc:cxnChg>
      </pc:sldChg>
      <pc:sldChg chg="delSp modSp mod">
        <pc:chgData name="Batuhan Yildiz" userId="90f344fc-4655-4923-aeaf-697bba59c1a7" providerId="ADAL" clId="{8CBEF927-9AD5-451C-9ED2-7CC09B6668CA}" dt="2020-05-19T21:54:33.874" v="65" actId="478"/>
        <pc:sldMkLst>
          <pc:docMk/>
          <pc:sldMk cId="3860894323" sldId="683"/>
        </pc:sldMkLst>
        <pc:spChg chg="del">
          <ac:chgData name="Batuhan Yildiz" userId="90f344fc-4655-4923-aeaf-697bba59c1a7" providerId="ADAL" clId="{8CBEF927-9AD5-451C-9ED2-7CC09B6668CA}" dt="2020-05-19T21:54:33.874" v="65" actId="478"/>
          <ac:spMkLst>
            <pc:docMk/>
            <pc:sldMk cId="3860894323" sldId="683"/>
            <ac:spMk id="3" creationId="{F5C0CE68-38F9-4285-805B-BA65D003C1F7}"/>
          </ac:spMkLst>
        </pc:spChg>
        <pc:spChg chg="mod">
          <ac:chgData name="Batuhan Yildiz" userId="90f344fc-4655-4923-aeaf-697bba59c1a7" providerId="ADAL" clId="{8CBEF927-9AD5-451C-9ED2-7CC09B6668CA}" dt="2020-05-19T21:54:27.734" v="64" actId="947"/>
          <ac:spMkLst>
            <pc:docMk/>
            <pc:sldMk cId="3860894323" sldId="683"/>
            <ac:spMk id="4" creationId="{E89ECA3B-5B2D-4F02-AA58-229543C3DB12}"/>
          </ac:spMkLst>
        </pc:spChg>
      </pc:sldChg>
      <pc:sldChg chg="modSp">
        <pc:chgData name="Batuhan Yildiz" userId="90f344fc-4655-4923-aeaf-697bba59c1a7" providerId="ADAL" clId="{8CBEF927-9AD5-451C-9ED2-7CC09B6668CA}" dt="2020-05-19T21:54:55.033" v="66" actId="207"/>
        <pc:sldMkLst>
          <pc:docMk/>
          <pc:sldMk cId="3926643301" sldId="684"/>
        </pc:sldMkLst>
        <pc:spChg chg="mod">
          <ac:chgData name="Batuhan Yildiz" userId="90f344fc-4655-4923-aeaf-697bba59c1a7" providerId="ADAL" clId="{8CBEF927-9AD5-451C-9ED2-7CC09B6668CA}" dt="2020-05-19T21:54:55.033" v="66" actId="207"/>
          <ac:spMkLst>
            <pc:docMk/>
            <pc:sldMk cId="3926643301" sldId="684"/>
            <ac:spMk id="12" creationId="{926AB338-0463-4013-BC89-1384C6B54B38}"/>
          </ac:spMkLst>
        </pc:spChg>
      </pc:sldChg>
      <pc:sldChg chg="modSp">
        <pc:chgData name="Batuhan Yildiz" userId="90f344fc-4655-4923-aeaf-697bba59c1a7" providerId="ADAL" clId="{8CBEF927-9AD5-451C-9ED2-7CC09B6668CA}" dt="2020-05-19T21:55:29.656" v="70" actId="255"/>
        <pc:sldMkLst>
          <pc:docMk/>
          <pc:sldMk cId="4177029334" sldId="685"/>
        </pc:sldMkLst>
        <pc:graphicFrameChg chg="mod">
          <ac:chgData name="Batuhan Yildiz" userId="90f344fc-4655-4923-aeaf-697bba59c1a7" providerId="ADAL" clId="{8CBEF927-9AD5-451C-9ED2-7CC09B6668CA}" dt="2020-05-19T21:55:29.656" v="70" actId="255"/>
          <ac:graphicFrameMkLst>
            <pc:docMk/>
            <pc:sldMk cId="4177029334" sldId="685"/>
            <ac:graphicFrameMk id="4" creationId="{99753E43-6FF5-4DE5-873C-C730B7CEBC31}"/>
          </ac:graphicFrameMkLst>
        </pc:graphicFrameChg>
      </pc:sldChg>
      <pc:sldChg chg="modSp">
        <pc:chgData name="Batuhan Yildiz" userId="90f344fc-4655-4923-aeaf-697bba59c1a7" providerId="ADAL" clId="{8CBEF927-9AD5-451C-9ED2-7CC09B6668CA}" dt="2020-05-19T21:55:57.260" v="71" actId="115"/>
        <pc:sldMkLst>
          <pc:docMk/>
          <pc:sldMk cId="3584439836" sldId="688"/>
        </pc:sldMkLst>
        <pc:graphicFrameChg chg="mod">
          <ac:chgData name="Batuhan Yildiz" userId="90f344fc-4655-4923-aeaf-697bba59c1a7" providerId="ADAL" clId="{8CBEF927-9AD5-451C-9ED2-7CC09B6668CA}" dt="2020-05-19T21:55:57.260" v="71" actId="115"/>
          <ac:graphicFrameMkLst>
            <pc:docMk/>
            <pc:sldMk cId="3584439836" sldId="688"/>
            <ac:graphicFrameMk id="4" creationId="{CEB83125-D7BB-46F3-A727-E480DA74AE24}"/>
          </ac:graphicFrameMkLst>
        </pc:graphicFrameChg>
      </pc:sldChg>
      <pc:sldChg chg="addSp delSp modSp mod chgLayout">
        <pc:chgData name="Batuhan Yildiz" userId="90f344fc-4655-4923-aeaf-697bba59c1a7" providerId="ADAL" clId="{8CBEF927-9AD5-451C-9ED2-7CC09B6668CA}" dt="2020-05-19T21:57:05.973" v="79" actId="1035"/>
        <pc:sldMkLst>
          <pc:docMk/>
          <pc:sldMk cId="1222625216" sldId="689"/>
        </pc:sldMkLst>
        <pc:spChg chg="mod ord">
          <ac:chgData name="Batuhan Yildiz" userId="90f344fc-4655-4923-aeaf-697bba59c1a7" providerId="ADAL" clId="{8CBEF927-9AD5-451C-9ED2-7CC09B6668CA}" dt="2020-05-19T21:56:44.959" v="76" actId="700"/>
          <ac:spMkLst>
            <pc:docMk/>
            <pc:sldMk cId="1222625216" sldId="689"/>
            <ac:spMk id="2" creationId="{357FA922-CABC-4EFD-BBCF-A80F543A1240}"/>
          </ac:spMkLst>
        </pc:spChg>
        <pc:spChg chg="add del mod ord">
          <ac:chgData name="Batuhan Yildiz" userId="90f344fc-4655-4923-aeaf-697bba59c1a7" providerId="ADAL" clId="{8CBEF927-9AD5-451C-9ED2-7CC09B6668CA}" dt="2020-05-19T21:56:16.177" v="73" actId="478"/>
          <ac:spMkLst>
            <pc:docMk/>
            <pc:sldMk cId="1222625216" sldId="689"/>
            <ac:spMk id="3" creationId="{A9522F46-678E-4B95-B097-919B4AA3A8E5}"/>
          </ac:spMkLst>
        </pc:spChg>
        <pc:spChg chg="add mod ord">
          <ac:chgData name="Batuhan Yildiz" userId="90f344fc-4655-4923-aeaf-697bba59c1a7" providerId="ADAL" clId="{8CBEF927-9AD5-451C-9ED2-7CC09B6668CA}" dt="2020-05-19T21:56:44.959" v="76" actId="700"/>
          <ac:spMkLst>
            <pc:docMk/>
            <pc:sldMk cId="1222625216" sldId="689"/>
            <ac:spMk id="5" creationId="{F12D2148-B21B-48C8-95D8-B0F7BE1D4755}"/>
          </ac:spMkLst>
        </pc:spChg>
        <pc:graphicFrameChg chg="mod">
          <ac:chgData name="Batuhan Yildiz" userId="90f344fc-4655-4923-aeaf-697bba59c1a7" providerId="ADAL" clId="{8CBEF927-9AD5-451C-9ED2-7CC09B6668CA}" dt="2020-05-19T21:57:05.973" v="79" actId="1035"/>
          <ac:graphicFrameMkLst>
            <pc:docMk/>
            <pc:sldMk cId="1222625216" sldId="689"/>
            <ac:graphicFrameMk id="4" creationId="{BE7EB58D-AABB-4937-BDA3-037809D5FEA2}"/>
          </ac:graphicFrameMkLst>
        </pc:graphicFrameChg>
      </pc:sldChg>
      <pc:sldChg chg="modSp">
        <pc:chgData name="Batuhan Yildiz" userId="90f344fc-4655-4923-aeaf-697bba59c1a7" providerId="ADAL" clId="{8CBEF927-9AD5-451C-9ED2-7CC09B6668CA}" dt="2020-05-19T21:57:27.337" v="81" actId="255"/>
        <pc:sldMkLst>
          <pc:docMk/>
          <pc:sldMk cId="2189967666" sldId="693"/>
        </pc:sldMkLst>
        <pc:graphicFrameChg chg="mod">
          <ac:chgData name="Batuhan Yildiz" userId="90f344fc-4655-4923-aeaf-697bba59c1a7" providerId="ADAL" clId="{8CBEF927-9AD5-451C-9ED2-7CC09B6668CA}" dt="2020-05-19T21:57:27.337" v="81" actId="255"/>
          <ac:graphicFrameMkLst>
            <pc:docMk/>
            <pc:sldMk cId="2189967666" sldId="693"/>
            <ac:graphicFrameMk id="4" creationId="{3B7BC4A1-705E-40E6-8B6F-A3AD2074333D}"/>
          </ac:graphicFrameMkLst>
        </pc:graphicFrameChg>
      </pc:sldChg>
      <pc:sldChg chg="modSp">
        <pc:chgData name="Batuhan Yildiz" userId="90f344fc-4655-4923-aeaf-697bba59c1a7" providerId="ADAL" clId="{8CBEF927-9AD5-451C-9ED2-7CC09B6668CA}" dt="2020-05-19T21:57:39.075" v="82" actId="255"/>
        <pc:sldMkLst>
          <pc:docMk/>
          <pc:sldMk cId="2729530483" sldId="694"/>
        </pc:sldMkLst>
        <pc:graphicFrameChg chg="mod">
          <ac:chgData name="Batuhan Yildiz" userId="90f344fc-4655-4923-aeaf-697bba59c1a7" providerId="ADAL" clId="{8CBEF927-9AD5-451C-9ED2-7CC09B6668CA}" dt="2020-05-19T21:57:39.075" v="82" actId="255"/>
          <ac:graphicFrameMkLst>
            <pc:docMk/>
            <pc:sldMk cId="2729530483" sldId="694"/>
            <ac:graphicFrameMk id="4" creationId="{94B72629-560A-4424-A744-84C769A525B8}"/>
          </ac:graphicFrameMkLst>
        </pc:graphicFrameChg>
      </pc:sldChg>
      <pc:sldChg chg="modSp">
        <pc:chgData name="Batuhan Yildiz" userId="90f344fc-4655-4923-aeaf-697bba59c1a7" providerId="ADAL" clId="{8CBEF927-9AD5-451C-9ED2-7CC09B6668CA}" dt="2020-05-19T21:57:58.262" v="84" actId="255"/>
        <pc:sldMkLst>
          <pc:docMk/>
          <pc:sldMk cId="687763397" sldId="695"/>
        </pc:sldMkLst>
        <pc:graphicFrameChg chg="mod">
          <ac:chgData name="Batuhan Yildiz" userId="90f344fc-4655-4923-aeaf-697bba59c1a7" providerId="ADAL" clId="{8CBEF927-9AD5-451C-9ED2-7CC09B6668CA}" dt="2020-05-19T21:57:58.262" v="84" actId="255"/>
          <ac:graphicFrameMkLst>
            <pc:docMk/>
            <pc:sldMk cId="687763397" sldId="695"/>
            <ac:graphicFrameMk id="4" creationId="{8B5E8976-92CB-4CCC-A404-C14C84832708}"/>
          </ac:graphicFrameMkLst>
        </pc:graphicFrameChg>
      </pc:sldChg>
      <pc:sldChg chg="addSp delSp modSp mod modAnim chgLayout">
        <pc:chgData name="Batuhan Yildiz" userId="90f344fc-4655-4923-aeaf-697bba59c1a7" providerId="ADAL" clId="{8CBEF927-9AD5-451C-9ED2-7CC09B6668CA}" dt="2020-05-19T21:59:40.254" v="89" actId="478"/>
        <pc:sldMkLst>
          <pc:docMk/>
          <pc:sldMk cId="3356156530" sldId="696"/>
        </pc:sldMkLst>
        <pc:spChg chg="mod ord">
          <ac:chgData name="Batuhan Yildiz" userId="90f344fc-4655-4923-aeaf-697bba59c1a7" providerId="ADAL" clId="{8CBEF927-9AD5-451C-9ED2-7CC09B6668CA}" dt="2020-05-19T21:59:24.995" v="87" actId="700"/>
          <ac:spMkLst>
            <pc:docMk/>
            <pc:sldMk cId="3356156530" sldId="696"/>
            <ac:spMk id="2" creationId="{8E1106C1-85EA-48C4-B450-8E63694F8E1A}"/>
          </ac:spMkLst>
        </pc:spChg>
        <pc:spChg chg="add del mod ord">
          <ac:chgData name="Batuhan Yildiz" userId="90f344fc-4655-4923-aeaf-697bba59c1a7" providerId="ADAL" clId="{8CBEF927-9AD5-451C-9ED2-7CC09B6668CA}" dt="2020-05-19T21:59:40.254" v="89" actId="478"/>
          <ac:spMkLst>
            <pc:docMk/>
            <pc:sldMk cId="3356156530" sldId="696"/>
            <ac:spMk id="3" creationId="{D9A13B43-8D72-42A8-B28F-1F519B37B765}"/>
          </ac:spMkLst>
        </pc:spChg>
        <pc:graphicFrameChg chg="mod">
          <ac:chgData name="Batuhan Yildiz" userId="90f344fc-4655-4923-aeaf-697bba59c1a7" providerId="ADAL" clId="{8CBEF927-9AD5-451C-9ED2-7CC09B6668CA}" dt="2020-05-19T21:59:28.857" v="88" actId="14100"/>
          <ac:graphicFrameMkLst>
            <pc:docMk/>
            <pc:sldMk cId="3356156530" sldId="696"/>
            <ac:graphicFrameMk id="23" creationId="{E2CFB2A8-F63C-45D8-AA78-AEB6B2644A21}"/>
          </ac:graphicFrameMkLst>
        </pc:graphicFrameChg>
      </pc:sldChg>
      <pc:sldChg chg="modSp">
        <pc:chgData name="Batuhan Yildiz" userId="90f344fc-4655-4923-aeaf-697bba59c1a7" providerId="ADAL" clId="{8CBEF927-9AD5-451C-9ED2-7CC09B6668CA}" dt="2020-05-19T21:46:50.310" v="37" actId="12100"/>
        <pc:sldMkLst>
          <pc:docMk/>
          <pc:sldMk cId="134441809" sldId="703"/>
        </pc:sldMkLst>
        <pc:graphicFrameChg chg="mod">
          <ac:chgData name="Batuhan Yildiz" userId="90f344fc-4655-4923-aeaf-697bba59c1a7" providerId="ADAL" clId="{8CBEF927-9AD5-451C-9ED2-7CC09B6668CA}" dt="2020-05-19T21:46:50.310" v="37" actId="12100"/>
          <ac:graphicFrameMkLst>
            <pc:docMk/>
            <pc:sldMk cId="134441809" sldId="703"/>
            <ac:graphicFrameMk id="5" creationId="{A87D0FD1-61BE-4405-A578-95847304B9CB}"/>
          </ac:graphicFrameMkLst>
        </pc:graphicFrameChg>
      </pc:sldChg>
    </pc:docChg>
  </pc:docChgLst>
</pc:chgInfo>
</file>

<file path=ppt/diagrams/_rels/data41.xml.rels><?xml version="1.0" encoding="UTF-8" standalone="yes"?>
<Relationships xmlns="http://schemas.openxmlformats.org/package/2006/relationships"><Relationship Id="rId1" Type="http://schemas.openxmlformats.org/officeDocument/2006/relationships/hyperlink" Target="https://docs.microsoft.com/en-us/azure/sql-database/sql-database-advanced-data-security" TargetMode="External"/></Relationships>
</file>

<file path=ppt/diagrams/_rels/drawing41.xml.rels><?xml version="1.0" encoding="UTF-8" standalone="yes"?>
<Relationships xmlns="http://schemas.openxmlformats.org/package/2006/relationships"><Relationship Id="rId1" Type="http://schemas.openxmlformats.org/officeDocument/2006/relationships/hyperlink" Target="https://docs.microsoft.com/en-us/azure/sql-database/sql-database-advanced-data-security" TargetMode="Externa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List the security features available for Azure SQL Database.</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a:solidFill>
                <a:srgbClr val="FFFFFF"/>
              </a:solidFill>
            </a:rPr>
            <a:t>Name the feature to encrypt the data both at rest and motion.</a:t>
          </a:r>
          <a:endParaRPr lang="en-US"/>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2">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AFCD3A7-BCEC-43FA-BF39-637BD20E95FB}"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51DB5E21-A5EC-4F79-B435-A2D0BE213ED3}">
      <dgm:prSet/>
      <dgm:spPr/>
      <dgm:t>
        <a:bodyPr/>
        <a:lstStyle/>
        <a:p>
          <a:r>
            <a:rPr lang="en-US" baseline="0"/>
            <a:t>Azure Active Directory authentication</a:t>
          </a:r>
          <a:endParaRPr lang="en-US"/>
        </a:p>
      </dgm:t>
    </dgm:pt>
    <dgm:pt modelId="{EC243595-7071-48E8-8B4E-6BE7FD2DC76B}" type="parTrans" cxnId="{E58AEDFD-E574-45D3-AAB0-F50AFFD43888}">
      <dgm:prSet/>
      <dgm:spPr/>
      <dgm:t>
        <a:bodyPr/>
        <a:lstStyle/>
        <a:p>
          <a:endParaRPr lang="en-US"/>
        </a:p>
      </dgm:t>
    </dgm:pt>
    <dgm:pt modelId="{1E3C12ED-5744-42F4-B898-A6F54EF2B48F}" type="sibTrans" cxnId="{E58AEDFD-E574-45D3-AAB0-F50AFFD43888}">
      <dgm:prSet/>
      <dgm:spPr/>
      <dgm:t>
        <a:bodyPr/>
        <a:lstStyle/>
        <a:p>
          <a:endParaRPr lang="en-US"/>
        </a:p>
      </dgm:t>
    </dgm:pt>
    <dgm:pt modelId="{803FFA04-6BC8-4D66-B59F-144B369C4A5A}">
      <dgm:prSet/>
      <dgm:spPr/>
      <dgm:t>
        <a:bodyPr/>
        <a:lstStyle/>
        <a:p>
          <a:r>
            <a:rPr lang="en-US" baseline="0"/>
            <a:t>Put Azure Active Directory users into an Azure Active Directory group. </a:t>
          </a:r>
          <a:endParaRPr lang="en-US"/>
        </a:p>
      </dgm:t>
    </dgm:pt>
    <dgm:pt modelId="{5652296B-F645-4C74-B3A6-C1F3C1ED1BE1}" type="parTrans" cxnId="{A7FF3B7C-937A-4F09-B5A4-909FA002AC66}">
      <dgm:prSet/>
      <dgm:spPr/>
      <dgm:t>
        <a:bodyPr/>
        <a:lstStyle/>
        <a:p>
          <a:endParaRPr lang="en-US"/>
        </a:p>
      </dgm:t>
    </dgm:pt>
    <dgm:pt modelId="{2A01A6DB-52E4-4E71-9EC6-8BFB035A46BB}" type="sibTrans" cxnId="{A7FF3B7C-937A-4F09-B5A4-909FA002AC66}">
      <dgm:prSet/>
      <dgm:spPr/>
      <dgm:t>
        <a:bodyPr/>
        <a:lstStyle/>
        <a:p>
          <a:endParaRPr lang="en-US"/>
        </a:p>
      </dgm:t>
    </dgm:pt>
    <dgm:pt modelId="{F8218B21-948D-4FB2-8A1B-0F38FA683CE2}">
      <dgm:prSet/>
      <dgm:spPr/>
      <dgm:t>
        <a:bodyPr/>
        <a:lstStyle/>
        <a:p>
          <a:r>
            <a:rPr lang="en-US" baseline="0"/>
            <a:t>Create a contained database user for the group. </a:t>
          </a:r>
          <a:endParaRPr lang="en-US"/>
        </a:p>
      </dgm:t>
    </dgm:pt>
    <dgm:pt modelId="{A0E589A9-40C6-4C21-9B1C-D3C6AC99485D}" type="parTrans" cxnId="{D71E8800-E468-4503-BE8F-DBB47764C2EC}">
      <dgm:prSet/>
      <dgm:spPr/>
      <dgm:t>
        <a:bodyPr/>
        <a:lstStyle/>
        <a:p>
          <a:endParaRPr lang="en-US"/>
        </a:p>
      </dgm:t>
    </dgm:pt>
    <dgm:pt modelId="{33000D56-8325-41BF-B071-3B7DF3EF4D0F}" type="sibTrans" cxnId="{D71E8800-E468-4503-BE8F-DBB47764C2EC}">
      <dgm:prSet/>
      <dgm:spPr/>
      <dgm:t>
        <a:bodyPr/>
        <a:lstStyle/>
        <a:p>
          <a:endParaRPr lang="en-US"/>
        </a:p>
      </dgm:t>
    </dgm:pt>
    <dgm:pt modelId="{089DCECE-D3E6-4212-BF5E-5B6608C6BB5F}">
      <dgm:prSet/>
      <dgm:spPr/>
      <dgm:t>
        <a:bodyPr/>
        <a:lstStyle/>
        <a:p>
          <a:r>
            <a:rPr lang="en-US" baseline="0"/>
            <a:t>Place one or more database users into a database role. </a:t>
          </a:r>
          <a:endParaRPr lang="en-US"/>
        </a:p>
      </dgm:t>
    </dgm:pt>
    <dgm:pt modelId="{EE98697A-3A0C-46D5-99D8-E339D3EA7C2B}" type="parTrans" cxnId="{92929975-6480-418D-8315-3260C2D4121B}">
      <dgm:prSet/>
      <dgm:spPr/>
      <dgm:t>
        <a:bodyPr/>
        <a:lstStyle/>
        <a:p>
          <a:endParaRPr lang="en-US"/>
        </a:p>
      </dgm:t>
    </dgm:pt>
    <dgm:pt modelId="{9DD39B86-FE81-4BA3-B52D-BFCFE0942C66}" type="sibTrans" cxnId="{92929975-6480-418D-8315-3260C2D4121B}">
      <dgm:prSet/>
      <dgm:spPr/>
      <dgm:t>
        <a:bodyPr/>
        <a:lstStyle/>
        <a:p>
          <a:endParaRPr lang="en-US"/>
        </a:p>
      </dgm:t>
    </dgm:pt>
    <dgm:pt modelId="{6C3E1B44-4910-4481-842F-BFF8FB0AD932}">
      <dgm:prSet/>
      <dgm:spPr/>
      <dgm:t>
        <a:bodyPr/>
        <a:lstStyle/>
        <a:p>
          <a:r>
            <a:rPr lang="en-US" baseline="0"/>
            <a:t>Assign permissions to the database role.</a:t>
          </a:r>
          <a:endParaRPr lang="en-US"/>
        </a:p>
      </dgm:t>
    </dgm:pt>
    <dgm:pt modelId="{F04AF649-AA64-4C4A-B5FD-2260FD5F0F3F}" type="parTrans" cxnId="{D631A3D6-9E65-4E92-9FCC-AFADC1CB35B4}">
      <dgm:prSet/>
      <dgm:spPr/>
      <dgm:t>
        <a:bodyPr/>
        <a:lstStyle/>
        <a:p>
          <a:endParaRPr lang="en-US"/>
        </a:p>
      </dgm:t>
    </dgm:pt>
    <dgm:pt modelId="{3816FC3B-0793-4154-8002-4BFCC253A054}" type="sibTrans" cxnId="{D631A3D6-9E65-4E92-9FCC-AFADC1CB35B4}">
      <dgm:prSet/>
      <dgm:spPr/>
      <dgm:t>
        <a:bodyPr/>
        <a:lstStyle/>
        <a:p>
          <a:endParaRPr lang="en-US"/>
        </a:p>
      </dgm:t>
    </dgm:pt>
    <dgm:pt modelId="{A48C86F7-6B84-49B5-A750-8AEBA677B543}">
      <dgm:prSet/>
      <dgm:spPr/>
      <dgm:t>
        <a:bodyPr/>
        <a:lstStyle/>
        <a:p>
          <a:r>
            <a:rPr lang="en-US" baseline="0"/>
            <a:t>SQL Server authentication</a:t>
          </a:r>
          <a:endParaRPr lang="en-US"/>
        </a:p>
      </dgm:t>
    </dgm:pt>
    <dgm:pt modelId="{9B89063A-4939-48DB-B8B6-B3F5A71A34A1}" type="parTrans" cxnId="{DEC37BB2-2193-4FAE-B773-EFEE48B10B4B}">
      <dgm:prSet/>
      <dgm:spPr/>
      <dgm:t>
        <a:bodyPr/>
        <a:lstStyle/>
        <a:p>
          <a:endParaRPr lang="en-US"/>
        </a:p>
      </dgm:t>
    </dgm:pt>
    <dgm:pt modelId="{E7F78101-449D-405C-9B39-D65D0B77E1B9}" type="sibTrans" cxnId="{DEC37BB2-2193-4FAE-B773-EFEE48B10B4B}">
      <dgm:prSet/>
      <dgm:spPr/>
      <dgm:t>
        <a:bodyPr/>
        <a:lstStyle/>
        <a:p>
          <a:endParaRPr lang="en-US"/>
        </a:p>
      </dgm:t>
    </dgm:pt>
    <dgm:pt modelId="{77C2AEF5-3502-4B2B-A11E-6500B8DBB1AF}">
      <dgm:prSet/>
      <dgm:spPr/>
      <dgm:t>
        <a:bodyPr/>
        <a:lstStyle/>
        <a:p>
          <a:r>
            <a:rPr lang="en-US" baseline="0"/>
            <a:t>Create contained database users in the database. </a:t>
          </a:r>
          <a:endParaRPr lang="en-US"/>
        </a:p>
      </dgm:t>
    </dgm:pt>
    <dgm:pt modelId="{9437D31E-8C8B-4EDE-B3E4-56C2B5603E21}" type="parTrans" cxnId="{A3B152FA-F165-4E9C-B9BC-9D6E1D3FB540}">
      <dgm:prSet/>
      <dgm:spPr/>
      <dgm:t>
        <a:bodyPr/>
        <a:lstStyle/>
        <a:p>
          <a:endParaRPr lang="en-US"/>
        </a:p>
      </dgm:t>
    </dgm:pt>
    <dgm:pt modelId="{3407A79E-0649-4DF2-8D16-E0804314BAD5}" type="sibTrans" cxnId="{A3B152FA-F165-4E9C-B9BC-9D6E1D3FB540}">
      <dgm:prSet/>
      <dgm:spPr/>
      <dgm:t>
        <a:bodyPr/>
        <a:lstStyle/>
        <a:p>
          <a:endParaRPr lang="en-US"/>
        </a:p>
      </dgm:t>
    </dgm:pt>
    <dgm:pt modelId="{B1FD433F-D72B-4CF9-80C6-BF51B2F1C1A5}">
      <dgm:prSet/>
      <dgm:spPr/>
      <dgm:t>
        <a:bodyPr/>
        <a:lstStyle/>
        <a:p>
          <a:r>
            <a:rPr lang="en-US" baseline="0"/>
            <a:t>Place one or more database users into a database role. </a:t>
          </a:r>
          <a:endParaRPr lang="en-US"/>
        </a:p>
      </dgm:t>
    </dgm:pt>
    <dgm:pt modelId="{68B909E7-9298-42A9-919F-03093B472B6D}" type="parTrans" cxnId="{D867E00B-5F6D-4F3E-9B2C-64DC69830AC1}">
      <dgm:prSet/>
      <dgm:spPr/>
      <dgm:t>
        <a:bodyPr/>
        <a:lstStyle/>
        <a:p>
          <a:endParaRPr lang="en-US"/>
        </a:p>
      </dgm:t>
    </dgm:pt>
    <dgm:pt modelId="{E137054E-6445-423F-9F72-009D7EF18F78}" type="sibTrans" cxnId="{D867E00B-5F6D-4F3E-9B2C-64DC69830AC1}">
      <dgm:prSet/>
      <dgm:spPr/>
      <dgm:t>
        <a:bodyPr/>
        <a:lstStyle/>
        <a:p>
          <a:endParaRPr lang="en-US"/>
        </a:p>
      </dgm:t>
    </dgm:pt>
    <dgm:pt modelId="{774EDE15-8E67-4A55-AE0E-A48F8903F57F}">
      <dgm:prSet/>
      <dgm:spPr/>
      <dgm:t>
        <a:bodyPr/>
        <a:lstStyle/>
        <a:p>
          <a:r>
            <a:rPr lang="en-US" baseline="0"/>
            <a:t>Assign permissions to the database role.</a:t>
          </a:r>
          <a:endParaRPr lang="en-US"/>
        </a:p>
      </dgm:t>
    </dgm:pt>
    <dgm:pt modelId="{6A11ED6A-7F2E-4365-8EFC-BB570EB79221}" type="parTrans" cxnId="{F305D78F-3636-4440-A4B7-BFD36D0E51B4}">
      <dgm:prSet/>
      <dgm:spPr/>
      <dgm:t>
        <a:bodyPr/>
        <a:lstStyle/>
        <a:p>
          <a:endParaRPr lang="en-US"/>
        </a:p>
      </dgm:t>
    </dgm:pt>
    <dgm:pt modelId="{3E6F3795-09BF-4892-9BC3-754816D454FA}" type="sibTrans" cxnId="{F305D78F-3636-4440-A4B7-BFD36D0E51B4}">
      <dgm:prSet/>
      <dgm:spPr/>
      <dgm:t>
        <a:bodyPr/>
        <a:lstStyle/>
        <a:p>
          <a:endParaRPr lang="en-US"/>
        </a:p>
      </dgm:t>
    </dgm:pt>
    <dgm:pt modelId="{F9DFBB22-8063-453F-A423-87F6EC0C26A4}" type="pres">
      <dgm:prSet presAssocID="{7AFCD3A7-BCEC-43FA-BF39-637BD20E95FB}" presName="Name0" presStyleCnt="0">
        <dgm:presLayoutVars>
          <dgm:dir/>
          <dgm:animLvl val="lvl"/>
          <dgm:resizeHandles val="exact"/>
        </dgm:presLayoutVars>
      </dgm:prSet>
      <dgm:spPr/>
    </dgm:pt>
    <dgm:pt modelId="{E6282EAB-3F74-4703-840C-B37376A64BFE}" type="pres">
      <dgm:prSet presAssocID="{51DB5E21-A5EC-4F79-B435-A2D0BE213ED3}" presName="composite" presStyleCnt="0"/>
      <dgm:spPr/>
    </dgm:pt>
    <dgm:pt modelId="{9EF63345-68AA-4B81-B2A5-D7FEA27096B5}" type="pres">
      <dgm:prSet presAssocID="{51DB5E21-A5EC-4F79-B435-A2D0BE213ED3}" presName="parTx" presStyleLbl="alignNode1" presStyleIdx="0" presStyleCnt="2">
        <dgm:presLayoutVars>
          <dgm:chMax val="0"/>
          <dgm:chPref val="0"/>
          <dgm:bulletEnabled val="1"/>
        </dgm:presLayoutVars>
      </dgm:prSet>
      <dgm:spPr/>
    </dgm:pt>
    <dgm:pt modelId="{D3F9AA8E-9E1F-40E9-B57C-B6CDDA0761D8}" type="pres">
      <dgm:prSet presAssocID="{51DB5E21-A5EC-4F79-B435-A2D0BE213ED3}" presName="desTx" presStyleLbl="alignAccFollowNode1" presStyleIdx="0" presStyleCnt="2">
        <dgm:presLayoutVars>
          <dgm:bulletEnabled val="1"/>
        </dgm:presLayoutVars>
      </dgm:prSet>
      <dgm:spPr/>
    </dgm:pt>
    <dgm:pt modelId="{45890014-88E1-40F9-94E3-9B3F4631E5BB}" type="pres">
      <dgm:prSet presAssocID="{1E3C12ED-5744-42F4-B898-A6F54EF2B48F}" presName="space" presStyleCnt="0"/>
      <dgm:spPr/>
    </dgm:pt>
    <dgm:pt modelId="{2EADDA8A-3407-417E-923B-F6A4DDDA386B}" type="pres">
      <dgm:prSet presAssocID="{A48C86F7-6B84-49B5-A750-8AEBA677B543}" presName="composite" presStyleCnt="0"/>
      <dgm:spPr/>
    </dgm:pt>
    <dgm:pt modelId="{FC5C7F45-A329-4E93-9D93-784B11464D75}" type="pres">
      <dgm:prSet presAssocID="{A48C86F7-6B84-49B5-A750-8AEBA677B543}" presName="parTx" presStyleLbl="alignNode1" presStyleIdx="1" presStyleCnt="2">
        <dgm:presLayoutVars>
          <dgm:chMax val="0"/>
          <dgm:chPref val="0"/>
          <dgm:bulletEnabled val="1"/>
        </dgm:presLayoutVars>
      </dgm:prSet>
      <dgm:spPr/>
    </dgm:pt>
    <dgm:pt modelId="{DB173519-682B-4D27-B193-EEE168B430C8}" type="pres">
      <dgm:prSet presAssocID="{A48C86F7-6B84-49B5-A750-8AEBA677B543}" presName="desTx" presStyleLbl="alignAccFollowNode1" presStyleIdx="1" presStyleCnt="2">
        <dgm:presLayoutVars>
          <dgm:bulletEnabled val="1"/>
        </dgm:presLayoutVars>
      </dgm:prSet>
      <dgm:spPr/>
    </dgm:pt>
  </dgm:ptLst>
  <dgm:cxnLst>
    <dgm:cxn modelId="{D71E8800-E468-4503-BE8F-DBB47764C2EC}" srcId="{51DB5E21-A5EC-4F79-B435-A2D0BE213ED3}" destId="{F8218B21-948D-4FB2-8A1B-0F38FA683CE2}" srcOrd="1" destOrd="0" parTransId="{A0E589A9-40C6-4C21-9B1C-D3C6AC99485D}" sibTransId="{33000D56-8325-41BF-B071-3B7DF3EF4D0F}"/>
    <dgm:cxn modelId="{D867E00B-5F6D-4F3E-9B2C-64DC69830AC1}" srcId="{A48C86F7-6B84-49B5-A750-8AEBA677B543}" destId="{B1FD433F-D72B-4CF9-80C6-BF51B2F1C1A5}" srcOrd="1" destOrd="0" parTransId="{68B909E7-9298-42A9-919F-03093B472B6D}" sibTransId="{E137054E-6445-423F-9F72-009D7EF18F78}"/>
    <dgm:cxn modelId="{55280925-BED9-4B81-8E48-45D23BAD593D}" type="presOf" srcId="{A48C86F7-6B84-49B5-A750-8AEBA677B543}" destId="{FC5C7F45-A329-4E93-9D93-784B11464D75}" srcOrd="0" destOrd="0" presId="urn:microsoft.com/office/officeart/2005/8/layout/hList1"/>
    <dgm:cxn modelId="{606E2837-0735-4C09-AC87-104D5C6DDDFA}" type="presOf" srcId="{6C3E1B44-4910-4481-842F-BFF8FB0AD932}" destId="{D3F9AA8E-9E1F-40E9-B57C-B6CDDA0761D8}" srcOrd="0" destOrd="3" presId="urn:microsoft.com/office/officeart/2005/8/layout/hList1"/>
    <dgm:cxn modelId="{6196BE46-4755-4332-98E7-8100C8AB0BCD}" type="presOf" srcId="{7AFCD3A7-BCEC-43FA-BF39-637BD20E95FB}" destId="{F9DFBB22-8063-453F-A423-87F6EC0C26A4}" srcOrd="0" destOrd="0" presId="urn:microsoft.com/office/officeart/2005/8/layout/hList1"/>
    <dgm:cxn modelId="{92929975-6480-418D-8315-3260C2D4121B}" srcId="{51DB5E21-A5EC-4F79-B435-A2D0BE213ED3}" destId="{089DCECE-D3E6-4212-BF5E-5B6608C6BB5F}" srcOrd="2" destOrd="0" parTransId="{EE98697A-3A0C-46D5-99D8-E339D3EA7C2B}" sibTransId="{9DD39B86-FE81-4BA3-B52D-BFCFE0942C66}"/>
    <dgm:cxn modelId="{A7FF3B7C-937A-4F09-B5A4-909FA002AC66}" srcId="{51DB5E21-A5EC-4F79-B435-A2D0BE213ED3}" destId="{803FFA04-6BC8-4D66-B59F-144B369C4A5A}" srcOrd="0" destOrd="0" parTransId="{5652296B-F645-4C74-B3A6-C1F3C1ED1BE1}" sibTransId="{2A01A6DB-52E4-4E71-9EC6-8BFB035A46BB}"/>
    <dgm:cxn modelId="{9DF3D385-86E8-4F4B-A752-D6DE66D1C821}" type="presOf" srcId="{51DB5E21-A5EC-4F79-B435-A2D0BE213ED3}" destId="{9EF63345-68AA-4B81-B2A5-D7FEA27096B5}" srcOrd="0" destOrd="0" presId="urn:microsoft.com/office/officeart/2005/8/layout/hList1"/>
    <dgm:cxn modelId="{F305D78F-3636-4440-A4B7-BFD36D0E51B4}" srcId="{A48C86F7-6B84-49B5-A750-8AEBA677B543}" destId="{774EDE15-8E67-4A55-AE0E-A48F8903F57F}" srcOrd="2" destOrd="0" parTransId="{6A11ED6A-7F2E-4365-8EFC-BB570EB79221}" sibTransId="{3E6F3795-09BF-4892-9BC3-754816D454FA}"/>
    <dgm:cxn modelId="{D8796395-9F64-4D38-91DE-9B8277B1034A}" type="presOf" srcId="{089DCECE-D3E6-4212-BF5E-5B6608C6BB5F}" destId="{D3F9AA8E-9E1F-40E9-B57C-B6CDDA0761D8}" srcOrd="0" destOrd="2" presId="urn:microsoft.com/office/officeart/2005/8/layout/hList1"/>
    <dgm:cxn modelId="{DEC37BB2-2193-4FAE-B773-EFEE48B10B4B}" srcId="{7AFCD3A7-BCEC-43FA-BF39-637BD20E95FB}" destId="{A48C86F7-6B84-49B5-A750-8AEBA677B543}" srcOrd="1" destOrd="0" parTransId="{9B89063A-4939-48DB-B8B6-B3F5A71A34A1}" sibTransId="{E7F78101-449D-405C-9B39-D65D0B77E1B9}"/>
    <dgm:cxn modelId="{6498BDB5-773F-40E4-A654-1969FE1DE087}" type="presOf" srcId="{F8218B21-948D-4FB2-8A1B-0F38FA683CE2}" destId="{D3F9AA8E-9E1F-40E9-B57C-B6CDDA0761D8}" srcOrd="0" destOrd="1" presId="urn:microsoft.com/office/officeart/2005/8/layout/hList1"/>
    <dgm:cxn modelId="{FD4556BD-1CA0-47EE-9A92-E7B62E50E0B7}" type="presOf" srcId="{774EDE15-8E67-4A55-AE0E-A48F8903F57F}" destId="{DB173519-682B-4D27-B193-EEE168B430C8}" srcOrd="0" destOrd="2" presId="urn:microsoft.com/office/officeart/2005/8/layout/hList1"/>
    <dgm:cxn modelId="{A70826C3-2AAC-45E3-9FC7-E98EB619CE4B}" type="presOf" srcId="{803FFA04-6BC8-4D66-B59F-144B369C4A5A}" destId="{D3F9AA8E-9E1F-40E9-B57C-B6CDDA0761D8}" srcOrd="0" destOrd="0" presId="urn:microsoft.com/office/officeart/2005/8/layout/hList1"/>
    <dgm:cxn modelId="{11F4EEC5-DE12-4A29-ADFC-69472B3A44DD}" type="presOf" srcId="{B1FD433F-D72B-4CF9-80C6-BF51B2F1C1A5}" destId="{DB173519-682B-4D27-B193-EEE168B430C8}" srcOrd="0" destOrd="1" presId="urn:microsoft.com/office/officeart/2005/8/layout/hList1"/>
    <dgm:cxn modelId="{C727F4CC-11B1-435F-A932-F6EF61573A76}" type="presOf" srcId="{77C2AEF5-3502-4B2B-A11E-6500B8DBB1AF}" destId="{DB173519-682B-4D27-B193-EEE168B430C8}" srcOrd="0" destOrd="0" presId="urn:microsoft.com/office/officeart/2005/8/layout/hList1"/>
    <dgm:cxn modelId="{D631A3D6-9E65-4E92-9FCC-AFADC1CB35B4}" srcId="{51DB5E21-A5EC-4F79-B435-A2D0BE213ED3}" destId="{6C3E1B44-4910-4481-842F-BFF8FB0AD932}" srcOrd="3" destOrd="0" parTransId="{F04AF649-AA64-4C4A-B5FD-2260FD5F0F3F}" sibTransId="{3816FC3B-0793-4154-8002-4BFCC253A054}"/>
    <dgm:cxn modelId="{A3B152FA-F165-4E9C-B9BC-9D6E1D3FB540}" srcId="{A48C86F7-6B84-49B5-A750-8AEBA677B543}" destId="{77C2AEF5-3502-4B2B-A11E-6500B8DBB1AF}" srcOrd="0" destOrd="0" parTransId="{9437D31E-8C8B-4EDE-B3E4-56C2B5603E21}" sibTransId="{3407A79E-0649-4DF2-8D16-E0804314BAD5}"/>
    <dgm:cxn modelId="{E58AEDFD-E574-45D3-AAB0-F50AFFD43888}" srcId="{7AFCD3A7-BCEC-43FA-BF39-637BD20E95FB}" destId="{51DB5E21-A5EC-4F79-B435-A2D0BE213ED3}" srcOrd="0" destOrd="0" parTransId="{EC243595-7071-48E8-8B4E-6BE7FD2DC76B}" sibTransId="{1E3C12ED-5744-42F4-B898-A6F54EF2B48F}"/>
    <dgm:cxn modelId="{7C4ADE97-A44B-48A1-940B-291CB204EE44}" type="presParOf" srcId="{F9DFBB22-8063-453F-A423-87F6EC0C26A4}" destId="{E6282EAB-3F74-4703-840C-B37376A64BFE}" srcOrd="0" destOrd="0" presId="urn:microsoft.com/office/officeart/2005/8/layout/hList1"/>
    <dgm:cxn modelId="{DB2984A1-FA41-4CD4-BAE5-8AE142FC2576}" type="presParOf" srcId="{E6282EAB-3F74-4703-840C-B37376A64BFE}" destId="{9EF63345-68AA-4B81-B2A5-D7FEA27096B5}" srcOrd="0" destOrd="0" presId="urn:microsoft.com/office/officeart/2005/8/layout/hList1"/>
    <dgm:cxn modelId="{D1666E6D-D964-482D-9282-736B6F4DA431}" type="presParOf" srcId="{E6282EAB-3F74-4703-840C-B37376A64BFE}" destId="{D3F9AA8E-9E1F-40E9-B57C-B6CDDA0761D8}" srcOrd="1" destOrd="0" presId="urn:microsoft.com/office/officeart/2005/8/layout/hList1"/>
    <dgm:cxn modelId="{2E8E6A62-B2FA-43FD-84FB-E0D8C4EFD38D}" type="presParOf" srcId="{F9DFBB22-8063-453F-A423-87F6EC0C26A4}" destId="{45890014-88E1-40F9-94E3-9B3F4631E5BB}" srcOrd="1" destOrd="0" presId="urn:microsoft.com/office/officeart/2005/8/layout/hList1"/>
    <dgm:cxn modelId="{0A9E4AAD-0027-4F1A-9282-FC0C00E1B435}" type="presParOf" srcId="{F9DFBB22-8063-453F-A423-87F6EC0C26A4}" destId="{2EADDA8A-3407-417E-923B-F6A4DDDA386B}" srcOrd="2" destOrd="0" presId="urn:microsoft.com/office/officeart/2005/8/layout/hList1"/>
    <dgm:cxn modelId="{2689F063-9989-435C-9AD9-94A4E0E19A52}" type="presParOf" srcId="{2EADDA8A-3407-417E-923B-F6A4DDDA386B}" destId="{FC5C7F45-A329-4E93-9D93-784B11464D75}" srcOrd="0" destOrd="0" presId="urn:microsoft.com/office/officeart/2005/8/layout/hList1"/>
    <dgm:cxn modelId="{1F2298E8-3596-4530-8597-7E063870A665}" type="presParOf" srcId="{2EADDA8A-3407-417E-923B-F6A4DDDA386B}" destId="{DB173519-682B-4D27-B193-EEE168B430C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C2CED93-987E-4A34-A07E-E7EAF2B5EBF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13C9CDB-C162-49C2-937A-D7A05B134D87}">
      <dgm:prSet phldrT="[Text]" custT="1"/>
      <dgm:spPr>
        <a:xfrm>
          <a:off x="0" y="217259"/>
          <a:ext cx="2695029" cy="1617017"/>
        </a:xfrm>
        <a:prstGeom prst="rect">
          <a:avLst/>
        </a:prstGeom>
      </dgm:spPr>
      <dgm:t>
        <a:bodyPr/>
        <a:lstStyle/>
        <a:p>
          <a:pPr>
            <a:buFont typeface="Arial" panose="020B0604020202020204" pitchFamily="34" charset="0"/>
            <a:buNone/>
          </a:pPr>
          <a:r>
            <a:rPr lang="en-US" sz="2400" err="1">
              <a:latin typeface="Segoe UI Light" panose="020B0502040204020203" pitchFamily="34" charset="0"/>
              <a:ea typeface="+mn-ea"/>
              <a:cs typeface="Segoe UI Light" panose="020B0502040204020203" pitchFamily="34" charset="0"/>
            </a:rPr>
            <a:t>db_owner</a:t>
          </a:r>
          <a:endParaRPr lang="en-US" sz="2400">
            <a:latin typeface="Segoe UI Light" panose="020B0502040204020203" pitchFamily="34" charset="0"/>
            <a:ea typeface="+mn-ea"/>
            <a:cs typeface="Segoe UI Light" panose="020B0502040204020203" pitchFamily="34" charset="0"/>
          </a:endParaRPr>
        </a:p>
      </dgm:t>
    </dgm:pt>
    <dgm:pt modelId="{5FFDB8DA-C214-4CC0-B2BC-47D64ED83332}" type="parTrans" cxnId="{8C3A226D-9204-4A47-84F5-D1205FE01E08}">
      <dgm:prSet/>
      <dgm:spPr/>
      <dgm:t>
        <a:bodyPr/>
        <a:lstStyle/>
        <a:p>
          <a:endParaRPr lang="en-US"/>
        </a:p>
      </dgm:t>
    </dgm:pt>
    <dgm:pt modelId="{EDE3E905-13AE-4A0C-AA3B-079EBAE7E371}" type="sibTrans" cxnId="{8C3A226D-9204-4A47-84F5-D1205FE01E08}">
      <dgm:prSet/>
      <dgm:spPr/>
      <dgm:t>
        <a:bodyPr/>
        <a:lstStyle/>
        <a:p>
          <a:endParaRPr lang="en-US"/>
        </a:p>
      </dgm:t>
    </dgm:pt>
    <dgm:pt modelId="{F135A788-5DC2-4E48-9B89-A13C216273F4}">
      <dgm:prSet phldrT="[Text]" custT="1"/>
      <dgm:spPr>
        <a:xfrm>
          <a:off x="2964532" y="217259"/>
          <a:ext cx="2695029" cy="1617017"/>
        </a:xfrm>
        <a:prstGeom prst="rect">
          <a:avLst/>
        </a:prstGeom>
      </dgm:spPr>
      <dgm:t>
        <a:bodyPr/>
        <a:lstStyle/>
        <a:p>
          <a:pPr marL="0" lvl="0" indent="0" algn="ctr" defTabSz="10668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db_ddladmin</a:t>
          </a:r>
        </a:p>
      </dgm:t>
    </dgm:pt>
    <dgm:pt modelId="{5EBE2AA6-1EA6-4149-9F8A-4585EE9EAC61}" type="parTrans" cxnId="{B6D281D2-6EE6-4180-975F-E96139C50D71}">
      <dgm:prSet/>
      <dgm:spPr/>
      <dgm:t>
        <a:bodyPr/>
        <a:lstStyle/>
        <a:p>
          <a:endParaRPr lang="en-US"/>
        </a:p>
      </dgm:t>
    </dgm:pt>
    <dgm:pt modelId="{89B4CCDB-87CB-4158-942E-D4AFDF255D3A}" type="sibTrans" cxnId="{B6D281D2-6EE6-4180-975F-E96139C50D71}">
      <dgm:prSet/>
      <dgm:spPr/>
      <dgm:t>
        <a:bodyPr/>
        <a:lstStyle/>
        <a:p>
          <a:endParaRPr lang="en-US"/>
        </a:p>
      </dgm:t>
    </dgm:pt>
    <dgm:pt modelId="{70045E2E-9924-4293-8B8B-7749B7729AA2}">
      <dgm:prSet phldrT="[Text]" custT="1"/>
      <dgm:spPr>
        <a:xfrm>
          <a:off x="5929064" y="217259"/>
          <a:ext cx="2695029" cy="1617017"/>
        </a:xfrm>
        <a:prstGeom prst="rect">
          <a:avLst/>
        </a:prstGeom>
      </dgm:spPr>
      <dgm:t>
        <a:bodyPr/>
        <a:lstStyle/>
        <a:p>
          <a:pPr>
            <a:buFont typeface="Arial" panose="020B0604020202020204" pitchFamily="34" charset="0"/>
            <a:buNone/>
          </a:pPr>
          <a:r>
            <a:rPr lang="en-US" sz="2400">
              <a:latin typeface="Segoe UI Light" panose="020B0502040204020203" pitchFamily="34" charset="0"/>
              <a:ea typeface="+mn-ea"/>
              <a:cs typeface="Segoe UI Light" panose="020B0502040204020203" pitchFamily="34" charset="0"/>
            </a:rPr>
            <a:t>db_datawriter</a:t>
          </a:r>
        </a:p>
      </dgm:t>
    </dgm:pt>
    <dgm:pt modelId="{70F53A8B-1400-4767-A9C9-854131B9CB63}" type="parTrans" cxnId="{66C962FE-8083-450D-AB3B-2579BBE633E5}">
      <dgm:prSet/>
      <dgm:spPr/>
      <dgm:t>
        <a:bodyPr/>
        <a:lstStyle/>
        <a:p>
          <a:endParaRPr lang="en-US"/>
        </a:p>
      </dgm:t>
    </dgm:pt>
    <dgm:pt modelId="{2A226E32-FCE6-45D6-8262-4F888D00016D}" type="sibTrans" cxnId="{66C962FE-8083-450D-AB3B-2579BBE633E5}">
      <dgm:prSet/>
      <dgm:spPr/>
      <dgm:t>
        <a:bodyPr/>
        <a:lstStyle/>
        <a:p>
          <a:endParaRPr lang="en-US"/>
        </a:p>
      </dgm:t>
    </dgm:pt>
    <dgm:pt modelId="{C13059CA-B368-4D9D-B251-02D58102E46D}">
      <dgm:prSet phldrT="[Text]" custT="1"/>
      <dgm:spPr>
        <a:xfrm>
          <a:off x="0" y="2103780"/>
          <a:ext cx="2695029" cy="1617017"/>
        </a:xfrm>
        <a:prstGeom prst="rect">
          <a:avLst/>
        </a:prstGeom>
      </dgm:spPr>
      <dgm:t>
        <a:bodyPr/>
        <a:lstStyle/>
        <a:p>
          <a:pPr>
            <a:buNone/>
          </a:pPr>
          <a:r>
            <a:rPr lang="en-US" sz="2400" err="1">
              <a:latin typeface="Segoe UI Light" panose="020B0502040204020203" pitchFamily="34" charset="0"/>
              <a:ea typeface="+mn-ea"/>
              <a:cs typeface="Segoe UI Light" panose="020B0502040204020203" pitchFamily="34" charset="0"/>
            </a:rPr>
            <a:t>db_datareader</a:t>
          </a:r>
          <a:endParaRPr lang="en-US" sz="2400">
            <a:latin typeface="Segoe UI Light" panose="020B0502040204020203" pitchFamily="34" charset="0"/>
            <a:ea typeface="+mn-ea"/>
            <a:cs typeface="Segoe UI Light" panose="020B0502040204020203" pitchFamily="34" charset="0"/>
          </a:endParaRPr>
        </a:p>
      </dgm:t>
    </dgm:pt>
    <dgm:pt modelId="{13EA8D4B-0450-4481-9AAA-49B3BAAB75DA}" type="parTrans" cxnId="{B45844D6-D685-4D70-8A5A-475E5C2BD4D6}">
      <dgm:prSet/>
      <dgm:spPr/>
      <dgm:t>
        <a:bodyPr/>
        <a:lstStyle/>
        <a:p>
          <a:endParaRPr lang="en-US"/>
        </a:p>
      </dgm:t>
    </dgm:pt>
    <dgm:pt modelId="{CD9B7268-0445-4377-B4CC-94E8ECB63D96}" type="sibTrans" cxnId="{B45844D6-D685-4D70-8A5A-475E5C2BD4D6}">
      <dgm:prSet/>
      <dgm:spPr/>
      <dgm:t>
        <a:bodyPr/>
        <a:lstStyle/>
        <a:p>
          <a:endParaRPr lang="en-US"/>
        </a:p>
      </dgm:t>
    </dgm:pt>
    <dgm:pt modelId="{087D88A4-5ECE-40D0-8E86-F47239C0D5B2}">
      <dgm:prSet phldrT="[Text]" custT="1"/>
      <dgm:spPr>
        <a:xfrm>
          <a:off x="5929064" y="2103780"/>
          <a:ext cx="2695029" cy="1617017"/>
        </a:xfrm>
        <a:prstGeom prst="rect">
          <a:avLst/>
        </a:prstGeom>
      </dgm:spPr>
      <dgm:t>
        <a:bodyPr/>
        <a:lstStyle/>
        <a:p>
          <a:pPr>
            <a:buNone/>
          </a:pPr>
          <a:r>
            <a:rPr lang="en-US" sz="2400" err="1">
              <a:latin typeface="Segoe UI Light" panose="020B0502040204020203" pitchFamily="34" charset="0"/>
              <a:ea typeface="+mn-ea"/>
              <a:cs typeface="Segoe UI Light" panose="020B0502040204020203" pitchFamily="34" charset="0"/>
            </a:rPr>
            <a:t>db_denydatareader</a:t>
          </a:r>
          <a:endParaRPr lang="en-US" sz="2400">
            <a:latin typeface="Segoe UI Light" panose="020B0502040204020203" pitchFamily="34" charset="0"/>
            <a:ea typeface="+mn-ea"/>
            <a:cs typeface="Segoe UI Light" panose="020B0502040204020203" pitchFamily="34" charset="0"/>
          </a:endParaRPr>
        </a:p>
      </dgm:t>
    </dgm:pt>
    <dgm:pt modelId="{B9C754F1-AE37-45CC-9004-2C0121C2CC0F}" type="parTrans" cxnId="{122E53D2-B5AF-48C9-B852-EFD7F6C38A5C}">
      <dgm:prSet/>
      <dgm:spPr/>
      <dgm:t>
        <a:bodyPr/>
        <a:lstStyle/>
        <a:p>
          <a:endParaRPr lang="en-US"/>
        </a:p>
      </dgm:t>
    </dgm:pt>
    <dgm:pt modelId="{44256615-DDCC-487D-92E3-06CFE4F9B463}" type="sibTrans" cxnId="{122E53D2-B5AF-48C9-B852-EFD7F6C38A5C}">
      <dgm:prSet/>
      <dgm:spPr/>
      <dgm:t>
        <a:bodyPr/>
        <a:lstStyle/>
        <a:p>
          <a:endParaRPr lang="en-US"/>
        </a:p>
      </dgm:t>
    </dgm:pt>
    <dgm:pt modelId="{0BF58DCB-6076-4DD1-8051-D4656726AA04}">
      <dgm:prSet phldrT="[Text]" custT="1"/>
      <dgm:spPr>
        <a:xfrm>
          <a:off x="2964532" y="2103780"/>
          <a:ext cx="2695029" cy="1617017"/>
        </a:xfrm>
        <a:prstGeom prst="rect">
          <a:avLst/>
        </a:prstGeom>
      </dgm:spPr>
      <dgm:t>
        <a:bodyPr/>
        <a:lstStyle/>
        <a:p>
          <a:pPr>
            <a:buNone/>
          </a:pPr>
          <a:r>
            <a:rPr lang="en-US" sz="2400">
              <a:latin typeface="Segoe UI Light" panose="020B0502040204020203" pitchFamily="34" charset="0"/>
              <a:ea typeface="+mn-ea"/>
              <a:cs typeface="Segoe UI Light" panose="020B0502040204020203" pitchFamily="34" charset="0"/>
            </a:rPr>
            <a:t>db_denydatawriter</a:t>
          </a:r>
        </a:p>
      </dgm:t>
    </dgm:pt>
    <dgm:pt modelId="{14AA247D-3936-44EE-95F6-2EFA0B4E9943}" type="parTrans" cxnId="{97E44EC4-D400-4E37-82E4-57C0B05B463E}">
      <dgm:prSet/>
      <dgm:spPr/>
      <dgm:t>
        <a:bodyPr/>
        <a:lstStyle/>
        <a:p>
          <a:endParaRPr lang="en-US"/>
        </a:p>
      </dgm:t>
    </dgm:pt>
    <dgm:pt modelId="{66DBAD48-50F0-4171-ABF1-90D33DF2A226}" type="sibTrans" cxnId="{97E44EC4-D400-4E37-82E4-57C0B05B463E}">
      <dgm:prSet/>
      <dgm:spPr/>
      <dgm:t>
        <a:bodyPr/>
        <a:lstStyle/>
        <a:p>
          <a:endParaRPr lang="en-US"/>
        </a:p>
      </dgm:t>
    </dgm:pt>
    <dgm:pt modelId="{1AC8D72E-CC55-4DC4-97B7-2619AA13DE0E}" type="pres">
      <dgm:prSet presAssocID="{BC2CED93-987E-4A34-A07E-E7EAF2B5EBF1}" presName="diagram" presStyleCnt="0">
        <dgm:presLayoutVars>
          <dgm:dir/>
          <dgm:resizeHandles val="exact"/>
        </dgm:presLayoutVars>
      </dgm:prSet>
      <dgm:spPr/>
    </dgm:pt>
    <dgm:pt modelId="{714A4294-756D-40AB-9826-878DF69BDCB3}" type="pres">
      <dgm:prSet presAssocID="{113C9CDB-C162-49C2-937A-D7A05B134D87}" presName="node" presStyleLbl="node1" presStyleIdx="0" presStyleCnt="6">
        <dgm:presLayoutVars>
          <dgm:bulletEnabled val="1"/>
        </dgm:presLayoutVars>
      </dgm:prSet>
      <dgm:spPr/>
    </dgm:pt>
    <dgm:pt modelId="{1A898742-7239-4400-9E82-CE691DF6166D}" type="pres">
      <dgm:prSet presAssocID="{EDE3E905-13AE-4A0C-AA3B-079EBAE7E371}" presName="sibTrans" presStyleCnt="0"/>
      <dgm:spPr/>
    </dgm:pt>
    <dgm:pt modelId="{2B1B9849-50D0-42A0-A400-0A697BECEF49}" type="pres">
      <dgm:prSet presAssocID="{F135A788-5DC2-4E48-9B89-A13C216273F4}" presName="node" presStyleLbl="node1" presStyleIdx="1" presStyleCnt="6">
        <dgm:presLayoutVars>
          <dgm:bulletEnabled val="1"/>
        </dgm:presLayoutVars>
      </dgm:prSet>
      <dgm:spPr/>
    </dgm:pt>
    <dgm:pt modelId="{31BEE4B0-CDBF-4E04-BD4E-643AB0ED729A}" type="pres">
      <dgm:prSet presAssocID="{89B4CCDB-87CB-4158-942E-D4AFDF255D3A}" presName="sibTrans" presStyleCnt="0"/>
      <dgm:spPr/>
    </dgm:pt>
    <dgm:pt modelId="{1764A4B8-DEE4-46A0-8EF4-32CE1803BC85}" type="pres">
      <dgm:prSet presAssocID="{70045E2E-9924-4293-8B8B-7749B7729AA2}" presName="node" presStyleLbl="node1" presStyleIdx="2" presStyleCnt="6" custLinFactNeighborX="3181">
        <dgm:presLayoutVars>
          <dgm:bulletEnabled val="1"/>
        </dgm:presLayoutVars>
      </dgm:prSet>
      <dgm:spPr/>
    </dgm:pt>
    <dgm:pt modelId="{A1C1E809-1071-41F8-B437-3E2EE21AC8CB}" type="pres">
      <dgm:prSet presAssocID="{2A226E32-FCE6-45D6-8262-4F888D00016D}" presName="sibTrans" presStyleCnt="0"/>
      <dgm:spPr/>
    </dgm:pt>
    <dgm:pt modelId="{43D6C1C4-4770-4495-964F-69DB1896F2A8}" type="pres">
      <dgm:prSet presAssocID="{C13059CA-B368-4D9D-B251-02D58102E46D}" presName="node" presStyleLbl="node1" presStyleIdx="3" presStyleCnt="6">
        <dgm:presLayoutVars>
          <dgm:bulletEnabled val="1"/>
        </dgm:presLayoutVars>
      </dgm:prSet>
      <dgm:spPr/>
    </dgm:pt>
    <dgm:pt modelId="{C2F63759-6E72-42EF-8ABC-BBCD7D4C67C0}" type="pres">
      <dgm:prSet presAssocID="{CD9B7268-0445-4377-B4CC-94E8ECB63D96}" presName="sibTrans" presStyleCnt="0"/>
      <dgm:spPr/>
    </dgm:pt>
    <dgm:pt modelId="{07DD6E29-A0B9-4B95-BB7F-F8B724532243}" type="pres">
      <dgm:prSet presAssocID="{0BF58DCB-6076-4DD1-8051-D4656726AA04}" presName="node" presStyleLbl="node1" presStyleIdx="4" presStyleCnt="6">
        <dgm:presLayoutVars>
          <dgm:bulletEnabled val="1"/>
        </dgm:presLayoutVars>
      </dgm:prSet>
      <dgm:spPr/>
    </dgm:pt>
    <dgm:pt modelId="{C816AC76-1CD1-48DB-9207-652EBB818993}" type="pres">
      <dgm:prSet presAssocID="{66DBAD48-50F0-4171-ABF1-90D33DF2A226}" presName="sibTrans" presStyleCnt="0"/>
      <dgm:spPr/>
    </dgm:pt>
    <dgm:pt modelId="{4CCE7443-9A59-475B-A0DC-6F96832BAC0D}" type="pres">
      <dgm:prSet presAssocID="{087D88A4-5ECE-40D0-8E86-F47239C0D5B2}" presName="node" presStyleLbl="node1" presStyleIdx="5" presStyleCnt="6">
        <dgm:presLayoutVars>
          <dgm:bulletEnabled val="1"/>
        </dgm:presLayoutVars>
      </dgm:prSet>
      <dgm:spPr/>
    </dgm:pt>
  </dgm:ptLst>
  <dgm:cxnLst>
    <dgm:cxn modelId="{ED274D01-C7E0-45E9-A1AF-C3CA8F800BF9}" type="presOf" srcId="{BC2CED93-987E-4A34-A07E-E7EAF2B5EBF1}" destId="{1AC8D72E-CC55-4DC4-97B7-2619AA13DE0E}" srcOrd="0" destOrd="0" presId="urn:microsoft.com/office/officeart/2005/8/layout/default"/>
    <dgm:cxn modelId="{1E2F4533-C38E-4F8C-868C-37989F924605}" type="presOf" srcId="{70045E2E-9924-4293-8B8B-7749B7729AA2}" destId="{1764A4B8-DEE4-46A0-8EF4-32CE1803BC85}" srcOrd="0" destOrd="0" presId="urn:microsoft.com/office/officeart/2005/8/layout/default"/>
    <dgm:cxn modelId="{80A7CB5B-EFF0-461E-AB2E-0D69BACCF487}" type="presOf" srcId="{0BF58DCB-6076-4DD1-8051-D4656726AA04}" destId="{07DD6E29-A0B9-4B95-BB7F-F8B724532243}" srcOrd="0" destOrd="0" presId="urn:microsoft.com/office/officeart/2005/8/layout/default"/>
    <dgm:cxn modelId="{42606163-DE76-45CE-BD43-AE12B4008198}" type="presOf" srcId="{087D88A4-5ECE-40D0-8E86-F47239C0D5B2}" destId="{4CCE7443-9A59-475B-A0DC-6F96832BAC0D}" srcOrd="0" destOrd="0" presId="urn:microsoft.com/office/officeart/2005/8/layout/default"/>
    <dgm:cxn modelId="{8C3A226D-9204-4A47-84F5-D1205FE01E08}" srcId="{BC2CED93-987E-4A34-A07E-E7EAF2B5EBF1}" destId="{113C9CDB-C162-49C2-937A-D7A05B134D87}" srcOrd="0" destOrd="0" parTransId="{5FFDB8DA-C214-4CC0-B2BC-47D64ED83332}" sibTransId="{EDE3E905-13AE-4A0C-AA3B-079EBAE7E371}"/>
    <dgm:cxn modelId="{2614B797-C7A0-4E19-88C4-A5EE29BC65A0}" type="presOf" srcId="{F135A788-5DC2-4E48-9B89-A13C216273F4}" destId="{2B1B9849-50D0-42A0-A400-0A697BECEF49}" srcOrd="0" destOrd="0" presId="urn:microsoft.com/office/officeart/2005/8/layout/default"/>
    <dgm:cxn modelId="{37A1F0C3-6866-433E-A026-DA708AEC1C86}" type="presOf" srcId="{113C9CDB-C162-49C2-937A-D7A05B134D87}" destId="{714A4294-756D-40AB-9826-878DF69BDCB3}" srcOrd="0" destOrd="0" presId="urn:microsoft.com/office/officeart/2005/8/layout/default"/>
    <dgm:cxn modelId="{97E44EC4-D400-4E37-82E4-57C0B05B463E}" srcId="{BC2CED93-987E-4A34-A07E-E7EAF2B5EBF1}" destId="{0BF58DCB-6076-4DD1-8051-D4656726AA04}" srcOrd="4" destOrd="0" parTransId="{14AA247D-3936-44EE-95F6-2EFA0B4E9943}" sibTransId="{66DBAD48-50F0-4171-ABF1-90D33DF2A226}"/>
    <dgm:cxn modelId="{122E53D2-B5AF-48C9-B852-EFD7F6C38A5C}" srcId="{BC2CED93-987E-4A34-A07E-E7EAF2B5EBF1}" destId="{087D88A4-5ECE-40D0-8E86-F47239C0D5B2}" srcOrd="5" destOrd="0" parTransId="{B9C754F1-AE37-45CC-9004-2C0121C2CC0F}" sibTransId="{44256615-DDCC-487D-92E3-06CFE4F9B463}"/>
    <dgm:cxn modelId="{B6D281D2-6EE6-4180-975F-E96139C50D71}" srcId="{BC2CED93-987E-4A34-A07E-E7EAF2B5EBF1}" destId="{F135A788-5DC2-4E48-9B89-A13C216273F4}" srcOrd="1" destOrd="0" parTransId="{5EBE2AA6-1EA6-4149-9F8A-4585EE9EAC61}" sibTransId="{89B4CCDB-87CB-4158-942E-D4AFDF255D3A}"/>
    <dgm:cxn modelId="{B45844D6-D685-4D70-8A5A-475E5C2BD4D6}" srcId="{BC2CED93-987E-4A34-A07E-E7EAF2B5EBF1}" destId="{C13059CA-B368-4D9D-B251-02D58102E46D}" srcOrd="3" destOrd="0" parTransId="{13EA8D4B-0450-4481-9AAA-49B3BAAB75DA}" sibTransId="{CD9B7268-0445-4377-B4CC-94E8ECB63D96}"/>
    <dgm:cxn modelId="{F92CF0F9-F26A-4949-AAA5-D2FAB79B261E}" type="presOf" srcId="{C13059CA-B368-4D9D-B251-02D58102E46D}" destId="{43D6C1C4-4770-4495-964F-69DB1896F2A8}" srcOrd="0" destOrd="0" presId="urn:microsoft.com/office/officeart/2005/8/layout/default"/>
    <dgm:cxn modelId="{66C962FE-8083-450D-AB3B-2579BBE633E5}" srcId="{BC2CED93-987E-4A34-A07E-E7EAF2B5EBF1}" destId="{70045E2E-9924-4293-8B8B-7749B7729AA2}" srcOrd="2" destOrd="0" parTransId="{70F53A8B-1400-4767-A9C9-854131B9CB63}" sibTransId="{2A226E32-FCE6-45D6-8262-4F888D00016D}"/>
    <dgm:cxn modelId="{B3A8189D-3D1E-4850-A14D-D10C01C5F858}" type="presParOf" srcId="{1AC8D72E-CC55-4DC4-97B7-2619AA13DE0E}" destId="{714A4294-756D-40AB-9826-878DF69BDCB3}" srcOrd="0" destOrd="0" presId="urn:microsoft.com/office/officeart/2005/8/layout/default"/>
    <dgm:cxn modelId="{A8C34048-A50A-4DCD-B688-A7DA9CAB74E0}" type="presParOf" srcId="{1AC8D72E-CC55-4DC4-97B7-2619AA13DE0E}" destId="{1A898742-7239-4400-9E82-CE691DF6166D}" srcOrd="1" destOrd="0" presId="urn:microsoft.com/office/officeart/2005/8/layout/default"/>
    <dgm:cxn modelId="{BD6E16B2-844C-4473-9FFA-5454DEBFEDAC}" type="presParOf" srcId="{1AC8D72E-CC55-4DC4-97B7-2619AA13DE0E}" destId="{2B1B9849-50D0-42A0-A400-0A697BECEF49}" srcOrd="2" destOrd="0" presId="urn:microsoft.com/office/officeart/2005/8/layout/default"/>
    <dgm:cxn modelId="{F345661D-1DCF-4522-BD7B-FF33EDE2C56B}" type="presParOf" srcId="{1AC8D72E-CC55-4DC4-97B7-2619AA13DE0E}" destId="{31BEE4B0-CDBF-4E04-BD4E-643AB0ED729A}" srcOrd="3" destOrd="0" presId="urn:microsoft.com/office/officeart/2005/8/layout/default"/>
    <dgm:cxn modelId="{D5DA850B-471D-4A67-9A02-EE7A195BFB16}" type="presParOf" srcId="{1AC8D72E-CC55-4DC4-97B7-2619AA13DE0E}" destId="{1764A4B8-DEE4-46A0-8EF4-32CE1803BC85}" srcOrd="4" destOrd="0" presId="urn:microsoft.com/office/officeart/2005/8/layout/default"/>
    <dgm:cxn modelId="{48F2CA53-AA9E-42B4-8638-45420DE5825A}" type="presParOf" srcId="{1AC8D72E-CC55-4DC4-97B7-2619AA13DE0E}" destId="{A1C1E809-1071-41F8-B437-3E2EE21AC8CB}" srcOrd="5" destOrd="0" presId="urn:microsoft.com/office/officeart/2005/8/layout/default"/>
    <dgm:cxn modelId="{D04CF144-ABC8-4F8E-B8EF-E1FD098383AF}" type="presParOf" srcId="{1AC8D72E-CC55-4DC4-97B7-2619AA13DE0E}" destId="{43D6C1C4-4770-4495-964F-69DB1896F2A8}" srcOrd="6" destOrd="0" presId="urn:microsoft.com/office/officeart/2005/8/layout/default"/>
    <dgm:cxn modelId="{198C182A-E664-41FF-AA3A-A2375E1992EA}" type="presParOf" srcId="{1AC8D72E-CC55-4DC4-97B7-2619AA13DE0E}" destId="{C2F63759-6E72-42EF-8ABC-BBCD7D4C67C0}" srcOrd="7" destOrd="0" presId="urn:microsoft.com/office/officeart/2005/8/layout/default"/>
    <dgm:cxn modelId="{68915B07-EA7E-4831-A33B-D09882EB4F6F}" type="presParOf" srcId="{1AC8D72E-CC55-4DC4-97B7-2619AA13DE0E}" destId="{07DD6E29-A0B9-4B95-BB7F-F8B724532243}" srcOrd="8" destOrd="0" presId="urn:microsoft.com/office/officeart/2005/8/layout/default"/>
    <dgm:cxn modelId="{F4A7E716-616E-4C3E-83EA-93E87336E04F}" type="presParOf" srcId="{1AC8D72E-CC55-4DC4-97B7-2619AA13DE0E}" destId="{C816AC76-1CD1-48DB-9207-652EBB818993}" srcOrd="9" destOrd="0" presId="urn:microsoft.com/office/officeart/2005/8/layout/default"/>
    <dgm:cxn modelId="{7F735DE9-730E-46D1-9432-497DC6E35E1E}" type="presParOf" srcId="{1AC8D72E-CC55-4DC4-97B7-2619AA13DE0E}" destId="{4CCE7443-9A59-475B-A0DC-6F96832BAC0D}"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C2CED93-987E-4A34-A07E-E7EAF2B5EBF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13C9CDB-C162-49C2-937A-D7A05B134D87}">
      <dgm:prSet phldrT="[Text]" custT="1"/>
      <dgm:spPr>
        <a:xfrm>
          <a:off x="0" y="217259"/>
          <a:ext cx="2695029" cy="1617017"/>
        </a:xfrm>
        <a:prstGeom prst="rect">
          <a:avLst/>
        </a:prstGeom>
      </dgm:spPr>
      <dgm:t>
        <a:bodyPr/>
        <a:lstStyle/>
        <a:p>
          <a:pPr>
            <a:buFont typeface="Arial" panose="020B0604020202020204" pitchFamily="34" charset="0"/>
            <a:buNone/>
          </a:pPr>
          <a:r>
            <a:rPr lang="en-US" sz="2400">
              <a:latin typeface="Segoe UI Light" panose="020B0502040204020203" pitchFamily="34" charset="0"/>
              <a:ea typeface="+mn-ea"/>
              <a:cs typeface="Segoe UI Light" panose="020B0502040204020203" pitchFamily="34" charset="0"/>
            </a:rPr>
            <a:t>admin</a:t>
          </a:r>
        </a:p>
      </dgm:t>
    </dgm:pt>
    <dgm:pt modelId="{5FFDB8DA-C214-4CC0-B2BC-47D64ED83332}" type="parTrans" cxnId="{8C3A226D-9204-4A47-84F5-D1205FE01E08}">
      <dgm:prSet/>
      <dgm:spPr/>
      <dgm:t>
        <a:bodyPr/>
        <a:lstStyle/>
        <a:p>
          <a:endParaRPr lang="en-US"/>
        </a:p>
      </dgm:t>
    </dgm:pt>
    <dgm:pt modelId="{EDE3E905-13AE-4A0C-AA3B-079EBAE7E371}" type="sibTrans" cxnId="{8C3A226D-9204-4A47-84F5-D1205FE01E08}">
      <dgm:prSet/>
      <dgm:spPr/>
      <dgm:t>
        <a:bodyPr/>
        <a:lstStyle/>
        <a:p>
          <a:endParaRPr lang="en-US"/>
        </a:p>
      </dgm:t>
    </dgm:pt>
    <dgm:pt modelId="{F135A788-5DC2-4E48-9B89-A13C216273F4}">
      <dgm:prSet phldrT="[Text]" custT="1"/>
      <dgm:spPr>
        <a:xfrm>
          <a:off x="2964532" y="217259"/>
          <a:ext cx="2695029" cy="1617017"/>
        </a:xfrm>
        <a:prstGeom prst="rect">
          <a:avLst/>
        </a:prstGeom>
      </dgm:spPr>
      <dgm: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dirty="0">
              <a:latin typeface="Segoe UI Light" panose="020B0502040204020203" pitchFamily="34" charset="0"/>
              <a:ea typeface="+mn-ea"/>
              <a:cs typeface="Segoe UI Light" panose="020B0502040204020203" pitchFamily="34" charset="0"/>
            </a:rPr>
            <a:t>administrator</a:t>
          </a:r>
        </a:p>
      </dgm:t>
    </dgm:pt>
    <dgm:pt modelId="{5EBE2AA6-1EA6-4149-9F8A-4585EE9EAC61}" type="parTrans" cxnId="{B6D281D2-6EE6-4180-975F-E96139C50D71}">
      <dgm:prSet/>
      <dgm:spPr/>
      <dgm:t>
        <a:bodyPr/>
        <a:lstStyle/>
        <a:p>
          <a:endParaRPr lang="en-US"/>
        </a:p>
      </dgm:t>
    </dgm:pt>
    <dgm:pt modelId="{89B4CCDB-87CB-4158-942E-D4AFDF255D3A}" type="sibTrans" cxnId="{B6D281D2-6EE6-4180-975F-E96139C50D71}">
      <dgm:prSet/>
      <dgm:spPr/>
      <dgm:t>
        <a:bodyPr/>
        <a:lstStyle/>
        <a:p>
          <a:endParaRPr lang="en-US"/>
        </a:p>
      </dgm:t>
    </dgm:pt>
    <dgm:pt modelId="{70045E2E-9924-4293-8B8B-7749B7729AA2}">
      <dgm:prSet phldrT="[Text]" custT="1"/>
      <dgm:spPr>
        <a:xfrm>
          <a:off x="5929064" y="217259"/>
          <a:ext cx="2695029" cy="1617017"/>
        </a:xfrm>
        <a:prstGeom prst="rect">
          <a:avLst/>
        </a:prstGeom>
      </dgm:spPr>
      <dgm: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guest</a:t>
          </a:r>
        </a:p>
      </dgm:t>
    </dgm:pt>
    <dgm:pt modelId="{70F53A8B-1400-4767-A9C9-854131B9CB63}" type="parTrans" cxnId="{66C962FE-8083-450D-AB3B-2579BBE633E5}">
      <dgm:prSet/>
      <dgm:spPr/>
      <dgm:t>
        <a:bodyPr/>
        <a:lstStyle/>
        <a:p>
          <a:endParaRPr lang="en-US"/>
        </a:p>
      </dgm:t>
    </dgm:pt>
    <dgm:pt modelId="{2A226E32-FCE6-45D6-8262-4F888D00016D}" type="sibTrans" cxnId="{66C962FE-8083-450D-AB3B-2579BBE633E5}">
      <dgm:prSet/>
      <dgm:spPr/>
      <dgm:t>
        <a:bodyPr/>
        <a:lstStyle/>
        <a:p>
          <a:endParaRPr lang="en-US"/>
        </a:p>
      </dgm:t>
    </dgm:pt>
    <dgm:pt modelId="{C13059CA-B368-4D9D-B251-02D58102E46D}">
      <dgm:prSet phldrT="[Text]" custT="1"/>
      <dgm:spPr>
        <a:xfrm>
          <a:off x="1482266" y="2103780"/>
          <a:ext cx="2695029" cy="1617017"/>
        </a:xfrm>
        <a:prstGeom prst="rect">
          <a:avLst/>
        </a:prstGeom>
      </dgm:spPr>
      <dgm:t>
        <a:bodyPr/>
        <a:lstStyle/>
        <a:p>
          <a:pPr>
            <a:buNone/>
          </a:pPr>
          <a:r>
            <a:rPr lang="en-US" sz="2400" kern="1200">
              <a:latin typeface="Segoe UI Light" panose="020B0502040204020203" pitchFamily="34" charset="0"/>
              <a:ea typeface="+mn-ea"/>
              <a:cs typeface="Segoe UI Light" panose="020B0502040204020203" pitchFamily="34" charset="0"/>
            </a:rPr>
            <a:t>root</a:t>
          </a:r>
        </a:p>
      </dgm:t>
    </dgm:pt>
    <dgm:pt modelId="{13EA8D4B-0450-4481-9AAA-49B3BAAB75DA}" type="parTrans" cxnId="{B45844D6-D685-4D70-8A5A-475E5C2BD4D6}">
      <dgm:prSet/>
      <dgm:spPr/>
      <dgm:t>
        <a:bodyPr/>
        <a:lstStyle/>
        <a:p>
          <a:endParaRPr lang="en-US"/>
        </a:p>
      </dgm:t>
    </dgm:pt>
    <dgm:pt modelId="{CD9B7268-0445-4377-B4CC-94E8ECB63D96}" type="sibTrans" cxnId="{B45844D6-D685-4D70-8A5A-475E5C2BD4D6}">
      <dgm:prSet/>
      <dgm:spPr/>
      <dgm:t>
        <a:bodyPr/>
        <a:lstStyle/>
        <a:p>
          <a:endParaRPr lang="en-US"/>
        </a:p>
      </dgm:t>
    </dgm:pt>
    <dgm:pt modelId="{087D88A4-5ECE-40D0-8E86-F47239C0D5B2}">
      <dgm:prSet phldrT="[Text]" custT="1"/>
      <dgm:spPr>
        <a:xfrm>
          <a:off x="4476740" y="2096633"/>
          <a:ext cx="2695029" cy="1617017"/>
        </a:xfrm>
        <a:prstGeom prst="rect">
          <a:avLst/>
        </a:prstGeom>
      </dgm:spPr>
      <dgm: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err="1">
              <a:latin typeface="Segoe UI Light" panose="020B0502040204020203" pitchFamily="34" charset="0"/>
              <a:ea typeface="+mn-ea"/>
              <a:cs typeface="Segoe UI Light" panose="020B0502040204020203" pitchFamily="34" charset="0"/>
            </a:rPr>
            <a:t>sa</a:t>
          </a:r>
          <a:endParaRPr lang="en-US" sz="2400" kern="1200">
            <a:latin typeface="Segoe UI Light" panose="020B0502040204020203" pitchFamily="34" charset="0"/>
            <a:ea typeface="+mn-ea"/>
            <a:cs typeface="Segoe UI Light" panose="020B0502040204020203" pitchFamily="34" charset="0"/>
          </a:endParaRPr>
        </a:p>
      </dgm:t>
    </dgm:pt>
    <dgm:pt modelId="{B9C754F1-AE37-45CC-9004-2C0121C2CC0F}" type="parTrans" cxnId="{122E53D2-B5AF-48C9-B852-EFD7F6C38A5C}">
      <dgm:prSet/>
      <dgm:spPr/>
      <dgm:t>
        <a:bodyPr/>
        <a:lstStyle/>
        <a:p>
          <a:endParaRPr lang="en-US"/>
        </a:p>
      </dgm:t>
    </dgm:pt>
    <dgm:pt modelId="{44256615-DDCC-487D-92E3-06CFE4F9B463}" type="sibTrans" cxnId="{122E53D2-B5AF-48C9-B852-EFD7F6C38A5C}">
      <dgm:prSet/>
      <dgm:spPr/>
      <dgm:t>
        <a:bodyPr/>
        <a:lstStyle/>
        <a:p>
          <a:endParaRPr lang="en-US"/>
        </a:p>
      </dgm:t>
    </dgm:pt>
    <dgm:pt modelId="{1AC8D72E-CC55-4DC4-97B7-2619AA13DE0E}" type="pres">
      <dgm:prSet presAssocID="{BC2CED93-987E-4A34-A07E-E7EAF2B5EBF1}" presName="diagram" presStyleCnt="0">
        <dgm:presLayoutVars>
          <dgm:dir/>
          <dgm:resizeHandles val="exact"/>
        </dgm:presLayoutVars>
      </dgm:prSet>
      <dgm:spPr/>
    </dgm:pt>
    <dgm:pt modelId="{714A4294-756D-40AB-9826-878DF69BDCB3}" type="pres">
      <dgm:prSet presAssocID="{113C9CDB-C162-49C2-937A-D7A05B134D87}" presName="node" presStyleLbl="node1" presStyleIdx="0" presStyleCnt="5">
        <dgm:presLayoutVars>
          <dgm:bulletEnabled val="1"/>
        </dgm:presLayoutVars>
      </dgm:prSet>
      <dgm:spPr/>
    </dgm:pt>
    <dgm:pt modelId="{1A898742-7239-4400-9E82-CE691DF6166D}" type="pres">
      <dgm:prSet presAssocID="{EDE3E905-13AE-4A0C-AA3B-079EBAE7E371}" presName="sibTrans" presStyleCnt="0"/>
      <dgm:spPr/>
    </dgm:pt>
    <dgm:pt modelId="{2B1B9849-50D0-42A0-A400-0A697BECEF49}" type="pres">
      <dgm:prSet presAssocID="{F135A788-5DC2-4E48-9B89-A13C216273F4}" presName="node" presStyleLbl="node1" presStyleIdx="1" presStyleCnt="5">
        <dgm:presLayoutVars>
          <dgm:bulletEnabled val="1"/>
        </dgm:presLayoutVars>
      </dgm:prSet>
      <dgm:spPr/>
    </dgm:pt>
    <dgm:pt modelId="{31BEE4B0-CDBF-4E04-BD4E-643AB0ED729A}" type="pres">
      <dgm:prSet presAssocID="{89B4CCDB-87CB-4158-942E-D4AFDF255D3A}" presName="sibTrans" presStyleCnt="0"/>
      <dgm:spPr/>
    </dgm:pt>
    <dgm:pt modelId="{1764A4B8-DEE4-46A0-8EF4-32CE1803BC85}" type="pres">
      <dgm:prSet presAssocID="{70045E2E-9924-4293-8B8B-7749B7729AA2}" presName="node" presStyleLbl="node1" presStyleIdx="2" presStyleCnt="5">
        <dgm:presLayoutVars>
          <dgm:bulletEnabled val="1"/>
        </dgm:presLayoutVars>
      </dgm:prSet>
      <dgm:spPr/>
    </dgm:pt>
    <dgm:pt modelId="{A1C1E809-1071-41F8-B437-3E2EE21AC8CB}" type="pres">
      <dgm:prSet presAssocID="{2A226E32-FCE6-45D6-8262-4F888D00016D}" presName="sibTrans" presStyleCnt="0"/>
      <dgm:spPr/>
    </dgm:pt>
    <dgm:pt modelId="{43D6C1C4-4770-4495-964F-69DB1896F2A8}" type="pres">
      <dgm:prSet presAssocID="{C13059CA-B368-4D9D-B251-02D58102E46D}" presName="node" presStyleLbl="node1" presStyleIdx="3" presStyleCnt="5">
        <dgm:presLayoutVars>
          <dgm:bulletEnabled val="1"/>
        </dgm:presLayoutVars>
      </dgm:prSet>
      <dgm:spPr/>
    </dgm:pt>
    <dgm:pt modelId="{C2F63759-6E72-42EF-8ABC-BBCD7D4C67C0}" type="pres">
      <dgm:prSet presAssocID="{CD9B7268-0445-4377-B4CC-94E8ECB63D96}" presName="sibTrans" presStyleCnt="0"/>
      <dgm:spPr/>
    </dgm:pt>
    <dgm:pt modelId="{4CCE7443-9A59-475B-A0DC-6F96832BAC0D}" type="pres">
      <dgm:prSet presAssocID="{087D88A4-5ECE-40D0-8E86-F47239C0D5B2}" presName="node" presStyleLbl="node1" presStyleIdx="4" presStyleCnt="5" custLinFactNeighborX="1111" custLinFactNeighborY="-442">
        <dgm:presLayoutVars>
          <dgm:bulletEnabled val="1"/>
        </dgm:presLayoutVars>
      </dgm:prSet>
      <dgm:spPr/>
    </dgm:pt>
  </dgm:ptLst>
  <dgm:cxnLst>
    <dgm:cxn modelId="{ED274D01-C7E0-45E9-A1AF-C3CA8F800BF9}" type="presOf" srcId="{BC2CED93-987E-4A34-A07E-E7EAF2B5EBF1}" destId="{1AC8D72E-CC55-4DC4-97B7-2619AA13DE0E}" srcOrd="0" destOrd="0" presId="urn:microsoft.com/office/officeart/2005/8/layout/default"/>
    <dgm:cxn modelId="{1E2F4533-C38E-4F8C-868C-37989F924605}" type="presOf" srcId="{70045E2E-9924-4293-8B8B-7749B7729AA2}" destId="{1764A4B8-DEE4-46A0-8EF4-32CE1803BC85}" srcOrd="0" destOrd="0" presId="urn:microsoft.com/office/officeart/2005/8/layout/default"/>
    <dgm:cxn modelId="{42606163-DE76-45CE-BD43-AE12B4008198}" type="presOf" srcId="{087D88A4-5ECE-40D0-8E86-F47239C0D5B2}" destId="{4CCE7443-9A59-475B-A0DC-6F96832BAC0D}" srcOrd="0" destOrd="0" presId="urn:microsoft.com/office/officeart/2005/8/layout/default"/>
    <dgm:cxn modelId="{8C3A226D-9204-4A47-84F5-D1205FE01E08}" srcId="{BC2CED93-987E-4A34-A07E-E7EAF2B5EBF1}" destId="{113C9CDB-C162-49C2-937A-D7A05B134D87}" srcOrd="0" destOrd="0" parTransId="{5FFDB8DA-C214-4CC0-B2BC-47D64ED83332}" sibTransId="{EDE3E905-13AE-4A0C-AA3B-079EBAE7E371}"/>
    <dgm:cxn modelId="{2614B797-C7A0-4E19-88C4-A5EE29BC65A0}" type="presOf" srcId="{F135A788-5DC2-4E48-9B89-A13C216273F4}" destId="{2B1B9849-50D0-42A0-A400-0A697BECEF49}" srcOrd="0" destOrd="0" presId="urn:microsoft.com/office/officeart/2005/8/layout/default"/>
    <dgm:cxn modelId="{37A1F0C3-6866-433E-A026-DA708AEC1C86}" type="presOf" srcId="{113C9CDB-C162-49C2-937A-D7A05B134D87}" destId="{714A4294-756D-40AB-9826-878DF69BDCB3}" srcOrd="0" destOrd="0" presId="urn:microsoft.com/office/officeart/2005/8/layout/default"/>
    <dgm:cxn modelId="{122E53D2-B5AF-48C9-B852-EFD7F6C38A5C}" srcId="{BC2CED93-987E-4A34-A07E-E7EAF2B5EBF1}" destId="{087D88A4-5ECE-40D0-8E86-F47239C0D5B2}" srcOrd="4" destOrd="0" parTransId="{B9C754F1-AE37-45CC-9004-2C0121C2CC0F}" sibTransId="{44256615-DDCC-487D-92E3-06CFE4F9B463}"/>
    <dgm:cxn modelId="{B6D281D2-6EE6-4180-975F-E96139C50D71}" srcId="{BC2CED93-987E-4A34-A07E-E7EAF2B5EBF1}" destId="{F135A788-5DC2-4E48-9B89-A13C216273F4}" srcOrd="1" destOrd="0" parTransId="{5EBE2AA6-1EA6-4149-9F8A-4585EE9EAC61}" sibTransId="{89B4CCDB-87CB-4158-942E-D4AFDF255D3A}"/>
    <dgm:cxn modelId="{B45844D6-D685-4D70-8A5A-475E5C2BD4D6}" srcId="{BC2CED93-987E-4A34-A07E-E7EAF2B5EBF1}" destId="{C13059CA-B368-4D9D-B251-02D58102E46D}" srcOrd="3" destOrd="0" parTransId="{13EA8D4B-0450-4481-9AAA-49B3BAAB75DA}" sibTransId="{CD9B7268-0445-4377-B4CC-94E8ECB63D96}"/>
    <dgm:cxn modelId="{F92CF0F9-F26A-4949-AAA5-D2FAB79B261E}" type="presOf" srcId="{C13059CA-B368-4D9D-B251-02D58102E46D}" destId="{43D6C1C4-4770-4495-964F-69DB1896F2A8}" srcOrd="0" destOrd="0" presId="urn:microsoft.com/office/officeart/2005/8/layout/default"/>
    <dgm:cxn modelId="{66C962FE-8083-450D-AB3B-2579BBE633E5}" srcId="{BC2CED93-987E-4A34-A07E-E7EAF2B5EBF1}" destId="{70045E2E-9924-4293-8B8B-7749B7729AA2}" srcOrd="2" destOrd="0" parTransId="{70F53A8B-1400-4767-A9C9-854131B9CB63}" sibTransId="{2A226E32-FCE6-45D6-8262-4F888D00016D}"/>
    <dgm:cxn modelId="{B3A8189D-3D1E-4850-A14D-D10C01C5F858}" type="presParOf" srcId="{1AC8D72E-CC55-4DC4-97B7-2619AA13DE0E}" destId="{714A4294-756D-40AB-9826-878DF69BDCB3}" srcOrd="0" destOrd="0" presId="urn:microsoft.com/office/officeart/2005/8/layout/default"/>
    <dgm:cxn modelId="{A8C34048-A50A-4DCD-B688-A7DA9CAB74E0}" type="presParOf" srcId="{1AC8D72E-CC55-4DC4-97B7-2619AA13DE0E}" destId="{1A898742-7239-4400-9E82-CE691DF6166D}" srcOrd="1" destOrd="0" presId="urn:microsoft.com/office/officeart/2005/8/layout/default"/>
    <dgm:cxn modelId="{BD6E16B2-844C-4473-9FFA-5454DEBFEDAC}" type="presParOf" srcId="{1AC8D72E-CC55-4DC4-97B7-2619AA13DE0E}" destId="{2B1B9849-50D0-42A0-A400-0A697BECEF49}" srcOrd="2" destOrd="0" presId="urn:microsoft.com/office/officeart/2005/8/layout/default"/>
    <dgm:cxn modelId="{F345661D-1DCF-4522-BD7B-FF33EDE2C56B}" type="presParOf" srcId="{1AC8D72E-CC55-4DC4-97B7-2619AA13DE0E}" destId="{31BEE4B0-CDBF-4E04-BD4E-643AB0ED729A}" srcOrd="3" destOrd="0" presId="urn:microsoft.com/office/officeart/2005/8/layout/default"/>
    <dgm:cxn modelId="{D5DA850B-471D-4A67-9A02-EE7A195BFB16}" type="presParOf" srcId="{1AC8D72E-CC55-4DC4-97B7-2619AA13DE0E}" destId="{1764A4B8-DEE4-46A0-8EF4-32CE1803BC85}" srcOrd="4" destOrd="0" presId="urn:microsoft.com/office/officeart/2005/8/layout/default"/>
    <dgm:cxn modelId="{48F2CA53-AA9E-42B4-8638-45420DE5825A}" type="presParOf" srcId="{1AC8D72E-CC55-4DC4-97B7-2619AA13DE0E}" destId="{A1C1E809-1071-41F8-B437-3E2EE21AC8CB}" srcOrd="5" destOrd="0" presId="urn:microsoft.com/office/officeart/2005/8/layout/default"/>
    <dgm:cxn modelId="{D04CF144-ABC8-4F8E-B8EF-E1FD098383AF}" type="presParOf" srcId="{1AC8D72E-CC55-4DC4-97B7-2619AA13DE0E}" destId="{43D6C1C4-4770-4495-964F-69DB1896F2A8}" srcOrd="6" destOrd="0" presId="urn:microsoft.com/office/officeart/2005/8/layout/default"/>
    <dgm:cxn modelId="{198C182A-E664-41FF-AA3A-A2375E1992EA}" type="presParOf" srcId="{1AC8D72E-CC55-4DC4-97B7-2619AA13DE0E}" destId="{C2F63759-6E72-42EF-8ABC-BBCD7D4C67C0}" srcOrd="7" destOrd="0" presId="urn:microsoft.com/office/officeart/2005/8/layout/default"/>
    <dgm:cxn modelId="{7F735DE9-730E-46D1-9432-497DC6E35E1E}" type="presParOf" srcId="{1AC8D72E-CC55-4DC4-97B7-2619AA13DE0E}" destId="{4CCE7443-9A59-475B-A0DC-6F96832BAC0D}"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Name the two unrestricted admin accounts for Azure SQL Database?</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3BACBB7A-E11F-4C9E-9E61-528FCFECBB13}">
      <dgm:prSet/>
      <dgm:spPr/>
      <dgm:t>
        <a:bodyPr/>
        <a:lstStyle/>
        <a:p>
          <a:pPr>
            <a:buFont typeface="Arial" panose="020B0604020202020204" pitchFamily="34" charset="0"/>
            <a:buChar char="•"/>
          </a:pPr>
          <a:r>
            <a:rPr lang="en-US">
              <a:solidFill>
                <a:srgbClr val="FFFFFF"/>
              </a:solidFill>
            </a:rPr>
            <a:t>Name the Additional server-level administrative roles  for Azure SQL Database</a:t>
          </a:r>
          <a:r>
            <a:rPr kumimoji="0" lang="en-US" b="0" i="0" u="none" strike="noStrike" cap="none" spc="0" normalizeH="0" baseline="0" noProof="0">
              <a:ln>
                <a:noFill/>
              </a:ln>
              <a:solidFill>
                <a:srgbClr val="FFFFFF"/>
              </a:solidFill>
              <a:effectLst/>
              <a:uLnTx/>
              <a:uFillTx/>
              <a:latin typeface="Segoe UI"/>
              <a:ea typeface="+mn-ea"/>
              <a:cs typeface="+mn-cs"/>
            </a:rPr>
            <a:t>?</a:t>
          </a:r>
          <a:endParaRPr lang="en-US"/>
        </a:p>
      </dgm:t>
    </dgm:pt>
    <dgm:pt modelId="{6EF36777-B5AC-4280-975A-9167338C6139}" type="parTrans" cxnId="{0A829565-052C-4F6E-B840-660306AB1CFE}">
      <dgm:prSet/>
      <dgm:spPr/>
      <dgm:t>
        <a:bodyPr/>
        <a:lstStyle/>
        <a:p>
          <a:endParaRPr lang="en-US"/>
        </a:p>
      </dgm:t>
    </dgm:pt>
    <dgm:pt modelId="{725858C7-D712-4A5D-B11D-DF97FD6EF4D0}" type="sibTrans" cxnId="{0A829565-052C-4F6E-B840-660306AB1CFE}">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E06D5830-035B-4961-97F3-6242336A016E}" type="pres">
      <dgm:prSet presAssocID="{CAE4D9F8-FDBB-4525-9125-6BAF56328FCE}" presName="spacer" presStyleCnt="0"/>
      <dgm:spPr/>
    </dgm:pt>
    <dgm:pt modelId="{B889FB42-7C23-491E-986A-E89C2508091B}" type="pres">
      <dgm:prSet presAssocID="{3BACBB7A-E11F-4C9E-9E61-528FCFECBB13}"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0A829565-052C-4F6E-B840-660306AB1CFE}" srcId="{15A7774C-B622-4F48-8F7B-AF1AAB74E997}" destId="{3BACBB7A-E11F-4C9E-9E61-528FCFECBB13}" srcOrd="1" destOrd="0" parTransId="{6EF36777-B5AC-4280-975A-9167338C6139}" sibTransId="{725858C7-D712-4A5D-B11D-DF97FD6EF4D0}"/>
    <dgm:cxn modelId="{D409EF48-FAF9-4104-83FF-9FF5EB560FDE}" type="presOf" srcId="{3BACBB7A-E11F-4C9E-9E61-528FCFECBB13}" destId="{B889FB42-7C23-491E-986A-E89C2508091B}"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66A60CBD-C130-4586-BE71-F01ED839768C}" type="presParOf" srcId="{97400BD5-14CE-4761-8A6A-64BC46D23158}" destId="{E06D5830-035B-4961-97F3-6242336A016E}" srcOrd="1" destOrd="0" presId="urn:microsoft.com/office/officeart/2005/8/layout/vList2"/>
    <dgm:cxn modelId="{354499EF-3AED-4648-A08F-87FA95ECF46E}" type="presParOf" srcId="{97400BD5-14CE-4761-8A6A-64BC46D23158}" destId="{B889FB42-7C23-491E-986A-E89C2508091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A223468-5F75-4212-B709-773415B7794C}"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EC9D4FE4-EFE2-4B30-AC08-23F3AD1D6E70}">
      <dgm:prSet/>
      <dgm:spPr/>
      <dgm:t>
        <a:bodyPr/>
        <a:lstStyle/>
        <a:p>
          <a:r>
            <a:rPr lang="en-US" baseline="0"/>
            <a:t>Initially, all access to your Azure SQL Database server is blocked by the firewall.</a:t>
          </a:r>
          <a:endParaRPr lang="en-US"/>
        </a:p>
      </dgm:t>
    </dgm:pt>
    <dgm:pt modelId="{DACB29CF-73A0-406F-BBA0-E05F44DC580D}" type="parTrans" cxnId="{DA077ADD-D785-4D20-9C4C-7391B1AC329A}">
      <dgm:prSet/>
      <dgm:spPr/>
      <dgm:t>
        <a:bodyPr/>
        <a:lstStyle/>
        <a:p>
          <a:endParaRPr lang="en-US"/>
        </a:p>
      </dgm:t>
    </dgm:pt>
    <dgm:pt modelId="{7A5C7371-669A-42CA-9F39-22B6D18281AC}" type="sibTrans" cxnId="{DA077ADD-D785-4D20-9C4C-7391B1AC329A}">
      <dgm:prSet/>
      <dgm:spPr/>
      <dgm:t>
        <a:bodyPr/>
        <a:lstStyle/>
        <a:p>
          <a:endParaRPr lang="en-US"/>
        </a:p>
      </dgm:t>
    </dgm:pt>
    <dgm:pt modelId="{9687D04C-7CEB-46A3-8391-E5610543C469}">
      <dgm:prSet/>
      <dgm:spPr/>
      <dgm:t>
        <a:bodyPr/>
        <a:lstStyle/>
        <a:p>
          <a:r>
            <a:rPr lang="en-US" baseline="0"/>
            <a:t>In order to begin using your Azure SQL Database server, you must go to the Management Portal.</a:t>
          </a:r>
          <a:endParaRPr lang="en-US"/>
        </a:p>
      </dgm:t>
    </dgm:pt>
    <dgm:pt modelId="{3B165C96-D59B-4B16-92AC-8633C51E12F2}" type="parTrans" cxnId="{900DAC19-ABC4-49AA-8B57-D9BC6CDE71DE}">
      <dgm:prSet/>
      <dgm:spPr/>
      <dgm:t>
        <a:bodyPr/>
        <a:lstStyle/>
        <a:p>
          <a:endParaRPr lang="en-US"/>
        </a:p>
      </dgm:t>
    </dgm:pt>
    <dgm:pt modelId="{6FDFEFB7-2500-481E-8026-97BC5718F169}" type="sibTrans" cxnId="{900DAC19-ABC4-49AA-8B57-D9BC6CDE71DE}">
      <dgm:prSet/>
      <dgm:spPr/>
      <dgm:t>
        <a:bodyPr/>
        <a:lstStyle/>
        <a:p>
          <a:endParaRPr lang="en-US"/>
        </a:p>
      </dgm:t>
    </dgm:pt>
    <dgm:pt modelId="{FA5BCFE6-BC50-4845-8871-54118FB27596}">
      <dgm:prSet/>
      <dgm:spPr/>
      <dgm:t>
        <a:bodyPr/>
        <a:lstStyle/>
        <a:p>
          <a:r>
            <a:rPr lang="en-US" baseline="0"/>
            <a:t>Server-level firewall rules enable clients to access all the databases within the same logical server.</a:t>
          </a:r>
          <a:endParaRPr lang="en-US"/>
        </a:p>
      </dgm:t>
    </dgm:pt>
    <dgm:pt modelId="{C4E6E186-1B03-43F1-8F27-814E9CA125FC}" type="parTrans" cxnId="{A8593ED2-9529-4317-82B6-BF86F3FF20E4}">
      <dgm:prSet/>
      <dgm:spPr/>
      <dgm:t>
        <a:bodyPr/>
        <a:lstStyle/>
        <a:p>
          <a:endParaRPr lang="en-US"/>
        </a:p>
      </dgm:t>
    </dgm:pt>
    <dgm:pt modelId="{7DAFAE47-6253-46F6-8C68-89300ABE31FB}" type="sibTrans" cxnId="{A8593ED2-9529-4317-82B6-BF86F3FF20E4}">
      <dgm:prSet/>
      <dgm:spPr/>
      <dgm:t>
        <a:bodyPr/>
        <a:lstStyle/>
        <a:p>
          <a:endParaRPr lang="en-US"/>
        </a:p>
      </dgm:t>
    </dgm:pt>
    <dgm:pt modelId="{A4193BA6-241F-45CE-9DDB-74559D9AC5DA}">
      <dgm:prSet/>
      <dgm:spPr/>
      <dgm:t>
        <a:bodyPr/>
        <a:lstStyle/>
        <a:p>
          <a:r>
            <a:rPr lang="en-US" baseline="0" dirty="0"/>
            <a:t>Database-level firewall rules enable clients to access certain databases within the same logical server.</a:t>
          </a:r>
          <a:endParaRPr lang="en-US" dirty="0"/>
        </a:p>
      </dgm:t>
    </dgm:pt>
    <dgm:pt modelId="{8EF552EF-9154-4468-B274-2F9412C3868D}" type="parTrans" cxnId="{B5E75F26-05BE-4DDD-981D-9FF36C5880BB}">
      <dgm:prSet/>
      <dgm:spPr/>
      <dgm:t>
        <a:bodyPr/>
        <a:lstStyle/>
        <a:p>
          <a:endParaRPr lang="en-US"/>
        </a:p>
      </dgm:t>
    </dgm:pt>
    <dgm:pt modelId="{B957DE59-6F33-4635-A684-A97E1A1CD7B1}" type="sibTrans" cxnId="{B5E75F26-05BE-4DDD-981D-9FF36C5880BB}">
      <dgm:prSet/>
      <dgm:spPr/>
      <dgm:t>
        <a:bodyPr/>
        <a:lstStyle/>
        <a:p>
          <a:endParaRPr lang="en-US"/>
        </a:p>
      </dgm:t>
    </dgm:pt>
    <dgm:pt modelId="{55B3AB94-33AE-4379-98C1-AE5F526F91B2}">
      <dgm:prSet/>
      <dgm:spPr/>
      <dgm:t>
        <a:bodyPr/>
        <a:lstStyle/>
        <a:p>
          <a:r>
            <a:rPr lang="en-US" baseline="0"/>
            <a:t>Database-level firewall rules for master and user databases can only be created and managed by using Transact-SQL statements and only after you have configured the first server-level firewall.</a:t>
          </a:r>
          <a:endParaRPr lang="en-US"/>
        </a:p>
      </dgm:t>
    </dgm:pt>
    <dgm:pt modelId="{BF8EA614-58B3-414A-9839-705FF658212A}" type="parTrans" cxnId="{58243AE5-F9BF-4677-A85D-E616EA1549E0}">
      <dgm:prSet/>
      <dgm:spPr/>
      <dgm:t>
        <a:bodyPr/>
        <a:lstStyle/>
        <a:p>
          <a:endParaRPr lang="en-US"/>
        </a:p>
      </dgm:t>
    </dgm:pt>
    <dgm:pt modelId="{39196A7B-D393-4B46-8271-DE52FA957ACB}" type="sibTrans" cxnId="{58243AE5-F9BF-4677-A85D-E616EA1549E0}">
      <dgm:prSet/>
      <dgm:spPr/>
      <dgm:t>
        <a:bodyPr/>
        <a:lstStyle/>
        <a:p>
          <a:endParaRPr lang="en-US"/>
        </a:p>
      </dgm:t>
    </dgm:pt>
    <dgm:pt modelId="{B66D9EC9-605B-41D4-8110-C16E050B59D4}">
      <dgm:prSet/>
      <dgm:spPr/>
      <dgm:t>
        <a:bodyPr/>
        <a:lstStyle/>
        <a:p>
          <a:r>
            <a:rPr lang="en-US" baseline="0"/>
            <a:t>Microsoft recommends using database-level firewall rules whenever possible to enhance security and to make your database more portable.</a:t>
          </a:r>
          <a:endParaRPr lang="en-US"/>
        </a:p>
      </dgm:t>
    </dgm:pt>
    <dgm:pt modelId="{AA4C02CE-1914-48B1-9FC1-E3D04C290F13}" type="parTrans" cxnId="{AA9454FA-A11B-43D9-B4D0-FF5CDBF4065B}">
      <dgm:prSet/>
      <dgm:spPr/>
      <dgm:t>
        <a:bodyPr/>
        <a:lstStyle/>
        <a:p>
          <a:endParaRPr lang="en-US"/>
        </a:p>
      </dgm:t>
    </dgm:pt>
    <dgm:pt modelId="{23663663-EFE4-4A6F-B07E-A46098267B95}" type="sibTrans" cxnId="{AA9454FA-A11B-43D9-B4D0-FF5CDBF4065B}">
      <dgm:prSet/>
      <dgm:spPr/>
      <dgm:t>
        <a:bodyPr/>
        <a:lstStyle/>
        <a:p>
          <a:endParaRPr lang="en-US"/>
        </a:p>
      </dgm:t>
    </dgm:pt>
    <dgm:pt modelId="{744E44C2-83F7-4922-B075-483354069CA0}" type="pres">
      <dgm:prSet presAssocID="{AA223468-5F75-4212-B709-773415B7794C}" presName="diagram" presStyleCnt="0">
        <dgm:presLayoutVars>
          <dgm:dir/>
          <dgm:resizeHandles val="exact"/>
        </dgm:presLayoutVars>
      </dgm:prSet>
      <dgm:spPr/>
    </dgm:pt>
    <dgm:pt modelId="{56D0D622-A467-4EB6-92F0-16107CBB7BED}" type="pres">
      <dgm:prSet presAssocID="{EC9D4FE4-EFE2-4B30-AC08-23F3AD1D6E70}" presName="node" presStyleLbl="node1" presStyleIdx="0" presStyleCnt="6">
        <dgm:presLayoutVars>
          <dgm:bulletEnabled val="1"/>
        </dgm:presLayoutVars>
      </dgm:prSet>
      <dgm:spPr/>
    </dgm:pt>
    <dgm:pt modelId="{763D8C75-D0FA-43DC-B0E3-00AD62E452A4}" type="pres">
      <dgm:prSet presAssocID="{7A5C7371-669A-42CA-9F39-22B6D18281AC}" presName="sibTrans" presStyleCnt="0"/>
      <dgm:spPr/>
    </dgm:pt>
    <dgm:pt modelId="{A2348A58-8D06-4FB8-A27A-8863BC6862A8}" type="pres">
      <dgm:prSet presAssocID="{9687D04C-7CEB-46A3-8391-E5610543C469}" presName="node" presStyleLbl="node1" presStyleIdx="1" presStyleCnt="6">
        <dgm:presLayoutVars>
          <dgm:bulletEnabled val="1"/>
        </dgm:presLayoutVars>
      </dgm:prSet>
      <dgm:spPr/>
    </dgm:pt>
    <dgm:pt modelId="{BED6B7EA-BD48-4834-B2D2-6CF16A569D3B}" type="pres">
      <dgm:prSet presAssocID="{6FDFEFB7-2500-481E-8026-97BC5718F169}" presName="sibTrans" presStyleCnt="0"/>
      <dgm:spPr/>
    </dgm:pt>
    <dgm:pt modelId="{48D308E4-FC32-4174-94AD-F95EAA7F513C}" type="pres">
      <dgm:prSet presAssocID="{FA5BCFE6-BC50-4845-8871-54118FB27596}" presName="node" presStyleLbl="node1" presStyleIdx="2" presStyleCnt="6">
        <dgm:presLayoutVars>
          <dgm:bulletEnabled val="1"/>
        </dgm:presLayoutVars>
      </dgm:prSet>
      <dgm:spPr/>
    </dgm:pt>
    <dgm:pt modelId="{98709087-063C-44A6-8601-AF8A2254263C}" type="pres">
      <dgm:prSet presAssocID="{7DAFAE47-6253-46F6-8C68-89300ABE31FB}" presName="sibTrans" presStyleCnt="0"/>
      <dgm:spPr/>
    </dgm:pt>
    <dgm:pt modelId="{F09E9CE2-E867-46F5-A5F9-1971BE3BD4D7}" type="pres">
      <dgm:prSet presAssocID="{A4193BA6-241F-45CE-9DDB-74559D9AC5DA}" presName="node" presStyleLbl="node1" presStyleIdx="3" presStyleCnt="6">
        <dgm:presLayoutVars>
          <dgm:bulletEnabled val="1"/>
        </dgm:presLayoutVars>
      </dgm:prSet>
      <dgm:spPr/>
    </dgm:pt>
    <dgm:pt modelId="{2691CCD3-C334-42E5-A4DA-FF98B1A41823}" type="pres">
      <dgm:prSet presAssocID="{B957DE59-6F33-4635-A684-A97E1A1CD7B1}" presName="sibTrans" presStyleCnt="0"/>
      <dgm:spPr/>
    </dgm:pt>
    <dgm:pt modelId="{A9A20D5B-47A2-4A27-9ADF-2B1A73B365FD}" type="pres">
      <dgm:prSet presAssocID="{55B3AB94-33AE-4379-98C1-AE5F526F91B2}" presName="node" presStyleLbl="node1" presStyleIdx="4" presStyleCnt="6">
        <dgm:presLayoutVars>
          <dgm:bulletEnabled val="1"/>
        </dgm:presLayoutVars>
      </dgm:prSet>
      <dgm:spPr/>
    </dgm:pt>
    <dgm:pt modelId="{68474E39-E854-4144-869D-59F9B7117AB1}" type="pres">
      <dgm:prSet presAssocID="{39196A7B-D393-4B46-8271-DE52FA957ACB}" presName="sibTrans" presStyleCnt="0"/>
      <dgm:spPr/>
    </dgm:pt>
    <dgm:pt modelId="{F53E485D-3018-49B5-ACB5-6592DAB705AB}" type="pres">
      <dgm:prSet presAssocID="{B66D9EC9-605B-41D4-8110-C16E050B59D4}" presName="node" presStyleLbl="node1" presStyleIdx="5" presStyleCnt="6">
        <dgm:presLayoutVars>
          <dgm:bulletEnabled val="1"/>
        </dgm:presLayoutVars>
      </dgm:prSet>
      <dgm:spPr/>
    </dgm:pt>
  </dgm:ptLst>
  <dgm:cxnLst>
    <dgm:cxn modelId="{0BD82317-CDA4-46FE-9240-B8484E5BF567}" type="presOf" srcId="{9687D04C-7CEB-46A3-8391-E5610543C469}" destId="{A2348A58-8D06-4FB8-A27A-8863BC6862A8}" srcOrd="0" destOrd="0" presId="urn:microsoft.com/office/officeart/2005/8/layout/default"/>
    <dgm:cxn modelId="{900DAC19-ABC4-49AA-8B57-D9BC6CDE71DE}" srcId="{AA223468-5F75-4212-B709-773415B7794C}" destId="{9687D04C-7CEB-46A3-8391-E5610543C469}" srcOrd="1" destOrd="0" parTransId="{3B165C96-D59B-4B16-92AC-8633C51E12F2}" sibTransId="{6FDFEFB7-2500-481E-8026-97BC5718F169}"/>
    <dgm:cxn modelId="{B5E75F26-05BE-4DDD-981D-9FF36C5880BB}" srcId="{AA223468-5F75-4212-B709-773415B7794C}" destId="{A4193BA6-241F-45CE-9DDB-74559D9AC5DA}" srcOrd="3" destOrd="0" parTransId="{8EF552EF-9154-4468-B274-2F9412C3868D}" sibTransId="{B957DE59-6F33-4635-A684-A97E1A1CD7B1}"/>
    <dgm:cxn modelId="{DB314456-24B5-4E42-BBB5-D0557509FA51}" type="presOf" srcId="{55B3AB94-33AE-4379-98C1-AE5F526F91B2}" destId="{A9A20D5B-47A2-4A27-9ADF-2B1A73B365FD}" srcOrd="0" destOrd="0" presId="urn:microsoft.com/office/officeart/2005/8/layout/default"/>
    <dgm:cxn modelId="{B3B1CE76-18F5-43A7-944B-8DC084634370}" type="presOf" srcId="{EC9D4FE4-EFE2-4B30-AC08-23F3AD1D6E70}" destId="{56D0D622-A467-4EB6-92F0-16107CBB7BED}" srcOrd="0" destOrd="0" presId="urn:microsoft.com/office/officeart/2005/8/layout/default"/>
    <dgm:cxn modelId="{6286D482-3C30-4882-98C4-593454328A8B}" type="presOf" srcId="{AA223468-5F75-4212-B709-773415B7794C}" destId="{744E44C2-83F7-4922-B075-483354069CA0}" srcOrd="0" destOrd="0" presId="urn:microsoft.com/office/officeart/2005/8/layout/default"/>
    <dgm:cxn modelId="{4F98E885-8007-46E0-AA83-492C665464A6}" type="presOf" srcId="{FA5BCFE6-BC50-4845-8871-54118FB27596}" destId="{48D308E4-FC32-4174-94AD-F95EAA7F513C}" srcOrd="0" destOrd="0" presId="urn:microsoft.com/office/officeart/2005/8/layout/default"/>
    <dgm:cxn modelId="{DEA1DBA0-7F2C-45DE-AE8D-C44D5327186E}" type="presOf" srcId="{B66D9EC9-605B-41D4-8110-C16E050B59D4}" destId="{F53E485D-3018-49B5-ACB5-6592DAB705AB}" srcOrd="0" destOrd="0" presId="urn:microsoft.com/office/officeart/2005/8/layout/default"/>
    <dgm:cxn modelId="{A8593ED2-9529-4317-82B6-BF86F3FF20E4}" srcId="{AA223468-5F75-4212-B709-773415B7794C}" destId="{FA5BCFE6-BC50-4845-8871-54118FB27596}" srcOrd="2" destOrd="0" parTransId="{C4E6E186-1B03-43F1-8F27-814E9CA125FC}" sibTransId="{7DAFAE47-6253-46F6-8C68-89300ABE31FB}"/>
    <dgm:cxn modelId="{DA077ADD-D785-4D20-9C4C-7391B1AC329A}" srcId="{AA223468-5F75-4212-B709-773415B7794C}" destId="{EC9D4FE4-EFE2-4B30-AC08-23F3AD1D6E70}" srcOrd="0" destOrd="0" parTransId="{DACB29CF-73A0-406F-BBA0-E05F44DC580D}" sibTransId="{7A5C7371-669A-42CA-9F39-22B6D18281AC}"/>
    <dgm:cxn modelId="{58243AE5-F9BF-4677-A85D-E616EA1549E0}" srcId="{AA223468-5F75-4212-B709-773415B7794C}" destId="{55B3AB94-33AE-4379-98C1-AE5F526F91B2}" srcOrd="4" destOrd="0" parTransId="{BF8EA614-58B3-414A-9839-705FF658212A}" sibTransId="{39196A7B-D393-4B46-8271-DE52FA957ACB}"/>
    <dgm:cxn modelId="{31304BFA-660D-43EB-84D2-15990E19870E}" type="presOf" srcId="{A4193BA6-241F-45CE-9DDB-74559D9AC5DA}" destId="{F09E9CE2-E867-46F5-A5F9-1971BE3BD4D7}" srcOrd="0" destOrd="0" presId="urn:microsoft.com/office/officeart/2005/8/layout/default"/>
    <dgm:cxn modelId="{AA9454FA-A11B-43D9-B4D0-FF5CDBF4065B}" srcId="{AA223468-5F75-4212-B709-773415B7794C}" destId="{B66D9EC9-605B-41D4-8110-C16E050B59D4}" srcOrd="5" destOrd="0" parTransId="{AA4C02CE-1914-48B1-9FC1-E3D04C290F13}" sibTransId="{23663663-EFE4-4A6F-B07E-A46098267B95}"/>
    <dgm:cxn modelId="{688D6F78-FFED-473D-A5EE-90A937E9C922}" type="presParOf" srcId="{744E44C2-83F7-4922-B075-483354069CA0}" destId="{56D0D622-A467-4EB6-92F0-16107CBB7BED}" srcOrd="0" destOrd="0" presId="urn:microsoft.com/office/officeart/2005/8/layout/default"/>
    <dgm:cxn modelId="{414B7A19-B62C-45E9-9400-015DFB154F5C}" type="presParOf" srcId="{744E44C2-83F7-4922-B075-483354069CA0}" destId="{763D8C75-D0FA-43DC-B0E3-00AD62E452A4}" srcOrd="1" destOrd="0" presId="urn:microsoft.com/office/officeart/2005/8/layout/default"/>
    <dgm:cxn modelId="{0B5D734F-440A-4FCD-804D-F68C2541D464}" type="presParOf" srcId="{744E44C2-83F7-4922-B075-483354069CA0}" destId="{A2348A58-8D06-4FB8-A27A-8863BC6862A8}" srcOrd="2" destOrd="0" presId="urn:microsoft.com/office/officeart/2005/8/layout/default"/>
    <dgm:cxn modelId="{8B5FB18C-6318-45BC-AC89-8075CB8778D5}" type="presParOf" srcId="{744E44C2-83F7-4922-B075-483354069CA0}" destId="{BED6B7EA-BD48-4834-B2D2-6CF16A569D3B}" srcOrd="3" destOrd="0" presId="urn:microsoft.com/office/officeart/2005/8/layout/default"/>
    <dgm:cxn modelId="{34CC2C14-7F3F-420D-BAF1-5EAABE016B9D}" type="presParOf" srcId="{744E44C2-83F7-4922-B075-483354069CA0}" destId="{48D308E4-FC32-4174-94AD-F95EAA7F513C}" srcOrd="4" destOrd="0" presId="urn:microsoft.com/office/officeart/2005/8/layout/default"/>
    <dgm:cxn modelId="{D0AD3C17-ACF0-4FE1-9DAD-984C587784EB}" type="presParOf" srcId="{744E44C2-83F7-4922-B075-483354069CA0}" destId="{98709087-063C-44A6-8601-AF8A2254263C}" srcOrd="5" destOrd="0" presId="urn:microsoft.com/office/officeart/2005/8/layout/default"/>
    <dgm:cxn modelId="{37719E3E-EFD2-4B1F-953F-947C7ABB46A5}" type="presParOf" srcId="{744E44C2-83F7-4922-B075-483354069CA0}" destId="{F09E9CE2-E867-46F5-A5F9-1971BE3BD4D7}" srcOrd="6" destOrd="0" presId="urn:microsoft.com/office/officeart/2005/8/layout/default"/>
    <dgm:cxn modelId="{AE168497-4AA7-4DA3-97DE-46FCA2F3964B}" type="presParOf" srcId="{744E44C2-83F7-4922-B075-483354069CA0}" destId="{2691CCD3-C334-42E5-A4DA-FF98B1A41823}" srcOrd="7" destOrd="0" presId="urn:microsoft.com/office/officeart/2005/8/layout/default"/>
    <dgm:cxn modelId="{53ADD841-44CB-4002-AA01-1A9E8D06D35A}" type="presParOf" srcId="{744E44C2-83F7-4922-B075-483354069CA0}" destId="{A9A20D5B-47A2-4A27-9ADF-2B1A73B365FD}" srcOrd="8" destOrd="0" presId="urn:microsoft.com/office/officeart/2005/8/layout/default"/>
    <dgm:cxn modelId="{6BCBE3F8-BFEB-4E80-A2CD-FD006A0E6329}" type="presParOf" srcId="{744E44C2-83F7-4922-B075-483354069CA0}" destId="{68474E39-E854-4144-869D-59F9B7117AB1}" srcOrd="9" destOrd="0" presId="urn:microsoft.com/office/officeart/2005/8/layout/default"/>
    <dgm:cxn modelId="{640059C6-5390-4922-A7EC-F7D04D5AC61E}" type="presParOf" srcId="{744E44C2-83F7-4922-B075-483354069CA0}" destId="{F53E485D-3018-49B5-ACB5-6592DAB705AB}"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2137101-A7C4-4B35-8B46-78F5FF67B882}" type="doc">
      <dgm:prSet loTypeId="urn:microsoft.com/office/officeart/2005/8/layout/pyramid2" loCatId="pyramid" qsTypeId="urn:microsoft.com/office/officeart/2005/8/quickstyle/simple1" qsCatId="simple" csTypeId="urn:microsoft.com/office/officeart/2005/8/colors/accent1_2" csCatId="accent1"/>
      <dgm:spPr/>
      <dgm:t>
        <a:bodyPr/>
        <a:lstStyle/>
        <a:p>
          <a:endParaRPr lang="en-US"/>
        </a:p>
      </dgm:t>
    </dgm:pt>
    <dgm:pt modelId="{578B7AD3-CFA1-4CD0-BCA9-A06EF2BCB0DA}">
      <dgm:prSet/>
      <dgm:spPr/>
      <dgm:t>
        <a:bodyPr/>
        <a:lstStyle/>
        <a:p>
          <a:r>
            <a:rPr lang="en-US" baseline="0"/>
            <a:t>By default, Azure blocks all external connections to port 1433. </a:t>
          </a:r>
          <a:endParaRPr lang="en-US"/>
        </a:p>
      </dgm:t>
    </dgm:pt>
    <dgm:pt modelId="{FFAF91F7-BFE6-4ED8-89F8-E5EA5BB4CD7F}" type="parTrans" cxnId="{33BEF01A-8F79-40EF-8319-D4BD32EFC2E8}">
      <dgm:prSet/>
      <dgm:spPr/>
      <dgm:t>
        <a:bodyPr/>
        <a:lstStyle/>
        <a:p>
          <a:endParaRPr lang="en-US"/>
        </a:p>
      </dgm:t>
    </dgm:pt>
    <dgm:pt modelId="{6C3E6675-515A-40D0-A5F3-9BF7FC99C235}" type="sibTrans" cxnId="{33BEF01A-8F79-40EF-8319-D4BD32EFC2E8}">
      <dgm:prSet/>
      <dgm:spPr/>
      <dgm:t>
        <a:bodyPr/>
        <a:lstStyle/>
        <a:p>
          <a:endParaRPr lang="en-US"/>
        </a:p>
      </dgm:t>
    </dgm:pt>
    <dgm:pt modelId="{5E4C7E87-25AD-432B-ADC1-2DA017EE8E55}">
      <dgm:prSet/>
      <dgm:spPr/>
      <dgm:t>
        <a:bodyPr/>
        <a:lstStyle/>
        <a:p>
          <a:r>
            <a:rPr lang="en-US" baseline="0"/>
            <a:t>Enable in the following ways in Azure portal:</a:t>
          </a:r>
          <a:endParaRPr lang="en-US"/>
        </a:p>
      </dgm:t>
    </dgm:pt>
    <dgm:pt modelId="{CCBC18D0-B0CA-406D-9CF3-F461316213BE}" type="parTrans" cxnId="{76F2C22B-4F09-49FE-B3D2-B10B1BF764EB}">
      <dgm:prSet/>
      <dgm:spPr/>
      <dgm:t>
        <a:bodyPr/>
        <a:lstStyle/>
        <a:p>
          <a:endParaRPr lang="en-US"/>
        </a:p>
      </dgm:t>
    </dgm:pt>
    <dgm:pt modelId="{7F1B83E5-1745-42E6-B9D2-8171BF1FD0A3}" type="sibTrans" cxnId="{76F2C22B-4F09-49FE-B3D2-B10B1BF764EB}">
      <dgm:prSet/>
      <dgm:spPr/>
      <dgm:t>
        <a:bodyPr/>
        <a:lstStyle/>
        <a:p>
          <a:endParaRPr lang="en-US"/>
        </a:p>
      </dgm:t>
    </dgm:pt>
    <dgm:pt modelId="{0428C1A2-EEF6-4869-AA5A-20530A907156}">
      <dgm:prSet/>
      <dgm:spPr/>
      <dgm:t>
        <a:bodyPr/>
        <a:lstStyle/>
        <a:p>
          <a:r>
            <a:rPr lang="en-US" baseline="0"/>
            <a:t>Security -&gt; Firewall and virtual networks</a:t>
          </a:r>
          <a:endParaRPr lang="en-US"/>
        </a:p>
      </dgm:t>
    </dgm:pt>
    <dgm:pt modelId="{CB955C0C-2142-4AC1-8B3E-CE08F24BDFD9}" type="parTrans" cxnId="{A2A34159-B64B-4284-B4F6-3CBD0AD0F60F}">
      <dgm:prSet/>
      <dgm:spPr/>
      <dgm:t>
        <a:bodyPr/>
        <a:lstStyle/>
        <a:p>
          <a:endParaRPr lang="en-US"/>
        </a:p>
      </dgm:t>
    </dgm:pt>
    <dgm:pt modelId="{B0645098-AB41-4D0D-9713-77BA4A2414F5}" type="sibTrans" cxnId="{A2A34159-B64B-4284-B4F6-3CBD0AD0F60F}">
      <dgm:prSet/>
      <dgm:spPr/>
      <dgm:t>
        <a:bodyPr/>
        <a:lstStyle/>
        <a:p>
          <a:endParaRPr lang="en-US"/>
        </a:p>
      </dgm:t>
    </dgm:pt>
    <dgm:pt modelId="{981853F7-1F42-41F1-B428-B625207C7672}" type="pres">
      <dgm:prSet presAssocID="{22137101-A7C4-4B35-8B46-78F5FF67B882}" presName="compositeShape" presStyleCnt="0">
        <dgm:presLayoutVars>
          <dgm:dir/>
          <dgm:resizeHandles/>
        </dgm:presLayoutVars>
      </dgm:prSet>
      <dgm:spPr/>
    </dgm:pt>
    <dgm:pt modelId="{842F66C9-9C03-4C08-8B85-542F8D69F64A}" type="pres">
      <dgm:prSet presAssocID="{22137101-A7C4-4B35-8B46-78F5FF67B882}" presName="pyramid" presStyleLbl="node1" presStyleIdx="0" presStyleCnt="1"/>
      <dgm:spPr/>
    </dgm:pt>
    <dgm:pt modelId="{8445D4E1-C4DC-434B-AFAE-AEDA550BE604}" type="pres">
      <dgm:prSet presAssocID="{22137101-A7C4-4B35-8B46-78F5FF67B882}" presName="theList" presStyleCnt="0"/>
      <dgm:spPr/>
    </dgm:pt>
    <dgm:pt modelId="{80EC3D6E-3C55-41F7-AD85-FC220D991C86}" type="pres">
      <dgm:prSet presAssocID="{578B7AD3-CFA1-4CD0-BCA9-A06EF2BCB0DA}" presName="aNode" presStyleLbl="fgAcc1" presStyleIdx="0" presStyleCnt="2">
        <dgm:presLayoutVars>
          <dgm:bulletEnabled val="1"/>
        </dgm:presLayoutVars>
      </dgm:prSet>
      <dgm:spPr/>
    </dgm:pt>
    <dgm:pt modelId="{8C8C870A-C8B8-4373-8F3C-5A95246201BF}" type="pres">
      <dgm:prSet presAssocID="{578B7AD3-CFA1-4CD0-BCA9-A06EF2BCB0DA}" presName="aSpace" presStyleCnt="0"/>
      <dgm:spPr/>
    </dgm:pt>
    <dgm:pt modelId="{9FD8DB78-C8CB-41D6-A908-335F35C47DC1}" type="pres">
      <dgm:prSet presAssocID="{5E4C7E87-25AD-432B-ADC1-2DA017EE8E55}" presName="aNode" presStyleLbl="fgAcc1" presStyleIdx="1" presStyleCnt="2">
        <dgm:presLayoutVars>
          <dgm:bulletEnabled val="1"/>
        </dgm:presLayoutVars>
      </dgm:prSet>
      <dgm:spPr/>
    </dgm:pt>
    <dgm:pt modelId="{0605EB38-0AC7-48B9-A7F1-A107EDA49B3A}" type="pres">
      <dgm:prSet presAssocID="{5E4C7E87-25AD-432B-ADC1-2DA017EE8E55}" presName="aSpace" presStyleCnt="0"/>
      <dgm:spPr/>
    </dgm:pt>
  </dgm:ptLst>
  <dgm:cxnLst>
    <dgm:cxn modelId="{33BEF01A-8F79-40EF-8319-D4BD32EFC2E8}" srcId="{22137101-A7C4-4B35-8B46-78F5FF67B882}" destId="{578B7AD3-CFA1-4CD0-BCA9-A06EF2BCB0DA}" srcOrd="0" destOrd="0" parTransId="{FFAF91F7-BFE6-4ED8-89F8-E5EA5BB4CD7F}" sibTransId="{6C3E6675-515A-40D0-A5F3-9BF7FC99C235}"/>
    <dgm:cxn modelId="{76F2C22B-4F09-49FE-B3D2-B10B1BF764EB}" srcId="{22137101-A7C4-4B35-8B46-78F5FF67B882}" destId="{5E4C7E87-25AD-432B-ADC1-2DA017EE8E55}" srcOrd="1" destOrd="0" parTransId="{CCBC18D0-B0CA-406D-9CF3-F461316213BE}" sibTransId="{7F1B83E5-1745-42E6-B9D2-8171BF1FD0A3}"/>
    <dgm:cxn modelId="{B9795460-E17B-4002-9FCC-164032E491C6}" type="presOf" srcId="{22137101-A7C4-4B35-8B46-78F5FF67B882}" destId="{981853F7-1F42-41F1-B428-B625207C7672}" srcOrd="0" destOrd="0" presId="urn:microsoft.com/office/officeart/2005/8/layout/pyramid2"/>
    <dgm:cxn modelId="{EAD04643-4766-451B-AA16-35EF583D49B0}" type="presOf" srcId="{5E4C7E87-25AD-432B-ADC1-2DA017EE8E55}" destId="{9FD8DB78-C8CB-41D6-A908-335F35C47DC1}" srcOrd="0" destOrd="0" presId="urn:microsoft.com/office/officeart/2005/8/layout/pyramid2"/>
    <dgm:cxn modelId="{A2A34159-B64B-4284-B4F6-3CBD0AD0F60F}" srcId="{5E4C7E87-25AD-432B-ADC1-2DA017EE8E55}" destId="{0428C1A2-EEF6-4869-AA5A-20530A907156}" srcOrd="0" destOrd="0" parTransId="{CB955C0C-2142-4AC1-8B3E-CE08F24BDFD9}" sibTransId="{B0645098-AB41-4D0D-9713-77BA4A2414F5}"/>
    <dgm:cxn modelId="{0886467A-F074-492A-9F95-B95C18348DA2}" type="presOf" srcId="{578B7AD3-CFA1-4CD0-BCA9-A06EF2BCB0DA}" destId="{80EC3D6E-3C55-41F7-AD85-FC220D991C86}" srcOrd="0" destOrd="0" presId="urn:microsoft.com/office/officeart/2005/8/layout/pyramid2"/>
    <dgm:cxn modelId="{56B419B7-BEB8-4237-929A-E8ECA3515F2D}" type="presOf" srcId="{0428C1A2-EEF6-4869-AA5A-20530A907156}" destId="{9FD8DB78-C8CB-41D6-A908-335F35C47DC1}" srcOrd="0" destOrd="1" presId="urn:microsoft.com/office/officeart/2005/8/layout/pyramid2"/>
    <dgm:cxn modelId="{4D7333A9-372A-4BC7-81A7-C355C33B3855}" type="presParOf" srcId="{981853F7-1F42-41F1-B428-B625207C7672}" destId="{842F66C9-9C03-4C08-8B85-542F8D69F64A}" srcOrd="0" destOrd="0" presId="urn:microsoft.com/office/officeart/2005/8/layout/pyramid2"/>
    <dgm:cxn modelId="{FECD1672-F295-4279-8361-0EACD13E00C4}" type="presParOf" srcId="{981853F7-1F42-41F1-B428-B625207C7672}" destId="{8445D4E1-C4DC-434B-AFAE-AEDA550BE604}" srcOrd="1" destOrd="0" presId="urn:microsoft.com/office/officeart/2005/8/layout/pyramid2"/>
    <dgm:cxn modelId="{C8075313-FDFE-40D3-9E2F-9011D2D23AC9}" type="presParOf" srcId="{8445D4E1-C4DC-434B-AFAE-AEDA550BE604}" destId="{80EC3D6E-3C55-41F7-AD85-FC220D991C86}" srcOrd="0" destOrd="0" presId="urn:microsoft.com/office/officeart/2005/8/layout/pyramid2"/>
    <dgm:cxn modelId="{D92A56A4-DFFE-441A-8B14-12CD05FD98B5}" type="presParOf" srcId="{8445D4E1-C4DC-434B-AFAE-AEDA550BE604}" destId="{8C8C870A-C8B8-4373-8F3C-5A95246201BF}" srcOrd="1" destOrd="0" presId="urn:microsoft.com/office/officeart/2005/8/layout/pyramid2"/>
    <dgm:cxn modelId="{7C691941-9A1B-4375-A109-ED3723022ABC}" type="presParOf" srcId="{8445D4E1-C4DC-434B-AFAE-AEDA550BE604}" destId="{9FD8DB78-C8CB-41D6-A908-335F35C47DC1}" srcOrd="2" destOrd="0" presId="urn:microsoft.com/office/officeart/2005/8/layout/pyramid2"/>
    <dgm:cxn modelId="{8D644CAC-F1A7-4123-8D71-EA543290D38D}" type="presParOf" srcId="{8445D4E1-C4DC-434B-AFAE-AEDA550BE604}" destId="{0605EB38-0AC7-48B9-A7F1-A107EDA49B3A}" srcOrd="3" destOrd="0" presId="urn:microsoft.com/office/officeart/2005/8/layout/pyramid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68D21BB-B1D1-4BAC-A2AA-EC5DEE579F6F}"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45618F65-346E-4BF9-92F5-D2A4F4BF91C0}">
      <dgm:prSet/>
      <dgm:spPr/>
      <dgm:t>
        <a:bodyPr/>
        <a:lstStyle/>
        <a:p>
          <a:r>
            <a:rPr lang="en-US" baseline="0"/>
            <a:t>Manage SQL Database firewall rules using code</a:t>
          </a:r>
          <a:endParaRPr lang="en-US"/>
        </a:p>
      </dgm:t>
    </dgm:pt>
    <dgm:pt modelId="{8A8A974F-55B2-4779-9E62-1E87DC299A97}" type="parTrans" cxnId="{ACB5D556-EE88-4130-B510-142345441EF7}">
      <dgm:prSet/>
      <dgm:spPr/>
      <dgm:t>
        <a:bodyPr/>
        <a:lstStyle/>
        <a:p>
          <a:endParaRPr lang="en-US"/>
        </a:p>
      </dgm:t>
    </dgm:pt>
    <dgm:pt modelId="{D9CB4234-8C47-48E7-A620-189B016E51B6}" type="sibTrans" cxnId="{ACB5D556-EE88-4130-B510-142345441EF7}">
      <dgm:prSet/>
      <dgm:spPr/>
      <dgm:t>
        <a:bodyPr/>
        <a:lstStyle/>
        <a:p>
          <a:endParaRPr lang="en-US"/>
        </a:p>
      </dgm:t>
    </dgm:pt>
    <dgm:pt modelId="{EEE17489-08A5-486C-A27B-F4A5BE51BEF3}">
      <dgm:prSet/>
      <dgm:spPr/>
      <dgm:t>
        <a:bodyPr/>
        <a:lstStyle/>
        <a:p>
          <a:r>
            <a:rPr lang="en-US" b="1" baseline="0"/>
            <a:t>Windows PowerShell Azure cmdlets</a:t>
          </a:r>
          <a:endParaRPr lang="en-US" b="1"/>
        </a:p>
      </dgm:t>
    </dgm:pt>
    <dgm:pt modelId="{02D23636-0A4A-4601-97FA-24C735FED575}" type="parTrans" cxnId="{D6B3E74D-09C9-42FC-BAC5-4A02FF21274B}">
      <dgm:prSet/>
      <dgm:spPr/>
      <dgm:t>
        <a:bodyPr/>
        <a:lstStyle/>
        <a:p>
          <a:endParaRPr lang="en-US"/>
        </a:p>
      </dgm:t>
    </dgm:pt>
    <dgm:pt modelId="{99A4E3B2-C2A6-434F-B18E-879508E59E7E}" type="sibTrans" cxnId="{D6B3E74D-09C9-42FC-BAC5-4A02FF21274B}">
      <dgm:prSet/>
      <dgm:spPr/>
      <dgm:t>
        <a:bodyPr/>
        <a:lstStyle/>
        <a:p>
          <a:endParaRPr lang="en-US"/>
        </a:p>
      </dgm:t>
    </dgm:pt>
    <dgm:pt modelId="{2E03FD9C-110C-4EA0-ACF9-962F8D1E3173}">
      <dgm:prSet/>
      <dgm:spPr/>
      <dgm:t>
        <a:bodyPr/>
        <a:lstStyle/>
        <a:p>
          <a:r>
            <a:rPr lang="en-US" baseline="0"/>
            <a:t>Get-</a:t>
          </a:r>
          <a:r>
            <a:rPr lang="en-US" baseline="0" err="1"/>
            <a:t>AzSqlServerFirewallRule</a:t>
          </a:r>
          <a:endParaRPr lang="en-US"/>
        </a:p>
      </dgm:t>
    </dgm:pt>
    <dgm:pt modelId="{33CABBF4-3E06-4260-AB3A-AE4AF3D3C3C9}" type="parTrans" cxnId="{5DBD3173-5C7E-40C5-9D9E-4CBA62441B28}">
      <dgm:prSet/>
      <dgm:spPr/>
      <dgm:t>
        <a:bodyPr/>
        <a:lstStyle/>
        <a:p>
          <a:endParaRPr lang="en-US"/>
        </a:p>
      </dgm:t>
    </dgm:pt>
    <dgm:pt modelId="{3E118F6D-8F88-4267-86A4-5679D70722C3}" type="sibTrans" cxnId="{5DBD3173-5C7E-40C5-9D9E-4CBA62441B28}">
      <dgm:prSet/>
      <dgm:spPr/>
      <dgm:t>
        <a:bodyPr/>
        <a:lstStyle/>
        <a:p>
          <a:endParaRPr lang="en-US"/>
        </a:p>
      </dgm:t>
    </dgm:pt>
    <dgm:pt modelId="{05512C9C-13B0-4797-A77D-EF87CA2998EF}">
      <dgm:prSet/>
      <dgm:spPr/>
      <dgm:t>
        <a:bodyPr/>
        <a:lstStyle/>
        <a:p>
          <a:r>
            <a:rPr lang="en-US" baseline="0"/>
            <a:t>New-</a:t>
          </a:r>
          <a:r>
            <a:rPr lang="en-US" baseline="0" err="1"/>
            <a:t>AzSqlServerFirewallRule</a:t>
          </a:r>
          <a:endParaRPr lang="en-US"/>
        </a:p>
      </dgm:t>
    </dgm:pt>
    <dgm:pt modelId="{0E2E195E-BD35-48C3-9FF6-5DDC37EBE35C}" type="parTrans" cxnId="{CD7805F9-8278-4F8E-84E1-E04300464D4E}">
      <dgm:prSet/>
      <dgm:spPr/>
      <dgm:t>
        <a:bodyPr/>
        <a:lstStyle/>
        <a:p>
          <a:endParaRPr lang="en-US"/>
        </a:p>
      </dgm:t>
    </dgm:pt>
    <dgm:pt modelId="{CC389CA0-C817-4750-8B1D-101D43AC237B}" type="sibTrans" cxnId="{CD7805F9-8278-4F8E-84E1-E04300464D4E}">
      <dgm:prSet/>
      <dgm:spPr/>
      <dgm:t>
        <a:bodyPr/>
        <a:lstStyle/>
        <a:p>
          <a:endParaRPr lang="en-US"/>
        </a:p>
      </dgm:t>
    </dgm:pt>
    <dgm:pt modelId="{FA40983E-E798-49F7-9E8E-FB0E25A4F310}">
      <dgm:prSet/>
      <dgm:spPr/>
      <dgm:t>
        <a:bodyPr/>
        <a:lstStyle/>
        <a:p>
          <a:r>
            <a:rPr lang="en-US" baseline="0"/>
            <a:t>Set-AzSqlServerFirewallRule</a:t>
          </a:r>
          <a:endParaRPr lang="en-US"/>
        </a:p>
      </dgm:t>
    </dgm:pt>
    <dgm:pt modelId="{FD83C50D-DF11-4815-80EE-7BFAF45482DD}" type="parTrans" cxnId="{977C86AD-CB52-469B-AE9F-4D9B504C806B}">
      <dgm:prSet/>
      <dgm:spPr/>
      <dgm:t>
        <a:bodyPr/>
        <a:lstStyle/>
        <a:p>
          <a:endParaRPr lang="en-US"/>
        </a:p>
      </dgm:t>
    </dgm:pt>
    <dgm:pt modelId="{48DD9DFB-FDA1-44C3-839C-281CED9DCBE4}" type="sibTrans" cxnId="{977C86AD-CB52-469B-AE9F-4D9B504C806B}">
      <dgm:prSet/>
      <dgm:spPr/>
      <dgm:t>
        <a:bodyPr/>
        <a:lstStyle/>
        <a:p>
          <a:endParaRPr lang="en-US"/>
        </a:p>
      </dgm:t>
    </dgm:pt>
    <dgm:pt modelId="{53110546-3EDC-4452-97F3-CFB6086C7C98}">
      <dgm:prSet/>
      <dgm:spPr/>
      <dgm:t>
        <a:bodyPr/>
        <a:lstStyle/>
        <a:p>
          <a:r>
            <a:rPr lang="en-US" baseline="0"/>
            <a:t>Remove-</a:t>
          </a:r>
          <a:r>
            <a:rPr lang="en-US" baseline="0" err="1"/>
            <a:t>AzSqlServerFirewallRule</a:t>
          </a:r>
          <a:r>
            <a:rPr lang="en-US" baseline="0"/>
            <a:t> </a:t>
          </a:r>
          <a:endParaRPr lang="en-US"/>
        </a:p>
      </dgm:t>
    </dgm:pt>
    <dgm:pt modelId="{0DACB099-CC69-4D2B-8CAD-336957FC7241}" type="parTrans" cxnId="{1F58FC8A-48FD-49FA-8914-5A6892E13114}">
      <dgm:prSet/>
      <dgm:spPr/>
      <dgm:t>
        <a:bodyPr/>
        <a:lstStyle/>
        <a:p>
          <a:endParaRPr lang="en-US"/>
        </a:p>
      </dgm:t>
    </dgm:pt>
    <dgm:pt modelId="{7F45489B-331D-442D-8F64-9C9519A79029}" type="sibTrans" cxnId="{1F58FC8A-48FD-49FA-8914-5A6892E13114}">
      <dgm:prSet/>
      <dgm:spPr/>
      <dgm:t>
        <a:bodyPr/>
        <a:lstStyle/>
        <a:p>
          <a:endParaRPr lang="en-US"/>
        </a:p>
      </dgm:t>
    </dgm:pt>
    <dgm:pt modelId="{19A089AA-4DCB-4712-B597-7E2F3D9B9205}">
      <dgm:prSet/>
      <dgm:spPr/>
      <dgm:t>
        <a:bodyPr/>
        <a:lstStyle/>
        <a:p>
          <a:r>
            <a:rPr lang="en-US" b="1" baseline="0"/>
            <a:t>Transact SQL</a:t>
          </a:r>
          <a:endParaRPr lang="en-US" b="1"/>
        </a:p>
      </dgm:t>
    </dgm:pt>
    <dgm:pt modelId="{83CDA5A5-002A-4562-99CC-BDDDF0015759}" type="parTrans" cxnId="{1884AE21-D5C4-4B28-9235-0ADE443D03ED}">
      <dgm:prSet/>
      <dgm:spPr/>
      <dgm:t>
        <a:bodyPr/>
        <a:lstStyle/>
        <a:p>
          <a:endParaRPr lang="en-US"/>
        </a:p>
      </dgm:t>
    </dgm:pt>
    <dgm:pt modelId="{4B09C85B-E22B-45FC-9972-4200C2E79261}" type="sibTrans" cxnId="{1884AE21-D5C4-4B28-9235-0ADE443D03ED}">
      <dgm:prSet/>
      <dgm:spPr/>
      <dgm:t>
        <a:bodyPr/>
        <a:lstStyle/>
        <a:p>
          <a:endParaRPr lang="en-US"/>
        </a:p>
      </dgm:t>
    </dgm:pt>
    <dgm:pt modelId="{E3370571-9EB5-41E4-8D64-4C775D5FCCCD}">
      <dgm:prSet/>
      <dgm:spPr/>
      <dgm:t>
        <a:bodyPr/>
        <a:lstStyle/>
        <a:p>
          <a:r>
            <a:rPr lang="en-US" baseline="0" err="1"/>
            <a:t>sys.firewall_rules</a:t>
          </a:r>
          <a:endParaRPr lang="en-US"/>
        </a:p>
      </dgm:t>
    </dgm:pt>
    <dgm:pt modelId="{F8521244-6486-4872-9353-0F0626ED88FC}" type="parTrans" cxnId="{38598EA5-A39E-42A7-81C0-A2B226A7A7AD}">
      <dgm:prSet/>
      <dgm:spPr/>
      <dgm:t>
        <a:bodyPr/>
        <a:lstStyle/>
        <a:p>
          <a:endParaRPr lang="en-US"/>
        </a:p>
      </dgm:t>
    </dgm:pt>
    <dgm:pt modelId="{707A7443-F6F0-4D01-B806-E93B2B362929}" type="sibTrans" cxnId="{38598EA5-A39E-42A7-81C0-A2B226A7A7AD}">
      <dgm:prSet/>
      <dgm:spPr/>
      <dgm:t>
        <a:bodyPr/>
        <a:lstStyle/>
        <a:p>
          <a:endParaRPr lang="en-US"/>
        </a:p>
      </dgm:t>
    </dgm:pt>
    <dgm:pt modelId="{C7030156-80D9-43E2-9B85-E1499A2491CE}">
      <dgm:prSet/>
      <dgm:spPr/>
      <dgm:t>
        <a:bodyPr/>
        <a:lstStyle/>
        <a:p>
          <a:r>
            <a:rPr lang="en-US" baseline="0"/>
            <a:t>sp_set_firewall_rule</a:t>
          </a:r>
          <a:endParaRPr lang="en-US"/>
        </a:p>
      </dgm:t>
    </dgm:pt>
    <dgm:pt modelId="{020442A1-047B-40C7-B5F4-49328FF199C0}" type="parTrans" cxnId="{223F2D89-208C-432C-B433-720D2A4F7F48}">
      <dgm:prSet/>
      <dgm:spPr/>
      <dgm:t>
        <a:bodyPr/>
        <a:lstStyle/>
        <a:p>
          <a:endParaRPr lang="en-US"/>
        </a:p>
      </dgm:t>
    </dgm:pt>
    <dgm:pt modelId="{632AA67D-7B65-4531-A599-816F13CEF09C}" type="sibTrans" cxnId="{223F2D89-208C-432C-B433-720D2A4F7F48}">
      <dgm:prSet/>
      <dgm:spPr/>
      <dgm:t>
        <a:bodyPr/>
        <a:lstStyle/>
        <a:p>
          <a:endParaRPr lang="en-US"/>
        </a:p>
      </dgm:t>
    </dgm:pt>
    <dgm:pt modelId="{B7F31379-72A0-4053-A8E4-2A8E75B64300}">
      <dgm:prSet/>
      <dgm:spPr/>
      <dgm:t>
        <a:bodyPr/>
        <a:lstStyle/>
        <a:p>
          <a:r>
            <a:rPr lang="en-US" baseline="0"/>
            <a:t>sp_delete_firewall_rule</a:t>
          </a:r>
          <a:endParaRPr lang="en-US"/>
        </a:p>
      </dgm:t>
    </dgm:pt>
    <dgm:pt modelId="{F1DEC30C-5EB7-43FC-86A1-AAAA0BA8FE09}" type="parTrans" cxnId="{63F173BD-DB76-4323-9E68-BAC3D0E4A6C4}">
      <dgm:prSet/>
      <dgm:spPr/>
      <dgm:t>
        <a:bodyPr/>
        <a:lstStyle/>
        <a:p>
          <a:endParaRPr lang="en-US"/>
        </a:p>
      </dgm:t>
    </dgm:pt>
    <dgm:pt modelId="{4776D92D-E812-4D2C-8FD2-E65C215C1FC6}" type="sibTrans" cxnId="{63F173BD-DB76-4323-9E68-BAC3D0E4A6C4}">
      <dgm:prSet/>
      <dgm:spPr/>
      <dgm:t>
        <a:bodyPr/>
        <a:lstStyle/>
        <a:p>
          <a:endParaRPr lang="en-US"/>
        </a:p>
      </dgm:t>
    </dgm:pt>
    <dgm:pt modelId="{762DB9ED-C101-4455-81A7-2745352A04B7}">
      <dgm:prSet/>
      <dgm:spPr/>
      <dgm:t>
        <a:bodyPr/>
        <a:lstStyle/>
        <a:p>
          <a:r>
            <a:rPr lang="en-US" baseline="0"/>
            <a:t>sys.database_firewall_rules</a:t>
          </a:r>
          <a:endParaRPr lang="en-US"/>
        </a:p>
      </dgm:t>
    </dgm:pt>
    <dgm:pt modelId="{98852061-55D6-4C94-8A4A-C5620CDBEB41}" type="parTrans" cxnId="{5DA60DB3-35AD-468A-9E5D-0FDF31ECE8D7}">
      <dgm:prSet/>
      <dgm:spPr/>
      <dgm:t>
        <a:bodyPr/>
        <a:lstStyle/>
        <a:p>
          <a:endParaRPr lang="en-US"/>
        </a:p>
      </dgm:t>
    </dgm:pt>
    <dgm:pt modelId="{4D2DA63F-4DE8-4A87-9C08-28A9D1EF06F2}" type="sibTrans" cxnId="{5DA60DB3-35AD-468A-9E5D-0FDF31ECE8D7}">
      <dgm:prSet/>
      <dgm:spPr/>
      <dgm:t>
        <a:bodyPr/>
        <a:lstStyle/>
        <a:p>
          <a:endParaRPr lang="en-US"/>
        </a:p>
      </dgm:t>
    </dgm:pt>
    <dgm:pt modelId="{3EA3A94C-F09A-4F6B-BB65-FE3CE3C9DCB6}">
      <dgm:prSet/>
      <dgm:spPr/>
      <dgm:t>
        <a:bodyPr/>
        <a:lstStyle/>
        <a:p>
          <a:r>
            <a:rPr lang="en-US" baseline="0"/>
            <a:t>sp_set_database_firewall_rule</a:t>
          </a:r>
          <a:endParaRPr lang="en-US"/>
        </a:p>
      </dgm:t>
    </dgm:pt>
    <dgm:pt modelId="{9F81FC60-D35F-4691-8EE0-2954D247B1B3}" type="parTrans" cxnId="{9A7E71A4-2755-4986-BE07-2F2E95640856}">
      <dgm:prSet/>
      <dgm:spPr/>
      <dgm:t>
        <a:bodyPr/>
        <a:lstStyle/>
        <a:p>
          <a:endParaRPr lang="en-US"/>
        </a:p>
      </dgm:t>
    </dgm:pt>
    <dgm:pt modelId="{E79D3724-A78B-4B2E-9974-A9D3E14C1B84}" type="sibTrans" cxnId="{9A7E71A4-2755-4986-BE07-2F2E95640856}">
      <dgm:prSet/>
      <dgm:spPr/>
      <dgm:t>
        <a:bodyPr/>
        <a:lstStyle/>
        <a:p>
          <a:endParaRPr lang="en-US"/>
        </a:p>
      </dgm:t>
    </dgm:pt>
    <dgm:pt modelId="{2A52903C-66F3-493C-BAD8-211C30F55B72}">
      <dgm:prSet/>
      <dgm:spPr/>
      <dgm:t>
        <a:bodyPr/>
        <a:lstStyle/>
        <a:p>
          <a:r>
            <a:rPr lang="en-US" baseline="0"/>
            <a:t>sp_delete_database_firewall_rule</a:t>
          </a:r>
          <a:endParaRPr lang="en-US"/>
        </a:p>
      </dgm:t>
    </dgm:pt>
    <dgm:pt modelId="{E8DF449E-6C04-4ECD-B41B-50E531E7E474}" type="parTrans" cxnId="{601EA4D1-7D84-446B-8B6F-0B98B0754D79}">
      <dgm:prSet/>
      <dgm:spPr/>
      <dgm:t>
        <a:bodyPr/>
        <a:lstStyle/>
        <a:p>
          <a:endParaRPr lang="en-US"/>
        </a:p>
      </dgm:t>
    </dgm:pt>
    <dgm:pt modelId="{6A97EC07-02A7-40AE-8551-3E930A308AB5}" type="sibTrans" cxnId="{601EA4D1-7D84-446B-8B6F-0B98B0754D79}">
      <dgm:prSet/>
      <dgm:spPr/>
      <dgm:t>
        <a:bodyPr/>
        <a:lstStyle/>
        <a:p>
          <a:endParaRPr lang="en-US"/>
        </a:p>
      </dgm:t>
    </dgm:pt>
    <dgm:pt modelId="{42AF31B5-C995-4937-9439-C09B1D04CADF}" type="pres">
      <dgm:prSet presAssocID="{268D21BB-B1D1-4BAC-A2AA-EC5DEE579F6F}" presName="Name0" presStyleCnt="0">
        <dgm:presLayoutVars>
          <dgm:dir/>
          <dgm:animLvl val="lvl"/>
          <dgm:resizeHandles val="exact"/>
        </dgm:presLayoutVars>
      </dgm:prSet>
      <dgm:spPr/>
    </dgm:pt>
    <dgm:pt modelId="{A1117AE3-F3B1-407C-A99B-68573D2590B2}" type="pres">
      <dgm:prSet presAssocID="{45618F65-346E-4BF9-92F5-D2A4F4BF91C0}" presName="composite" presStyleCnt="0"/>
      <dgm:spPr/>
    </dgm:pt>
    <dgm:pt modelId="{AF16DD1E-81AF-4811-AD7E-6848FE73CF50}" type="pres">
      <dgm:prSet presAssocID="{45618F65-346E-4BF9-92F5-D2A4F4BF91C0}" presName="parTx" presStyleLbl="alignNode1" presStyleIdx="0" presStyleCnt="1">
        <dgm:presLayoutVars>
          <dgm:chMax val="0"/>
          <dgm:chPref val="0"/>
          <dgm:bulletEnabled val="1"/>
        </dgm:presLayoutVars>
      </dgm:prSet>
      <dgm:spPr/>
    </dgm:pt>
    <dgm:pt modelId="{748553A9-AFA8-4FE5-A9F1-FC02AE7F11EE}" type="pres">
      <dgm:prSet presAssocID="{45618F65-346E-4BF9-92F5-D2A4F4BF91C0}" presName="desTx" presStyleLbl="alignAccFollowNode1" presStyleIdx="0" presStyleCnt="1">
        <dgm:presLayoutVars>
          <dgm:bulletEnabled val="1"/>
        </dgm:presLayoutVars>
      </dgm:prSet>
      <dgm:spPr/>
    </dgm:pt>
  </dgm:ptLst>
  <dgm:cxnLst>
    <dgm:cxn modelId="{59700C05-9CEF-484B-90EA-A9F5164541D9}" type="presOf" srcId="{EEE17489-08A5-486C-A27B-F4A5BE51BEF3}" destId="{748553A9-AFA8-4FE5-A9F1-FC02AE7F11EE}" srcOrd="0" destOrd="0" presId="urn:microsoft.com/office/officeart/2005/8/layout/hList1"/>
    <dgm:cxn modelId="{1884AE21-D5C4-4B28-9235-0ADE443D03ED}" srcId="{45618F65-346E-4BF9-92F5-D2A4F4BF91C0}" destId="{19A089AA-4DCB-4712-B597-7E2F3D9B9205}" srcOrd="1" destOrd="0" parTransId="{83CDA5A5-002A-4562-99CC-BDDDF0015759}" sibTransId="{4B09C85B-E22B-45FC-9972-4200C2E79261}"/>
    <dgm:cxn modelId="{A2932523-369C-4CF1-A92D-B62AA6D6FE1C}" type="presOf" srcId="{B7F31379-72A0-4053-A8E4-2A8E75B64300}" destId="{748553A9-AFA8-4FE5-A9F1-FC02AE7F11EE}" srcOrd="0" destOrd="8" presId="urn:microsoft.com/office/officeart/2005/8/layout/hList1"/>
    <dgm:cxn modelId="{962D6432-0D04-4848-A8BF-D0EE8FDB58C1}" type="presOf" srcId="{E3370571-9EB5-41E4-8D64-4C775D5FCCCD}" destId="{748553A9-AFA8-4FE5-A9F1-FC02AE7F11EE}" srcOrd="0" destOrd="6" presId="urn:microsoft.com/office/officeart/2005/8/layout/hList1"/>
    <dgm:cxn modelId="{E3681C36-C089-4FDC-B8E9-72C45C6019A1}" type="presOf" srcId="{C7030156-80D9-43E2-9B85-E1499A2491CE}" destId="{748553A9-AFA8-4FE5-A9F1-FC02AE7F11EE}" srcOrd="0" destOrd="7" presId="urn:microsoft.com/office/officeart/2005/8/layout/hList1"/>
    <dgm:cxn modelId="{EC5A5636-1385-42B3-AC6B-6369BF4F29C8}" type="presOf" srcId="{45618F65-346E-4BF9-92F5-D2A4F4BF91C0}" destId="{AF16DD1E-81AF-4811-AD7E-6848FE73CF50}" srcOrd="0" destOrd="0" presId="urn:microsoft.com/office/officeart/2005/8/layout/hList1"/>
    <dgm:cxn modelId="{02253769-9106-4BFC-A822-A3649A98D251}" type="presOf" srcId="{3EA3A94C-F09A-4F6B-BB65-FE3CE3C9DCB6}" destId="{748553A9-AFA8-4FE5-A9F1-FC02AE7F11EE}" srcOrd="0" destOrd="10" presId="urn:microsoft.com/office/officeart/2005/8/layout/hList1"/>
    <dgm:cxn modelId="{D6B3E74D-09C9-42FC-BAC5-4A02FF21274B}" srcId="{45618F65-346E-4BF9-92F5-D2A4F4BF91C0}" destId="{EEE17489-08A5-486C-A27B-F4A5BE51BEF3}" srcOrd="0" destOrd="0" parTransId="{02D23636-0A4A-4601-97FA-24C735FED575}" sibTransId="{99A4E3B2-C2A6-434F-B18E-879508E59E7E}"/>
    <dgm:cxn modelId="{5DBD3173-5C7E-40C5-9D9E-4CBA62441B28}" srcId="{EEE17489-08A5-486C-A27B-F4A5BE51BEF3}" destId="{2E03FD9C-110C-4EA0-ACF9-962F8D1E3173}" srcOrd="0" destOrd="0" parTransId="{33CABBF4-3E06-4260-AB3A-AE4AF3D3C3C9}" sibTransId="{3E118F6D-8F88-4267-86A4-5679D70722C3}"/>
    <dgm:cxn modelId="{ACB5D556-EE88-4130-B510-142345441EF7}" srcId="{268D21BB-B1D1-4BAC-A2AA-EC5DEE579F6F}" destId="{45618F65-346E-4BF9-92F5-D2A4F4BF91C0}" srcOrd="0" destOrd="0" parTransId="{8A8A974F-55B2-4779-9E62-1E87DC299A97}" sibTransId="{D9CB4234-8C47-48E7-A620-189B016E51B6}"/>
    <dgm:cxn modelId="{6C95E179-0624-4A1F-8566-93CD7420E892}" type="presOf" srcId="{53110546-3EDC-4452-97F3-CFB6086C7C98}" destId="{748553A9-AFA8-4FE5-A9F1-FC02AE7F11EE}" srcOrd="0" destOrd="4" presId="urn:microsoft.com/office/officeart/2005/8/layout/hList1"/>
    <dgm:cxn modelId="{FCA4B185-A8A8-4945-8EEB-41F683DA416D}" type="presOf" srcId="{FA40983E-E798-49F7-9E8E-FB0E25A4F310}" destId="{748553A9-AFA8-4FE5-A9F1-FC02AE7F11EE}" srcOrd="0" destOrd="3" presId="urn:microsoft.com/office/officeart/2005/8/layout/hList1"/>
    <dgm:cxn modelId="{223F2D89-208C-432C-B433-720D2A4F7F48}" srcId="{19A089AA-4DCB-4712-B597-7E2F3D9B9205}" destId="{C7030156-80D9-43E2-9B85-E1499A2491CE}" srcOrd="1" destOrd="0" parTransId="{020442A1-047B-40C7-B5F4-49328FF199C0}" sibTransId="{632AA67D-7B65-4531-A599-816F13CEF09C}"/>
    <dgm:cxn modelId="{1E06798A-D83F-4429-BEA5-4EA6A8F65EB4}" type="presOf" srcId="{2E03FD9C-110C-4EA0-ACF9-962F8D1E3173}" destId="{748553A9-AFA8-4FE5-A9F1-FC02AE7F11EE}" srcOrd="0" destOrd="1" presId="urn:microsoft.com/office/officeart/2005/8/layout/hList1"/>
    <dgm:cxn modelId="{1F58FC8A-48FD-49FA-8914-5A6892E13114}" srcId="{EEE17489-08A5-486C-A27B-F4A5BE51BEF3}" destId="{53110546-3EDC-4452-97F3-CFB6086C7C98}" srcOrd="3" destOrd="0" parTransId="{0DACB099-CC69-4D2B-8CAD-336957FC7241}" sibTransId="{7F45489B-331D-442D-8F64-9C9519A79029}"/>
    <dgm:cxn modelId="{9A7E71A4-2755-4986-BE07-2F2E95640856}" srcId="{19A089AA-4DCB-4712-B597-7E2F3D9B9205}" destId="{3EA3A94C-F09A-4F6B-BB65-FE3CE3C9DCB6}" srcOrd="4" destOrd="0" parTransId="{9F81FC60-D35F-4691-8EE0-2954D247B1B3}" sibTransId="{E79D3724-A78B-4B2E-9974-A9D3E14C1B84}"/>
    <dgm:cxn modelId="{38598EA5-A39E-42A7-81C0-A2B226A7A7AD}" srcId="{19A089AA-4DCB-4712-B597-7E2F3D9B9205}" destId="{E3370571-9EB5-41E4-8D64-4C775D5FCCCD}" srcOrd="0" destOrd="0" parTransId="{F8521244-6486-4872-9353-0F0626ED88FC}" sibTransId="{707A7443-F6F0-4D01-B806-E93B2B362929}"/>
    <dgm:cxn modelId="{977C86AD-CB52-469B-AE9F-4D9B504C806B}" srcId="{EEE17489-08A5-486C-A27B-F4A5BE51BEF3}" destId="{FA40983E-E798-49F7-9E8E-FB0E25A4F310}" srcOrd="2" destOrd="0" parTransId="{FD83C50D-DF11-4815-80EE-7BFAF45482DD}" sibTransId="{48DD9DFB-FDA1-44C3-839C-281CED9DCBE4}"/>
    <dgm:cxn modelId="{5DA60DB3-35AD-468A-9E5D-0FDF31ECE8D7}" srcId="{19A089AA-4DCB-4712-B597-7E2F3D9B9205}" destId="{762DB9ED-C101-4455-81A7-2745352A04B7}" srcOrd="3" destOrd="0" parTransId="{98852061-55D6-4C94-8A4A-C5620CDBEB41}" sibTransId="{4D2DA63F-4DE8-4A87-9C08-28A9D1EF06F2}"/>
    <dgm:cxn modelId="{430B99BC-5FD5-4586-BDF5-61D6BE05820F}" type="presOf" srcId="{2A52903C-66F3-493C-BAD8-211C30F55B72}" destId="{748553A9-AFA8-4FE5-A9F1-FC02AE7F11EE}" srcOrd="0" destOrd="11" presId="urn:microsoft.com/office/officeart/2005/8/layout/hList1"/>
    <dgm:cxn modelId="{63F173BD-DB76-4323-9E68-BAC3D0E4A6C4}" srcId="{19A089AA-4DCB-4712-B597-7E2F3D9B9205}" destId="{B7F31379-72A0-4053-A8E4-2A8E75B64300}" srcOrd="2" destOrd="0" parTransId="{F1DEC30C-5EB7-43FC-86A1-AAAA0BA8FE09}" sibTransId="{4776D92D-E812-4D2C-8FD2-E65C215C1FC6}"/>
    <dgm:cxn modelId="{95547EBF-6714-4243-813C-FD14CF741636}" type="presOf" srcId="{19A089AA-4DCB-4712-B597-7E2F3D9B9205}" destId="{748553A9-AFA8-4FE5-A9F1-FC02AE7F11EE}" srcOrd="0" destOrd="5" presId="urn:microsoft.com/office/officeart/2005/8/layout/hList1"/>
    <dgm:cxn modelId="{601EA4D1-7D84-446B-8B6F-0B98B0754D79}" srcId="{19A089AA-4DCB-4712-B597-7E2F3D9B9205}" destId="{2A52903C-66F3-493C-BAD8-211C30F55B72}" srcOrd="5" destOrd="0" parTransId="{E8DF449E-6C04-4ECD-B41B-50E531E7E474}" sibTransId="{6A97EC07-02A7-40AE-8551-3E930A308AB5}"/>
    <dgm:cxn modelId="{7B5EE0E2-18ED-4784-9C5F-9C56AFAC0F08}" type="presOf" srcId="{762DB9ED-C101-4455-81A7-2745352A04B7}" destId="{748553A9-AFA8-4FE5-A9F1-FC02AE7F11EE}" srcOrd="0" destOrd="9" presId="urn:microsoft.com/office/officeart/2005/8/layout/hList1"/>
    <dgm:cxn modelId="{FF2414F1-7DE9-4C72-A01C-31E2B01857F3}" type="presOf" srcId="{05512C9C-13B0-4797-A77D-EF87CA2998EF}" destId="{748553A9-AFA8-4FE5-A9F1-FC02AE7F11EE}" srcOrd="0" destOrd="2" presId="urn:microsoft.com/office/officeart/2005/8/layout/hList1"/>
    <dgm:cxn modelId="{9E60B3F1-6688-402A-9498-AB112FFA0F87}" type="presOf" srcId="{268D21BB-B1D1-4BAC-A2AA-EC5DEE579F6F}" destId="{42AF31B5-C995-4937-9439-C09B1D04CADF}" srcOrd="0" destOrd="0" presId="urn:microsoft.com/office/officeart/2005/8/layout/hList1"/>
    <dgm:cxn modelId="{CD7805F9-8278-4F8E-84E1-E04300464D4E}" srcId="{EEE17489-08A5-486C-A27B-F4A5BE51BEF3}" destId="{05512C9C-13B0-4797-A77D-EF87CA2998EF}" srcOrd="1" destOrd="0" parTransId="{0E2E195E-BD35-48C3-9FF6-5DDC37EBE35C}" sibTransId="{CC389CA0-C817-4750-8B1D-101D43AC237B}"/>
    <dgm:cxn modelId="{E944EDF1-43A4-4A73-9E28-6B20D004C4D9}" type="presParOf" srcId="{42AF31B5-C995-4937-9439-C09B1D04CADF}" destId="{A1117AE3-F3B1-407C-A99B-68573D2590B2}" srcOrd="0" destOrd="0" presId="urn:microsoft.com/office/officeart/2005/8/layout/hList1"/>
    <dgm:cxn modelId="{AE47064E-0173-4C51-9580-45F169677167}" type="presParOf" srcId="{A1117AE3-F3B1-407C-A99B-68573D2590B2}" destId="{AF16DD1E-81AF-4811-AD7E-6848FE73CF50}" srcOrd="0" destOrd="0" presId="urn:microsoft.com/office/officeart/2005/8/layout/hList1"/>
    <dgm:cxn modelId="{A4D6DB39-69D8-40BD-A579-9ABF3AF4E5F5}" type="presParOf" srcId="{A1117AE3-F3B1-407C-A99B-68573D2590B2}" destId="{748553A9-AFA8-4FE5-A9F1-FC02AE7F11E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A81B189-32F8-47D8-9DBE-7FB1BE35DE1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nl-BE"/>
        </a:p>
      </dgm:t>
    </dgm:pt>
    <dgm:pt modelId="{5E9E2E20-FF48-4238-9606-83E96C52B693}">
      <dgm:prSet custT="1"/>
      <dgm:spPr>
        <a:xfrm>
          <a:off x="476922" y="324071"/>
          <a:ext cx="5374282" cy="648479"/>
        </a:xfrm>
        <a:prstGeom prst="rect">
          <a:avLst/>
        </a:prstGeom>
      </dgm:spPr>
      <dgm:t>
        <a:bodyPr/>
        <a:lstStyle/>
        <a:p>
          <a:pPr>
            <a:buNone/>
          </a:pPr>
          <a:r>
            <a:rPr lang="en-US" sz="2000" baseline="0">
              <a:latin typeface="Segoe UI"/>
              <a:ea typeface="+mn-ea"/>
              <a:cs typeface="+mn-cs"/>
            </a:rPr>
            <a:t>Allow access to Azure services</a:t>
          </a:r>
          <a:endParaRPr lang="nl-BE" sz="2000">
            <a:latin typeface="Segoe UI"/>
            <a:ea typeface="+mn-ea"/>
            <a:cs typeface="+mn-cs"/>
          </a:endParaRPr>
        </a:p>
      </dgm:t>
    </dgm:pt>
    <dgm:pt modelId="{E3EFFAC6-F629-4E74-90C6-5BABCBBA160C}" type="parTrans" cxnId="{4D1B40ED-3484-4531-95B8-04A8650F3A2D}">
      <dgm:prSet/>
      <dgm:spPr/>
      <dgm:t>
        <a:bodyPr/>
        <a:lstStyle/>
        <a:p>
          <a:endParaRPr lang="nl-BE" sz="1600"/>
        </a:p>
      </dgm:t>
    </dgm:pt>
    <dgm:pt modelId="{90B2E7B4-5A40-4D5A-B75A-4A6BFEDDA306}" type="sibTrans" cxnId="{4D1B40ED-3484-4531-95B8-04A8650F3A2D}">
      <dgm:prSet/>
      <dgm:spPr>
        <a:xfrm>
          <a:off x="-4765496" y="-730429"/>
          <a:ext cx="5676143" cy="5676143"/>
        </a:xfrm>
        <a:prstGeom prst="blockArc">
          <a:avLst>
            <a:gd name="adj1" fmla="val 18900000"/>
            <a:gd name="adj2" fmla="val 2700000"/>
            <a:gd name="adj3" fmla="val 381"/>
          </a:avLst>
        </a:prstGeom>
      </dgm:spPr>
      <dgm:t>
        <a:bodyPr/>
        <a:lstStyle/>
        <a:p>
          <a:endParaRPr lang="nl-BE" sz="1600"/>
        </a:p>
      </dgm:t>
    </dgm:pt>
    <dgm:pt modelId="{DE3A84EC-EB4B-4B32-9852-1E3B814FC6CB}">
      <dgm:prSet custT="1"/>
      <dgm:spPr>
        <a:xfrm>
          <a:off x="848710" y="1296958"/>
          <a:ext cx="5002494" cy="648479"/>
        </a:xfrm>
        <a:prstGeom prst="rect">
          <a:avLst/>
        </a:prstGeom>
      </dgm:spPr>
      <dgm:t>
        <a:bodyPr/>
        <a:lstStyle/>
        <a:p>
          <a:pPr>
            <a:buNone/>
          </a:pPr>
          <a:r>
            <a:rPr lang="en-US" sz="2000" baseline="0">
              <a:latin typeface="Segoe UI"/>
              <a:ea typeface="+mn-ea"/>
              <a:cs typeface="+mn-cs"/>
            </a:rPr>
            <a:t>IP Rules</a:t>
          </a:r>
          <a:endParaRPr lang="nl-BE" sz="2000">
            <a:latin typeface="Segoe UI"/>
            <a:ea typeface="+mn-ea"/>
            <a:cs typeface="+mn-cs"/>
          </a:endParaRPr>
        </a:p>
      </dgm:t>
    </dgm:pt>
    <dgm:pt modelId="{C8F9CAD9-1B4E-4C6C-A26D-E53DA280F7FE}" type="parTrans" cxnId="{759C06C9-1A63-4D76-908F-648B851FEE30}">
      <dgm:prSet/>
      <dgm:spPr/>
      <dgm:t>
        <a:bodyPr/>
        <a:lstStyle/>
        <a:p>
          <a:endParaRPr lang="nl-BE" sz="1600"/>
        </a:p>
      </dgm:t>
    </dgm:pt>
    <dgm:pt modelId="{A98F905D-23C0-4D96-832D-1D2C3E30FDA7}" type="sibTrans" cxnId="{759C06C9-1A63-4D76-908F-648B851FEE30}">
      <dgm:prSet/>
      <dgm:spPr/>
      <dgm:t>
        <a:bodyPr/>
        <a:lstStyle/>
        <a:p>
          <a:endParaRPr lang="nl-BE" sz="1600"/>
        </a:p>
      </dgm:t>
    </dgm:pt>
    <dgm:pt modelId="{2EAE1460-D296-4A05-BD75-A90D25D1A429}">
      <dgm:prSet custT="1"/>
      <dgm:spPr>
        <a:xfrm>
          <a:off x="848710" y="2269846"/>
          <a:ext cx="5002494" cy="648479"/>
        </a:xfrm>
        <a:prstGeom prst="rect">
          <a:avLst/>
        </a:prstGeom>
      </dgm:spPr>
      <dgm:t>
        <a:bodyPr/>
        <a:lstStyle/>
        <a:p>
          <a:pPr>
            <a:buNone/>
          </a:pPr>
          <a:r>
            <a:rPr lang="en-US" sz="2000" baseline="0">
              <a:latin typeface="Segoe UI"/>
              <a:ea typeface="+mn-ea"/>
              <a:cs typeface="+mn-cs"/>
            </a:rPr>
            <a:t>Only one geographic region</a:t>
          </a:r>
          <a:endParaRPr lang="nl-BE" sz="2000">
            <a:latin typeface="Segoe UI"/>
            <a:ea typeface="+mn-ea"/>
            <a:cs typeface="+mn-cs"/>
          </a:endParaRPr>
        </a:p>
      </dgm:t>
    </dgm:pt>
    <dgm:pt modelId="{2CED8948-958D-4F72-9FBA-7241FE69C86E}" type="parTrans" cxnId="{51C9304E-35F0-4931-A9D9-44985838CDEC}">
      <dgm:prSet/>
      <dgm:spPr/>
      <dgm:t>
        <a:bodyPr/>
        <a:lstStyle/>
        <a:p>
          <a:endParaRPr lang="nl-BE" sz="1600"/>
        </a:p>
      </dgm:t>
    </dgm:pt>
    <dgm:pt modelId="{D9D50E14-524F-409D-AC92-4DBA6380EEF6}" type="sibTrans" cxnId="{51C9304E-35F0-4931-A9D9-44985838CDEC}">
      <dgm:prSet/>
      <dgm:spPr/>
      <dgm:t>
        <a:bodyPr/>
        <a:lstStyle/>
        <a:p>
          <a:endParaRPr lang="nl-BE" sz="1600"/>
        </a:p>
      </dgm:t>
    </dgm:pt>
    <dgm:pt modelId="{02CC1849-4522-4B08-9DEC-3839BB6F2AAC}">
      <dgm:prSet custT="1"/>
      <dgm:spPr>
        <a:xfrm>
          <a:off x="476922" y="3242734"/>
          <a:ext cx="5374282" cy="648479"/>
        </a:xfrm>
        <a:prstGeom prst="rect">
          <a:avLst/>
        </a:prstGeom>
      </dgm:spPr>
      <dgm:t>
        <a:bodyPr/>
        <a:lstStyle/>
        <a:p>
          <a:pPr>
            <a:buNone/>
          </a:pPr>
          <a:r>
            <a:rPr lang="en-US" sz="2000" baseline="0">
              <a:latin typeface="Segoe UI"/>
              <a:ea typeface="+mn-ea"/>
              <a:cs typeface="+mn-cs"/>
            </a:rPr>
            <a:t>Server-level, not database-level</a:t>
          </a:r>
          <a:endParaRPr lang="nl-BE" sz="2000">
            <a:latin typeface="Segoe UI"/>
            <a:ea typeface="+mn-ea"/>
            <a:cs typeface="+mn-cs"/>
          </a:endParaRPr>
        </a:p>
      </dgm:t>
    </dgm:pt>
    <dgm:pt modelId="{3DDB958B-269D-472E-AC22-F957E470720B}" type="parTrans" cxnId="{482E2945-184B-43EA-9073-24ED0C00A3E1}">
      <dgm:prSet/>
      <dgm:spPr/>
      <dgm:t>
        <a:bodyPr/>
        <a:lstStyle/>
        <a:p>
          <a:endParaRPr lang="nl-BE" sz="1600"/>
        </a:p>
      </dgm:t>
    </dgm:pt>
    <dgm:pt modelId="{BC84296E-61D5-4A51-A830-98AED41F41B8}" type="sibTrans" cxnId="{482E2945-184B-43EA-9073-24ED0C00A3E1}">
      <dgm:prSet/>
      <dgm:spPr/>
      <dgm:t>
        <a:bodyPr/>
        <a:lstStyle/>
        <a:p>
          <a:endParaRPr lang="nl-BE" sz="1600"/>
        </a:p>
      </dgm:t>
    </dgm:pt>
    <dgm:pt modelId="{077B688A-4998-4920-B3E2-B52080A72B95}" type="pres">
      <dgm:prSet presAssocID="{CA81B189-32F8-47D8-9DBE-7FB1BE35DE19}" presName="Name0" presStyleCnt="0">
        <dgm:presLayoutVars>
          <dgm:chMax val="7"/>
          <dgm:chPref val="7"/>
          <dgm:dir/>
        </dgm:presLayoutVars>
      </dgm:prSet>
      <dgm:spPr/>
    </dgm:pt>
    <dgm:pt modelId="{81FCBE10-08EA-41E2-9D4E-5F645A7A450E}" type="pres">
      <dgm:prSet presAssocID="{CA81B189-32F8-47D8-9DBE-7FB1BE35DE19}" presName="Name1" presStyleCnt="0"/>
      <dgm:spPr/>
    </dgm:pt>
    <dgm:pt modelId="{7DB7A9BF-AB37-41B6-B277-9BD068DCE83D}" type="pres">
      <dgm:prSet presAssocID="{CA81B189-32F8-47D8-9DBE-7FB1BE35DE19}" presName="cycle" presStyleCnt="0"/>
      <dgm:spPr/>
    </dgm:pt>
    <dgm:pt modelId="{EBB37C0B-3CB6-4263-8E71-57F9638F6738}" type="pres">
      <dgm:prSet presAssocID="{CA81B189-32F8-47D8-9DBE-7FB1BE35DE19}" presName="srcNode" presStyleLbl="node1" presStyleIdx="0" presStyleCnt="4"/>
      <dgm:spPr/>
    </dgm:pt>
    <dgm:pt modelId="{30DB2D25-172C-4538-B494-35FEC6589274}" type="pres">
      <dgm:prSet presAssocID="{CA81B189-32F8-47D8-9DBE-7FB1BE35DE19}" presName="conn" presStyleLbl="parChTrans1D2" presStyleIdx="0" presStyleCnt="1"/>
      <dgm:spPr/>
    </dgm:pt>
    <dgm:pt modelId="{7FB7AEF3-8ACD-4AD5-85A8-2465C0D62AE4}" type="pres">
      <dgm:prSet presAssocID="{CA81B189-32F8-47D8-9DBE-7FB1BE35DE19}" presName="extraNode" presStyleLbl="node1" presStyleIdx="0" presStyleCnt="4"/>
      <dgm:spPr/>
    </dgm:pt>
    <dgm:pt modelId="{C21D0541-33EB-4F90-9440-E3BB364B2C17}" type="pres">
      <dgm:prSet presAssocID="{CA81B189-32F8-47D8-9DBE-7FB1BE35DE19}" presName="dstNode" presStyleLbl="node1" presStyleIdx="0" presStyleCnt="4"/>
      <dgm:spPr/>
    </dgm:pt>
    <dgm:pt modelId="{B906E6D0-BE23-4EAA-AF79-F5B4AC1D47CA}" type="pres">
      <dgm:prSet presAssocID="{5E9E2E20-FF48-4238-9606-83E96C52B693}" presName="text_1" presStyleLbl="node1" presStyleIdx="0" presStyleCnt="4">
        <dgm:presLayoutVars>
          <dgm:bulletEnabled val="1"/>
        </dgm:presLayoutVars>
      </dgm:prSet>
      <dgm:spPr/>
    </dgm:pt>
    <dgm:pt modelId="{30C5C41E-580F-400F-B514-31A1C54E2605}" type="pres">
      <dgm:prSet presAssocID="{5E9E2E20-FF48-4238-9606-83E96C52B693}" presName="accent_1" presStyleCnt="0"/>
      <dgm:spPr/>
    </dgm:pt>
    <dgm:pt modelId="{3AC26FEF-B553-40FC-8086-282729F6BFCD}" type="pres">
      <dgm:prSet presAssocID="{5E9E2E20-FF48-4238-9606-83E96C52B693}" presName="accentRepeatNode" presStyleLbl="solidFgAcc1" presStyleIdx="0" presStyleCnt="4"/>
      <dgm:spPr>
        <a:xfrm>
          <a:off x="71622" y="243011"/>
          <a:ext cx="810599" cy="810599"/>
        </a:xfrm>
        <a:prstGeom prst="ellipse">
          <a:avLst/>
        </a:prstGeom>
      </dgm:spPr>
    </dgm:pt>
    <dgm:pt modelId="{0A41563B-FF70-46E1-9511-7901EC906F04}" type="pres">
      <dgm:prSet presAssocID="{DE3A84EC-EB4B-4B32-9852-1E3B814FC6CB}" presName="text_2" presStyleLbl="node1" presStyleIdx="1" presStyleCnt="4">
        <dgm:presLayoutVars>
          <dgm:bulletEnabled val="1"/>
        </dgm:presLayoutVars>
      </dgm:prSet>
      <dgm:spPr/>
    </dgm:pt>
    <dgm:pt modelId="{AC7F5BAB-032E-4FF4-95E7-6C643BA0C91D}" type="pres">
      <dgm:prSet presAssocID="{DE3A84EC-EB4B-4B32-9852-1E3B814FC6CB}" presName="accent_2" presStyleCnt="0"/>
      <dgm:spPr/>
    </dgm:pt>
    <dgm:pt modelId="{9E8ED44D-1966-43E1-9334-CE033F0F5F23}" type="pres">
      <dgm:prSet presAssocID="{DE3A84EC-EB4B-4B32-9852-1E3B814FC6CB}" presName="accentRepeatNode" presStyleLbl="solidFgAcc1" presStyleIdx="1" presStyleCnt="4"/>
      <dgm:spPr>
        <a:xfrm>
          <a:off x="443410" y="1215898"/>
          <a:ext cx="810599" cy="810599"/>
        </a:xfrm>
        <a:prstGeom prst="ellipse">
          <a:avLst/>
        </a:prstGeom>
      </dgm:spPr>
    </dgm:pt>
    <dgm:pt modelId="{B2C68567-23BB-412C-8B4C-54ABF0E74369}" type="pres">
      <dgm:prSet presAssocID="{2EAE1460-D296-4A05-BD75-A90D25D1A429}" presName="text_3" presStyleLbl="node1" presStyleIdx="2" presStyleCnt="4">
        <dgm:presLayoutVars>
          <dgm:bulletEnabled val="1"/>
        </dgm:presLayoutVars>
      </dgm:prSet>
      <dgm:spPr/>
    </dgm:pt>
    <dgm:pt modelId="{12170C05-17D8-42B1-82C0-6C6BAC088EEE}" type="pres">
      <dgm:prSet presAssocID="{2EAE1460-D296-4A05-BD75-A90D25D1A429}" presName="accent_3" presStyleCnt="0"/>
      <dgm:spPr/>
    </dgm:pt>
    <dgm:pt modelId="{408FA006-236D-44FC-8DCB-318D730A7D2F}" type="pres">
      <dgm:prSet presAssocID="{2EAE1460-D296-4A05-BD75-A90D25D1A429}" presName="accentRepeatNode" presStyleLbl="solidFgAcc1" presStyleIdx="2" presStyleCnt="4"/>
      <dgm:spPr>
        <a:xfrm>
          <a:off x="443410" y="2188786"/>
          <a:ext cx="810599" cy="810599"/>
        </a:xfrm>
        <a:prstGeom prst="ellipse">
          <a:avLst/>
        </a:prstGeom>
      </dgm:spPr>
    </dgm:pt>
    <dgm:pt modelId="{B8DD3C98-1371-401F-9C74-DF8F1A1C1D37}" type="pres">
      <dgm:prSet presAssocID="{02CC1849-4522-4B08-9DEC-3839BB6F2AAC}" presName="text_4" presStyleLbl="node1" presStyleIdx="3" presStyleCnt="4">
        <dgm:presLayoutVars>
          <dgm:bulletEnabled val="1"/>
        </dgm:presLayoutVars>
      </dgm:prSet>
      <dgm:spPr/>
    </dgm:pt>
    <dgm:pt modelId="{0F9854DF-A714-48DE-BCFA-4D034614AFEA}" type="pres">
      <dgm:prSet presAssocID="{02CC1849-4522-4B08-9DEC-3839BB6F2AAC}" presName="accent_4" presStyleCnt="0"/>
      <dgm:spPr/>
    </dgm:pt>
    <dgm:pt modelId="{3A55A322-389C-472C-867C-A42F528DBA29}" type="pres">
      <dgm:prSet presAssocID="{02CC1849-4522-4B08-9DEC-3839BB6F2AAC}" presName="accentRepeatNode" presStyleLbl="solidFgAcc1" presStyleIdx="3" presStyleCnt="4"/>
      <dgm:spPr>
        <a:xfrm>
          <a:off x="71622" y="3161674"/>
          <a:ext cx="810599" cy="810599"/>
        </a:xfrm>
        <a:prstGeom prst="ellipse">
          <a:avLst/>
        </a:prstGeom>
      </dgm:spPr>
    </dgm:pt>
  </dgm:ptLst>
  <dgm:cxnLst>
    <dgm:cxn modelId="{5C035417-918F-42FA-84CE-26E0237D3E6A}" type="presOf" srcId="{90B2E7B4-5A40-4D5A-B75A-4A6BFEDDA306}" destId="{30DB2D25-172C-4538-B494-35FEC6589274}" srcOrd="0" destOrd="0" presId="urn:microsoft.com/office/officeart/2008/layout/VerticalCurvedList"/>
    <dgm:cxn modelId="{E16BB31F-0AB1-4D99-A473-5A2FAC3B0F57}" type="presOf" srcId="{2EAE1460-D296-4A05-BD75-A90D25D1A429}" destId="{B2C68567-23BB-412C-8B4C-54ABF0E74369}" srcOrd="0" destOrd="0" presId="urn:microsoft.com/office/officeart/2008/layout/VerticalCurvedList"/>
    <dgm:cxn modelId="{CD9BAC31-1028-4F5A-9671-9EA09E895AB5}" type="presOf" srcId="{CA81B189-32F8-47D8-9DBE-7FB1BE35DE19}" destId="{077B688A-4998-4920-B3E2-B52080A72B95}" srcOrd="0" destOrd="0" presId="urn:microsoft.com/office/officeart/2008/layout/VerticalCurvedList"/>
    <dgm:cxn modelId="{482E2945-184B-43EA-9073-24ED0C00A3E1}" srcId="{CA81B189-32F8-47D8-9DBE-7FB1BE35DE19}" destId="{02CC1849-4522-4B08-9DEC-3839BB6F2AAC}" srcOrd="3" destOrd="0" parTransId="{3DDB958B-269D-472E-AC22-F957E470720B}" sibTransId="{BC84296E-61D5-4A51-A830-98AED41F41B8}"/>
    <dgm:cxn modelId="{51C9304E-35F0-4931-A9D9-44985838CDEC}" srcId="{CA81B189-32F8-47D8-9DBE-7FB1BE35DE19}" destId="{2EAE1460-D296-4A05-BD75-A90D25D1A429}" srcOrd="2" destOrd="0" parTransId="{2CED8948-958D-4F72-9FBA-7241FE69C86E}" sibTransId="{D9D50E14-524F-409D-AC92-4DBA6380EEF6}"/>
    <dgm:cxn modelId="{30468C55-E485-42F2-BECA-A87A7A4A1473}" type="presOf" srcId="{DE3A84EC-EB4B-4B32-9852-1E3B814FC6CB}" destId="{0A41563B-FF70-46E1-9511-7901EC906F04}" srcOrd="0" destOrd="0" presId="urn:microsoft.com/office/officeart/2008/layout/VerticalCurvedList"/>
    <dgm:cxn modelId="{765D669B-8423-4E39-AF10-F552F8B5965A}" type="presOf" srcId="{5E9E2E20-FF48-4238-9606-83E96C52B693}" destId="{B906E6D0-BE23-4EAA-AF79-F5B4AC1D47CA}" srcOrd="0" destOrd="0" presId="urn:microsoft.com/office/officeart/2008/layout/VerticalCurvedList"/>
    <dgm:cxn modelId="{759C06C9-1A63-4D76-908F-648B851FEE30}" srcId="{CA81B189-32F8-47D8-9DBE-7FB1BE35DE19}" destId="{DE3A84EC-EB4B-4B32-9852-1E3B814FC6CB}" srcOrd="1" destOrd="0" parTransId="{C8F9CAD9-1B4E-4C6C-A26D-E53DA280F7FE}" sibTransId="{A98F905D-23C0-4D96-832D-1D2C3E30FDA7}"/>
    <dgm:cxn modelId="{4D1B40ED-3484-4531-95B8-04A8650F3A2D}" srcId="{CA81B189-32F8-47D8-9DBE-7FB1BE35DE19}" destId="{5E9E2E20-FF48-4238-9606-83E96C52B693}" srcOrd="0" destOrd="0" parTransId="{E3EFFAC6-F629-4E74-90C6-5BABCBBA160C}" sibTransId="{90B2E7B4-5A40-4D5A-B75A-4A6BFEDDA306}"/>
    <dgm:cxn modelId="{271F8CFE-BD42-4DD1-BE75-177ED3946C10}" type="presOf" srcId="{02CC1849-4522-4B08-9DEC-3839BB6F2AAC}" destId="{B8DD3C98-1371-401F-9C74-DF8F1A1C1D37}" srcOrd="0" destOrd="0" presId="urn:microsoft.com/office/officeart/2008/layout/VerticalCurvedList"/>
    <dgm:cxn modelId="{9A964100-DB06-4F8F-A0D0-C1A67875FBC5}" type="presParOf" srcId="{077B688A-4998-4920-B3E2-B52080A72B95}" destId="{81FCBE10-08EA-41E2-9D4E-5F645A7A450E}" srcOrd="0" destOrd="0" presId="urn:microsoft.com/office/officeart/2008/layout/VerticalCurvedList"/>
    <dgm:cxn modelId="{A47C00A8-61DB-4077-A685-AF02C94952F7}" type="presParOf" srcId="{81FCBE10-08EA-41E2-9D4E-5F645A7A450E}" destId="{7DB7A9BF-AB37-41B6-B277-9BD068DCE83D}" srcOrd="0" destOrd="0" presId="urn:microsoft.com/office/officeart/2008/layout/VerticalCurvedList"/>
    <dgm:cxn modelId="{65E1FF27-215A-4DE7-BAB4-A4DA1B59B10A}" type="presParOf" srcId="{7DB7A9BF-AB37-41B6-B277-9BD068DCE83D}" destId="{EBB37C0B-3CB6-4263-8E71-57F9638F6738}" srcOrd="0" destOrd="0" presId="urn:microsoft.com/office/officeart/2008/layout/VerticalCurvedList"/>
    <dgm:cxn modelId="{588AC3C4-7CD8-46C0-80CC-8DCC02E1835F}" type="presParOf" srcId="{7DB7A9BF-AB37-41B6-B277-9BD068DCE83D}" destId="{30DB2D25-172C-4538-B494-35FEC6589274}" srcOrd="1" destOrd="0" presId="urn:microsoft.com/office/officeart/2008/layout/VerticalCurvedList"/>
    <dgm:cxn modelId="{07FDBDA0-29E6-4C18-A98E-19830801DF72}" type="presParOf" srcId="{7DB7A9BF-AB37-41B6-B277-9BD068DCE83D}" destId="{7FB7AEF3-8ACD-4AD5-85A8-2465C0D62AE4}" srcOrd="2" destOrd="0" presId="urn:microsoft.com/office/officeart/2008/layout/VerticalCurvedList"/>
    <dgm:cxn modelId="{8964C17F-D871-4D1E-B476-09867EC3CB9A}" type="presParOf" srcId="{7DB7A9BF-AB37-41B6-B277-9BD068DCE83D}" destId="{C21D0541-33EB-4F90-9440-E3BB364B2C17}" srcOrd="3" destOrd="0" presId="urn:microsoft.com/office/officeart/2008/layout/VerticalCurvedList"/>
    <dgm:cxn modelId="{F9E503B5-78A9-4A46-977B-64A7CE09E97F}" type="presParOf" srcId="{81FCBE10-08EA-41E2-9D4E-5F645A7A450E}" destId="{B906E6D0-BE23-4EAA-AF79-F5B4AC1D47CA}" srcOrd="1" destOrd="0" presId="urn:microsoft.com/office/officeart/2008/layout/VerticalCurvedList"/>
    <dgm:cxn modelId="{E92BD8BE-C4E1-41CD-95A3-9793DDD8EC98}" type="presParOf" srcId="{81FCBE10-08EA-41E2-9D4E-5F645A7A450E}" destId="{30C5C41E-580F-400F-B514-31A1C54E2605}" srcOrd="2" destOrd="0" presId="urn:microsoft.com/office/officeart/2008/layout/VerticalCurvedList"/>
    <dgm:cxn modelId="{CCE1448F-B68D-4E61-8274-D24AC67056BE}" type="presParOf" srcId="{30C5C41E-580F-400F-B514-31A1C54E2605}" destId="{3AC26FEF-B553-40FC-8086-282729F6BFCD}" srcOrd="0" destOrd="0" presId="urn:microsoft.com/office/officeart/2008/layout/VerticalCurvedList"/>
    <dgm:cxn modelId="{B427E07F-B538-44D5-9476-8426DD740B83}" type="presParOf" srcId="{81FCBE10-08EA-41E2-9D4E-5F645A7A450E}" destId="{0A41563B-FF70-46E1-9511-7901EC906F04}" srcOrd="3" destOrd="0" presId="urn:microsoft.com/office/officeart/2008/layout/VerticalCurvedList"/>
    <dgm:cxn modelId="{A63CB81A-50B8-49D7-81B0-82BFB39C5F48}" type="presParOf" srcId="{81FCBE10-08EA-41E2-9D4E-5F645A7A450E}" destId="{AC7F5BAB-032E-4FF4-95E7-6C643BA0C91D}" srcOrd="4" destOrd="0" presId="urn:microsoft.com/office/officeart/2008/layout/VerticalCurvedList"/>
    <dgm:cxn modelId="{B7DFB767-7722-47B9-B125-4BE8EAE4EE2B}" type="presParOf" srcId="{AC7F5BAB-032E-4FF4-95E7-6C643BA0C91D}" destId="{9E8ED44D-1966-43E1-9334-CE033F0F5F23}" srcOrd="0" destOrd="0" presId="urn:microsoft.com/office/officeart/2008/layout/VerticalCurvedList"/>
    <dgm:cxn modelId="{13D3E780-58D8-4FD1-8B91-63CF1CC378CD}" type="presParOf" srcId="{81FCBE10-08EA-41E2-9D4E-5F645A7A450E}" destId="{B2C68567-23BB-412C-8B4C-54ABF0E74369}" srcOrd="5" destOrd="0" presId="urn:microsoft.com/office/officeart/2008/layout/VerticalCurvedList"/>
    <dgm:cxn modelId="{1DD1D511-50FC-45EA-8706-BD37953A57E6}" type="presParOf" srcId="{81FCBE10-08EA-41E2-9D4E-5F645A7A450E}" destId="{12170C05-17D8-42B1-82C0-6C6BAC088EEE}" srcOrd="6" destOrd="0" presId="urn:microsoft.com/office/officeart/2008/layout/VerticalCurvedList"/>
    <dgm:cxn modelId="{16CCCABC-313A-4121-B58A-D3CEE8E2F6D3}" type="presParOf" srcId="{12170C05-17D8-42B1-82C0-6C6BAC088EEE}" destId="{408FA006-236D-44FC-8DCB-318D730A7D2F}" srcOrd="0" destOrd="0" presId="urn:microsoft.com/office/officeart/2008/layout/VerticalCurvedList"/>
    <dgm:cxn modelId="{BBC34DA9-9F44-4104-93C0-BA3526D5C2FD}" type="presParOf" srcId="{81FCBE10-08EA-41E2-9D4E-5F645A7A450E}" destId="{B8DD3C98-1371-401F-9C74-DF8F1A1C1D37}" srcOrd="7" destOrd="0" presId="urn:microsoft.com/office/officeart/2008/layout/VerticalCurvedList"/>
    <dgm:cxn modelId="{751EFD13-673E-4152-BE2F-F0E9FA9A4BC5}" type="presParOf" srcId="{81FCBE10-08EA-41E2-9D4E-5F645A7A450E}" destId="{0F9854DF-A714-48DE-BCFA-4D034614AFEA}" srcOrd="8" destOrd="0" presId="urn:microsoft.com/office/officeart/2008/layout/VerticalCurvedList"/>
    <dgm:cxn modelId="{3A224F24-75FC-4428-B2EA-966A0CEFB92F}" type="presParOf" srcId="{0F9854DF-A714-48DE-BCFA-4D034614AFEA}" destId="{3A55A322-389C-472C-867C-A42F528DBA29}"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A81B189-32F8-47D8-9DBE-7FB1BE35DE1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BE"/>
        </a:p>
      </dgm:t>
    </dgm:pt>
    <dgm:pt modelId="{DE3A84EC-EB4B-4B32-9852-1E3B814FC6CB}">
      <dgm:prSet custT="1"/>
      <dgm:spPr>
        <a:xfrm>
          <a:off x="924713" y="1748329"/>
          <a:ext cx="5160007" cy="874164"/>
        </a:xfrm>
      </dgm:spPr>
      <dgm:t>
        <a:bodyPr/>
        <a:lstStyle/>
        <a:p>
          <a:pPr>
            <a:buNone/>
          </a:pPr>
          <a:r>
            <a:rPr lang="en-US" sz="1800" dirty="0">
              <a:latin typeface="Segoe UI"/>
              <a:ea typeface="+mn-ea"/>
              <a:cs typeface="+mn-cs"/>
            </a:rPr>
            <a:t>Enable cross-premises access to the private endpoint using ExpressRoute, private peering, or VPN tunneling.</a:t>
          </a:r>
          <a:endParaRPr lang="nl-BE" sz="1800" dirty="0">
            <a:latin typeface="Segoe UI"/>
            <a:ea typeface="+mn-ea"/>
            <a:cs typeface="+mn-cs"/>
          </a:endParaRPr>
        </a:p>
      </dgm:t>
    </dgm:pt>
    <dgm:pt modelId="{C8F9CAD9-1B4E-4C6C-A26D-E53DA280F7FE}" type="parTrans" cxnId="{759C06C9-1A63-4D76-908F-648B851FEE30}">
      <dgm:prSet/>
      <dgm:spPr/>
      <dgm:t>
        <a:bodyPr/>
        <a:lstStyle/>
        <a:p>
          <a:endParaRPr lang="nl-BE" sz="1600"/>
        </a:p>
      </dgm:t>
    </dgm:pt>
    <dgm:pt modelId="{A98F905D-23C0-4D96-832D-1D2C3E30FDA7}" type="sibTrans" cxnId="{759C06C9-1A63-4D76-908F-648B851FEE30}">
      <dgm:prSet/>
      <dgm:spPr/>
      <dgm:t>
        <a:bodyPr/>
        <a:lstStyle/>
        <a:p>
          <a:endParaRPr lang="nl-BE" sz="1600"/>
        </a:p>
      </dgm:t>
    </dgm:pt>
    <dgm:pt modelId="{2EAE1460-D296-4A05-BD75-A90D25D1A429}">
      <dgm:prSet custT="1"/>
      <dgm:spPr>
        <a:xfrm>
          <a:off x="606955" y="3059576"/>
          <a:ext cx="5477766" cy="874164"/>
        </a:xfrm>
      </dgm:spPr>
      <dgm:t>
        <a:bodyPr/>
        <a:lstStyle/>
        <a:p>
          <a:pPr>
            <a:buNone/>
          </a:pPr>
          <a:r>
            <a:rPr lang="en-US" sz="1800" baseline="0" dirty="0">
              <a:latin typeface="Segoe UI"/>
              <a:ea typeface="+mn-ea"/>
              <a:cs typeface="+mn-cs"/>
            </a:rPr>
            <a:t>Subsequently all access via public endpoint can be disabled and not need to use the IP-based firewall.</a:t>
          </a:r>
          <a:endParaRPr lang="nl-BE" sz="1800" dirty="0">
            <a:latin typeface="Segoe UI"/>
            <a:ea typeface="+mn-ea"/>
            <a:cs typeface="+mn-cs"/>
          </a:endParaRPr>
        </a:p>
      </dgm:t>
    </dgm:pt>
    <dgm:pt modelId="{2CED8948-958D-4F72-9FBA-7241FE69C86E}" type="parTrans" cxnId="{51C9304E-35F0-4931-A9D9-44985838CDEC}">
      <dgm:prSet/>
      <dgm:spPr/>
      <dgm:t>
        <a:bodyPr/>
        <a:lstStyle/>
        <a:p>
          <a:endParaRPr lang="nl-BE" sz="1600"/>
        </a:p>
      </dgm:t>
    </dgm:pt>
    <dgm:pt modelId="{D9D50E14-524F-409D-AC92-4DBA6380EEF6}" type="sibTrans" cxnId="{51C9304E-35F0-4931-A9D9-44985838CDEC}">
      <dgm:prSet/>
      <dgm:spPr/>
      <dgm:t>
        <a:bodyPr/>
        <a:lstStyle/>
        <a:p>
          <a:endParaRPr lang="nl-BE" sz="1600"/>
        </a:p>
      </dgm:t>
    </dgm:pt>
    <dgm:pt modelId="{CF300AF5-436B-4D6A-8F9B-365D753018EF}">
      <dgm:prSet custT="1"/>
      <dgm:spPr>
        <a:xfrm>
          <a:off x="606955" y="437082"/>
          <a:ext cx="5477766" cy="874164"/>
        </a:xfrm>
      </dgm:spPr>
      <dgm:t>
        <a:bodyPr/>
        <a:lstStyle/>
        <a:p>
          <a:pPr>
            <a:buNone/>
          </a:pPr>
          <a:r>
            <a:rPr lang="en-US" sz="1800" baseline="0">
              <a:latin typeface="Segoe UI"/>
              <a:ea typeface="+mn-ea"/>
              <a:cs typeface="+mn-cs"/>
            </a:rPr>
            <a:t>Connection via a private endpoint, that </a:t>
          </a:r>
          <a:r>
            <a:rPr lang="en-US" sz="1800">
              <a:latin typeface="Segoe UI"/>
              <a:ea typeface="+mn-ea"/>
              <a:cs typeface="+mn-cs"/>
            </a:rPr>
            <a:t>is a private IP address within a specific </a:t>
          </a:r>
          <a:r>
            <a:rPr lang="en-US" sz="1800" err="1">
              <a:latin typeface="Segoe UI"/>
              <a:ea typeface="+mn-ea"/>
              <a:cs typeface="+mn-cs"/>
            </a:rPr>
            <a:t>VNet</a:t>
          </a:r>
          <a:r>
            <a:rPr lang="en-US" sz="1800">
              <a:latin typeface="Segoe UI"/>
              <a:ea typeface="+mn-ea"/>
              <a:cs typeface="+mn-cs"/>
            </a:rPr>
            <a:t> and Subnet.</a:t>
          </a:r>
          <a:endParaRPr lang="nl-BE" sz="1800">
            <a:latin typeface="Segoe UI"/>
            <a:ea typeface="+mn-ea"/>
            <a:cs typeface="+mn-cs"/>
          </a:endParaRPr>
        </a:p>
      </dgm:t>
    </dgm:pt>
    <dgm:pt modelId="{48A61F9D-E372-48ED-9154-7435D19B2ABF}" type="parTrans" cxnId="{09AD38E2-1BE6-4971-B583-73885AF12A4F}">
      <dgm:prSet/>
      <dgm:spPr/>
      <dgm:t>
        <a:bodyPr/>
        <a:lstStyle/>
        <a:p>
          <a:endParaRPr lang="en-US"/>
        </a:p>
      </dgm:t>
    </dgm:pt>
    <dgm:pt modelId="{72BC64DA-FE24-4E9F-85E2-6878328BF675}" type="sibTrans" cxnId="{09AD38E2-1BE6-4971-B583-73885AF12A4F}">
      <dgm:prSet/>
      <dgm:spPr>
        <a:xfrm>
          <a:off x="-4941469" y="-757181"/>
          <a:ext cx="5885186" cy="5885186"/>
        </a:xfrm>
        <a:prstGeom prst="blockArc">
          <a:avLst>
            <a:gd name="adj1" fmla="val 18900000"/>
            <a:gd name="adj2" fmla="val 2700000"/>
            <a:gd name="adj3" fmla="val 367"/>
          </a:avLst>
        </a:prstGeom>
      </dgm:spPr>
      <dgm:t>
        <a:bodyPr/>
        <a:lstStyle/>
        <a:p>
          <a:endParaRPr lang="en-US"/>
        </a:p>
      </dgm:t>
    </dgm:pt>
    <dgm:pt modelId="{CDB66644-D02A-402F-94D2-43138568C186}" type="pres">
      <dgm:prSet presAssocID="{CA81B189-32F8-47D8-9DBE-7FB1BE35DE19}" presName="linear" presStyleCnt="0">
        <dgm:presLayoutVars>
          <dgm:animLvl val="lvl"/>
          <dgm:resizeHandles val="exact"/>
        </dgm:presLayoutVars>
      </dgm:prSet>
      <dgm:spPr/>
    </dgm:pt>
    <dgm:pt modelId="{A39D33B1-AC47-451C-BEB5-10858CDCD3E6}" type="pres">
      <dgm:prSet presAssocID="{CF300AF5-436B-4D6A-8F9B-365D753018EF}" presName="parentText" presStyleLbl="node1" presStyleIdx="0" presStyleCnt="3">
        <dgm:presLayoutVars>
          <dgm:chMax val="0"/>
          <dgm:bulletEnabled val="1"/>
        </dgm:presLayoutVars>
      </dgm:prSet>
      <dgm:spPr>
        <a:prstGeom prst="rect">
          <a:avLst/>
        </a:prstGeom>
      </dgm:spPr>
    </dgm:pt>
    <dgm:pt modelId="{3A667D12-7421-4DA1-84D1-BE987DD04654}" type="pres">
      <dgm:prSet presAssocID="{72BC64DA-FE24-4E9F-85E2-6878328BF675}" presName="spacer" presStyleCnt="0"/>
      <dgm:spPr/>
    </dgm:pt>
    <dgm:pt modelId="{20AE8525-D452-41FB-9955-66D48549AC84}" type="pres">
      <dgm:prSet presAssocID="{DE3A84EC-EB4B-4B32-9852-1E3B814FC6CB}" presName="parentText" presStyleLbl="node1" presStyleIdx="1" presStyleCnt="3">
        <dgm:presLayoutVars>
          <dgm:chMax val="0"/>
          <dgm:bulletEnabled val="1"/>
        </dgm:presLayoutVars>
      </dgm:prSet>
      <dgm:spPr>
        <a:prstGeom prst="rect">
          <a:avLst/>
        </a:prstGeom>
      </dgm:spPr>
    </dgm:pt>
    <dgm:pt modelId="{1337CCB0-3C2E-475E-82CF-8AE17C4392B5}" type="pres">
      <dgm:prSet presAssocID="{A98F905D-23C0-4D96-832D-1D2C3E30FDA7}" presName="spacer" presStyleCnt="0"/>
      <dgm:spPr/>
    </dgm:pt>
    <dgm:pt modelId="{6FF0AFA1-997F-4723-BA61-16D598A017FB}" type="pres">
      <dgm:prSet presAssocID="{2EAE1460-D296-4A05-BD75-A90D25D1A429}" presName="parentText" presStyleLbl="node1" presStyleIdx="2" presStyleCnt="3">
        <dgm:presLayoutVars>
          <dgm:chMax val="0"/>
          <dgm:bulletEnabled val="1"/>
        </dgm:presLayoutVars>
      </dgm:prSet>
      <dgm:spPr>
        <a:prstGeom prst="rect">
          <a:avLst/>
        </a:prstGeom>
      </dgm:spPr>
    </dgm:pt>
  </dgm:ptLst>
  <dgm:cxnLst>
    <dgm:cxn modelId="{51C9304E-35F0-4931-A9D9-44985838CDEC}" srcId="{CA81B189-32F8-47D8-9DBE-7FB1BE35DE19}" destId="{2EAE1460-D296-4A05-BD75-A90D25D1A429}" srcOrd="2" destOrd="0" parTransId="{2CED8948-958D-4F72-9FBA-7241FE69C86E}" sibTransId="{D9D50E14-524F-409D-AC92-4DBA6380EEF6}"/>
    <dgm:cxn modelId="{5F2C2350-475B-49E8-A44D-1244DE59426E}" type="presOf" srcId="{2EAE1460-D296-4A05-BD75-A90D25D1A429}" destId="{6FF0AFA1-997F-4723-BA61-16D598A017FB}" srcOrd="0" destOrd="0" presId="urn:microsoft.com/office/officeart/2005/8/layout/vList2"/>
    <dgm:cxn modelId="{48F5ED7E-3663-4701-BFD6-9037F346CBA9}" type="presOf" srcId="{CF300AF5-436B-4D6A-8F9B-365D753018EF}" destId="{A39D33B1-AC47-451C-BEB5-10858CDCD3E6}" srcOrd="0" destOrd="0" presId="urn:microsoft.com/office/officeart/2005/8/layout/vList2"/>
    <dgm:cxn modelId="{5CCA51AD-E281-4578-86CB-5E5CA4212A58}" type="presOf" srcId="{DE3A84EC-EB4B-4B32-9852-1E3B814FC6CB}" destId="{20AE8525-D452-41FB-9955-66D48549AC84}" srcOrd="0" destOrd="0" presId="urn:microsoft.com/office/officeart/2005/8/layout/vList2"/>
    <dgm:cxn modelId="{FD3900C8-E13D-4887-95D9-2B17F8082C9E}" type="presOf" srcId="{CA81B189-32F8-47D8-9DBE-7FB1BE35DE19}" destId="{CDB66644-D02A-402F-94D2-43138568C186}" srcOrd="0" destOrd="0" presId="urn:microsoft.com/office/officeart/2005/8/layout/vList2"/>
    <dgm:cxn modelId="{759C06C9-1A63-4D76-908F-648B851FEE30}" srcId="{CA81B189-32F8-47D8-9DBE-7FB1BE35DE19}" destId="{DE3A84EC-EB4B-4B32-9852-1E3B814FC6CB}" srcOrd="1" destOrd="0" parTransId="{C8F9CAD9-1B4E-4C6C-A26D-E53DA280F7FE}" sibTransId="{A98F905D-23C0-4D96-832D-1D2C3E30FDA7}"/>
    <dgm:cxn modelId="{09AD38E2-1BE6-4971-B583-73885AF12A4F}" srcId="{CA81B189-32F8-47D8-9DBE-7FB1BE35DE19}" destId="{CF300AF5-436B-4D6A-8F9B-365D753018EF}" srcOrd="0" destOrd="0" parTransId="{48A61F9D-E372-48ED-9154-7435D19B2ABF}" sibTransId="{72BC64DA-FE24-4E9F-85E2-6878328BF675}"/>
    <dgm:cxn modelId="{BC1B6A1D-CD1C-4249-B9CF-209B4AE8673C}" type="presParOf" srcId="{CDB66644-D02A-402F-94D2-43138568C186}" destId="{A39D33B1-AC47-451C-BEB5-10858CDCD3E6}" srcOrd="0" destOrd="0" presId="urn:microsoft.com/office/officeart/2005/8/layout/vList2"/>
    <dgm:cxn modelId="{1F17E3B9-B482-4C3F-BC3C-3621D792D963}" type="presParOf" srcId="{CDB66644-D02A-402F-94D2-43138568C186}" destId="{3A667D12-7421-4DA1-84D1-BE987DD04654}" srcOrd="1" destOrd="0" presId="urn:microsoft.com/office/officeart/2005/8/layout/vList2"/>
    <dgm:cxn modelId="{67EBF629-9797-4A12-8FF1-AC45E8DBC9E1}" type="presParOf" srcId="{CDB66644-D02A-402F-94D2-43138568C186}" destId="{20AE8525-D452-41FB-9955-66D48549AC84}" srcOrd="2" destOrd="0" presId="urn:microsoft.com/office/officeart/2005/8/layout/vList2"/>
    <dgm:cxn modelId="{C9479B6E-D7D6-4469-A109-E5DF6C796CA1}" type="presParOf" srcId="{CDB66644-D02A-402F-94D2-43138568C186}" destId="{1337CCB0-3C2E-475E-82CF-8AE17C4392B5}" srcOrd="3" destOrd="0" presId="urn:microsoft.com/office/officeart/2005/8/layout/vList2"/>
    <dgm:cxn modelId="{D2853CC1-2C05-4EDD-A6BC-FB7B7B7C5904}" type="presParOf" srcId="{CDB66644-D02A-402F-94D2-43138568C186}" destId="{6FF0AFA1-997F-4723-BA61-16D598A017FB}"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True or False? Initially, all access to your Azure SQL Database server is blocked by the firewall?</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BE23E93E-0CB3-4570-AB8F-2E4962FD9225}">
      <dgm:prSet/>
      <dgm:spPr/>
      <dgm:t>
        <a:bodyPr/>
        <a:lstStyle/>
        <a:p>
          <a:pPr>
            <a:buFont typeface="Arial" panose="020B0604020202020204" pitchFamily="34" charset="0"/>
            <a:buChar char="•"/>
          </a:pPr>
          <a:r>
            <a:rPr lang="en-US">
              <a:solidFill>
                <a:srgbClr val="FFFFFF"/>
              </a:solidFill>
            </a:rPr>
            <a:t>Can you use the Azure Portal to configure database-level firewall rules?</a:t>
          </a:r>
          <a:endParaRPr lang="en-US"/>
        </a:p>
      </dgm:t>
    </dgm:pt>
    <dgm:pt modelId="{2065B761-6D37-43D8-825B-D636686E287E}" type="parTrans" cxnId="{F23B3532-5497-4547-8C90-034640295209}">
      <dgm:prSet/>
      <dgm:spPr/>
      <dgm:t>
        <a:bodyPr/>
        <a:lstStyle/>
        <a:p>
          <a:endParaRPr lang="en-US"/>
        </a:p>
      </dgm:t>
    </dgm:pt>
    <dgm:pt modelId="{22F59A2A-D171-41DB-8FFB-51EBC695E1E4}" type="sibTrans" cxnId="{F23B3532-5497-4547-8C90-034640295209}">
      <dgm:prSet/>
      <dgm:spPr/>
      <dgm:t>
        <a:bodyPr/>
        <a:lstStyle/>
        <a:p>
          <a:endParaRPr lang="en-US"/>
        </a:p>
      </dgm:t>
    </dgm:pt>
    <dgm:pt modelId="{AFFA07F1-74E5-4EBB-98BD-DFC28FFE0606}">
      <dgm:prSet/>
      <dgm:spPr/>
      <dgm:t>
        <a:bodyPr/>
        <a:lstStyle/>
        <a:p>
          <a:pPr>
            <a:buFont typeface="Arial" panose="020B0604020202020204" pitchFamily="34" charset="0"/>
            <a:buChar char="•"/>
          </a:pPr>
          <a:r>
            <a:rPr lang="en-US">
              <a:solidFill>
                <a:srgbClr val="FFFFFF"/>
              </a:solidFill>
            </a:rPr>
            <a:t>Why should you use Virtual Network Service Endpoints?</a:t>
          </a:r>
          <a:endParaRPr lang="en-US"/>
        </a:p>
      </dgm:t>
    </dgm:pt>
    <dgm:pt modelId="{323E6ADB-4116-4D6E-8475-A3A3372AFA36}" type="parTrans" cxnId="{2E39A0F6-5B3D-408F-BB73-87B38DD19DA1}">
      <dgm:prSet/>
      <dgm:spPr/>
      <dgm:t>
        <a:bodyPr/>
        <a:lstStyle/>
        <a:p>
          <a:endParaRPr lang="en-US"/>
        </a:p>
      </dgm:t>
    </dgm:pt>
    <dgm:pt modelId="{9C7DAA34-8B66-4A53-8F4F-4A8B063D2299}" type="sibTrans" cxnId="{2E39A0F6-5B3D-408F-BB73-87B38DD19DA1}">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99201530-DC1E-4641-9AEF-3432B7307883}" type="pres">
      <dgm:prSet presAssocID="{CAE4D9F8-FDBB-4525-9125-6BAF56328FCE}" presName="spacer" presStyleCnt="0"/>
      <dgm:spPr/>
    </dgm:pt>
    <dgm:pt modelId="{B3F60DE7-21F9-431D-80B0-FDE766B61594}" type="pres">
      <dgm:prSet presAssocID="{BE23E93E-0CB3-4570-AB8F-2E4962FD9225}" presName="parentText" presStyleLbl="node1" presStyleIdx="1" presStyleCnt="3">
        <dgm:presLayoutVars>
          <dgm:chMax val="0"/>
          <dgm:bulletEnabled val="1"/>
        </dgm:presLayoutVars>
      </dgm:prSet>
      <dgm:spPr/>
    </dgm:pt>
    <dgm:pt modelId="{6A0331D4-A48C-465B-9A5E-C663398ABC68}" type="pres">
      <dgm:prSet presAssocID="{22F59A2A-D171-41DB-8FFB-51EBC695E1E4}" presName="spacer" presStyleCnt="0"/>
      <dgm:spPr/>
    </dgm:pt>
    <dgm:pt modelId="{E74A1925-E31D-40F8-B952-DCD97B7B1D76}" type="pres">
      <dgm:prSet presAssocID="{AFFA07F1-74E5-4EBB-98BD-DFC28FFE0606}"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3B3532-5497-4547-8C90-034640295209}" srcId="{15A7774C-B622-4F48-8F7B-AF1AAB74E997}" destId="{BE23E93E-0CB3-4570-AB8F-2E4962FD9225}" srcOrd="1" destOrd="0" parTransId="{2065B761-6D37-43D8-825B-D636686E287E}" sibTransId="{22F59A2A-D171-41DB-8FFB-51EBC695E1E4}"/>
    <dgm:cxn modelId="{F0700D42-604B-45CA-B6B5-A35CA7AC392E}" type="presOf" srcId="{AFFA07F1-74E5-4EBB-98BD-DFC28FFE0606}" destId="{E74A1925-E31D-40F8-B952-DCD97B7B1D76}"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F3E866E1-A70D-467B-ABEB-DD003C6F63A3}" type="presOf" srcId="{BE23E93E-0CB3-4570-AB8F-2E4962FD9225}" destId="{B3F60DE7-21F9-431D-80B0-FDE766B61594}" srcOrd="0" destOrd="0" presId="urn:microsoft.com/office/officeart/2005/8/layout/vList2"/>
    <dgm:cxn modelId="{2E39A0F6-5B3D-408F-BB73-87B38DD19DA1}" srcId="{15A7774C-B622-4F48-8F7B-AF1AAB74E997}" destId="{AFFA07F1-74E5-4EBB-98BD-DFC28FFE0606}" srcOrd="2" destOrd="0" parTransId="{323E6ADB-4116-4D6E-8475-A3A3372AFA36}" sibTransId="{9C7DAA34-8B66-4A53-8F4F-4A8B063D2299}"/>
    <dgm:cxn modelId="{8DEFA225-8389-4C32-8391-464D66A4B297}" type="presParOf" srcId="{97400BD5-14CE-4761-8A6A-64BC46D23158}" destId="{86989247-99F6-4AF2-B76D-35A7CDAFD370}" srcOrd="0" destOrd="0" presId="urn:microsoft.com/office/officeart/2005/8/layout/vList2"/>
    <dgm:cxn modelId="{52C25A57-5252-4C76-A8A4-4DEAAF2789B9}" type="presParOf" srcId="{97400BD5-14CE-4761-8A6A-64BC46D23158}" destId="{99201530-DC1E-4641-9AEF-3432B7307883}" srcOrd="1" destOrd="0" presId="urn:microsoft.com/office/officeart/2005/8/layout/vList2"/>
    <dgm:cxn modelId="{C0373509-CE93-4BAA-B092-5E0C14788F85}" type="presParOf" srcId="{97400BD5-14CE-4761-8A6A-64BC46D23158}" destId="{B3F60DE7-21F9-431D-80B0-FDE766B61594}" srcOrd="2" destOrd="0" presId="urn:microsoft.com/office/officeart/2005/8/layout/vList2"/>
    <dgm:cxn modelId="{2485E817-39B0-4CCA-A82E-E0597D9AA2B8}" type="presParOf" srcId="{97400BD5-14CE-4761-8A6A-64BC46D23158}" destId="{6A0331D4-A48C-465B-9A5E-C663398ABC68}" srcOrd="3" destOrd="0" presId="urn:microsoft.com/office/officeart/2005/8/layout/vList2"/>
    <dgm:cxn modelId="{F18C4572-C479-4278-B210-41981936B0D6}" type="presParOf" srcId="{97400BD5-14CE-4761-8A6A-64BC46D23158}" destId="{E74A1925-E31D-40F8-B952-DCD97B7B1D7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B9ADC0-2FE0-48B9-ACB8-53641E69DAC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2BC352D-3709-4DA9-9B74-1E0AECE9B829}">
      <dgm:prSet custT="1"/>
      <dgm:spPr/>
      <dgm:t>
        <a:bodyPr/>
        <a:lstStyle/>
        <a:p>
          <a:r>
            <a:rPr lang="en-US" sz="2400" baseline="0" dirty="0"/>
            <a:t>Azure Active Directory authentication is a mechanism of connecting to Microsoft Azure SQL Database by using identities in Azure Active Directory (Azure AD)</a:t>
          </a:r>
          <a:endParaRPr lang="en-US" sz="2400" dirty="0"/>
        </a:p>
      </dgm:t>
    </dgm:pt>
    <dgm:pt modelId="{5BBB451D-56E9-433F-826E-433B75D629D0}" type="parTrans" cxnId="{75FF2374-9FE9-4362-8A8C-B819F84FF8FF}">
      <dgm:prSet/>
      <dgm:spPr/>
      <dgm:t>
        <a:bodyPr/>
        <a:lstStyle/>
        <a:p>
          <a:endParaRPr lang="en-US"/>
        </a:p>
      </dgm:t>
    </dgm:pt>
    <dgm:pt modelId="{A00D0F48-067B-4029-B4A5-4CBC91BFB574}" type="sibTrans" cxnId="{75FF2374-9FE9-4362-8A8C-B819F84FF8FF}">
      <dgm:prSet/>
      <dgm:spPr/>
      <dgm:t>
        <a:bodyPr/>
        <a:lstStyle/>
        <a:p>
          <a:endParaRPr lang="en-US"/>
        </a:p>
      </dgm:t>
    </dgm:pt>
    <dgm:pt modelId="{F1EE642D-AB32-45A3-A061-D9E425B66F53}" type="pres">
      <dgm:prSet presAssocID="{58B9ADC0-2FE0-48B9-ACB8-53641E69DAC7}" presName="linear" presStyleCnt="0">
        <dgm:presLayoutVars>
          <dgm:animLvl val="lvl"/>
          <dgm:resizeHandles val="exact"/>
        </dgm:presLayoutVars>
      </dgm:prSet>
      <dgm:spPr/>
    </dgm:pt>
    <dgm:pt modelId="{65E7952D-87C4-4BFA-A2DB-F18002148FCA}" type="pres">
      <dgm:prSet presAssocID="{F2BC352D-3709-4DA9-9B74-1E0AECE9B829}" presName="parentText" presStyleLbl="node1" presStyleIdx="0" presStyleCnt="1">
        <dgm:presLayoutVars>
          <dgm:chMax val="0"/>
          <dgm:bulletEnabled val="1"/>
        </dgm:presLayoutVars>
      </dgm:prSet>
      <dgm:spPr/>
    </dgm:pt>
  </dgm:ptLst>
  <dgm:cxnLst>
    <dgm:cxn modelId="{0C106B70-275A-4FFB-B937-B8A6AFE0A3B7}" type="presOf" srcId="{F2BC352D-3709-4DA9-9B74-1E0AECE9B829}" destId="{65E7952D-87C4-4BFA-A2DB-F18002148FCA}" srcOrd="0" destOrd="0" presId="urn:microsoft.com/office/officeart/2005/8/layout/vList2"/>
    <dgm:cxn modelId="{75FF2374-9FE9-4362-8A8C-B819F84FF8FF}" srcId="{58B9ADC0-2FE0-48B9-ACB8-53641E69DAC7}" destId="{F2BC352D-3709-4DA9-9B74-1E0AECE9B829}" srcOrd="0" destOrd="0" parTransId="{5BBB451D-56E9-433F-826E-433B75D629D0}" sibTransId="{A00D0F48-067B-4029-B4A5-4CBC91BFB574}"/>
    <dgm:cxn modelId="{9C62ED85-A7EB-4D53-B763-06FD995B4631}" type="presOf" srcId="{58B9ADC0-2FE0-48B9-ACB8-53641E69DAC7}" destId="{F1EE642D-AB32-45A3-A061-D9E425B66F53}" srcOrd="0" destOrd="0" presId="urn:microsoft.com/office/officeart/2005/8/layout/vList2"/>
    <dgm:cxn modelId="{106E990C-1552-45F4-BB3D-FB88FA39A094}" type="presParOf" srcId="{F1EE642D-AB32-45A3-A061-D9E425B66F53}" destId="{65E7952D-87C4-4BFA-A2DB-F18002148FCA}"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B630335B-307B-4C11-9F6A-28622079588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6E48CF1-B2ED-4218-B009-473EB98C9602}">
      <dgm:prSet custT="1"/>
      <dgm:spPr/>
      <dgm:t>
        <a:bodyPr/>
        <a:lstStyle/>
        <a:p>
          <a:r>
            <a:rPr lang="en-US" sz="1600" baseline="0"/>
            <a:t>Data is encrypted at rest.</a:t>
          </a:r>
          <a:endParaRPr lang="en-US" sz="1600"/>
        </a:p>
      </dgm:t>
    </dgm:pt>
    <dgm:pt modelId="{2CE101EA-BE74-4815-AD81-F7DE680DE7B9}" type="parTrans" cxnId="{701330EF-1240-4746-898A-1384245F747F}">
      <dgm:prSet/>
      <dgm:spPr/>
      <dgm:t>
        <a:bodyPr/>
        <a:lstStyle/>
        <a:p>
          <a:endParaRPr lang="en-US" sz="1600"/>
        </a:p>
      </dgm:t>
    </dgm:pt>
    <dgm:pt modelId="{A0A9DEA8-DD94-4EA0-B3A3-DD8FC591AB9D}" type="sibTrans" cxnId="{701330EF-1240-4746-898A-1384245F747F}">
      <dgm:prSet/>
      <dgm:spPr/>
      <dgm:t>
        <a:bodyPr/>
        <a:lstStyle/>
        <a:p>
          <a:endParaRPr lang="en-US" sz="1600"/>
        </a:p>
      </dgm:t>
    </dgm:pt>
    <dgm:pt modelId="{F8F9D2F4-0424-452D-A7C7-211FD6C1B239}">
      <dgm:prSet custT="1"/>
      <dgm:spPr/>
      <dgm:t>
        <a:bodyPr/>
        <a:lstStyle/>
        <a:p>
          <a:r>
            <a:rPr lang="en-US" sz="1600" baseline="0"/>
            <a:t>Encryption keys are managed by Azure.</a:t>
          </a:r>
          <a:endParaRPr lang="en-US" sz="1600"/>
        </a:p>
      </dgm:t>
    </dgm:pt>
    <dgm:pt modelId="{9D298CBB-2972-4D1D-B581-8A704796613C}" type="parTrans" cxnId="{19DF6145-C5DA-4974-A1BB-5558B975B85A}">
      <dgm:prSet/>
      <dgm:spPr/>
      <dgm:t>
        <a:bodyPr/>
        <a:lstStyle/>
        <a:p>
          <a:endParaRPr lang="en-US" sz="1600"/>
        </a:p>
      </dgm:t>
    </dgm:pt>
    <dgm:pt modelId="{D3217E6A-2C44-4007-9B41-50838F2F1B19}" type="sibTrans" cxnId="{19DF6145-C5DA-4974-A1BB-5558B975B85A}">
      <dgm:prSet/>
      <dgm:spPr/>
      <dgm:t>
        <a:bodyPr/>
        <a:lstStyle/>
        <a:p>
          <a:endParaRPr lang="en-US" sz="1600"/>
        </a:p>
      </dgm:t>
    </dgm:pt>
    <dgm:pt modelId="{5CE4DBDE-27C1-4280-A3B9-0F52B931BAE7}">
      <dgm:prSet custT="1"/>
      <dgm:spPr/>
      <dgm:t>
        <a:bodyPr/>
        <a:lstStyle/>
        <a:p>
          <a:r>
            <a:rPr lang="en-US" sz="1600" baseline="0"/>
            <a:t>Performs real-time I/O encryption and decryption of the data at the page level.</a:t>
          </a:r>
          <a:endParaRPr lang="en-US" sz="1600"/>
        </a:p>
      </dgm:t>
    </dgm:pt>
    <dgm:pt modelId="{EBAA2230-F01D-4FB5-BCCC-DA28CEDBDB3C}" type="parTrans" cxnId="{AFD40538-8C7D-40CB-B54D-C3C65A4B45AB}">
      <dgm:prSet/>
      <dgm:spPr/>
      <dgm:t>
        <a:bodyPr/>
        <a:lstStyle/>
        <a:p>
          <a:endParaRPr lang="en-US" sz="1600"/>
        </a:p>
      </dgm:t>
    </dgm:pt>
    <dgm:pt modelId="{03EE2BC7-47F5-4E50-9AD2-B9F5547E9367}" type="sibTrans" cxnId="{AFD40538-8C7D-40CB-B54D-C3C65A4B45AB}">
      <dgm:prSet/>
      <dgm:spPr/>
      <dgm:t>
        <a:bodyPr/>
        <a:lstStyle/>
        <a:p>
          <a:endParaRPr lang="en-US" sz="1600"/>
        </a:p>
      </dgm:t>
    </dgm:pt>
    <dgm:pt modelId="{B67A37D6-31B7-4CFB-8826-F12BDBE9802A}">
      <dgm:prSet custT="1"/>
      <dgm:spPr/>
      <dgm:t>
        <a:bodyPr/>
        <a:lstStyle/>
        <a:p>
          <a:r>
            <a:rPr lang="en-US" sz="1600" baseline="0"/>
            <a:t>Each page is decrypted when it's read into memory and then encrypted before being written to disk.</a:t>
          </a:r>
          <a:endParaRPr lang="en-US" sz="1600"/>
        </a:p>
      </dgm:t>
    </dgm:pt>
    <dgm:pt modelId="{350D1676-46BB-4123-8D0F-BCDD9E44004B}" type="parTrans" cxnId="{4C41CA71-E747-4922-9D79-D1C8FA17115B}">
      <dgm:prSet/>
      <dgm:spPr/>
      <dgm:t>
        <a:bodyPr/>
        <a:lstStyle/>
        <a:p>
          <a:endParaRPr lang="en-US" sz="1600"/>
        </a:p>
      </dgm:t>
    </dgm:pt>
    <dgm:pt modelId="{49619E78-DFA8-45EE-9D4D-556AA644F287}" type="sibTrans" cxnId="{4C41CA71-E747-4922-9D79-D1C8FA17115B}">
      <dgm:prSet/>
      <dgm:spPr/>
      <dgm:t>
        <a:bodyPr/>
        <a:lstStyle/>
        <a:p>
          <a:endParaRPr lang="en-US" sz="1600"/>
        </a:p>
      </dgm:t>
    </dgm:pt>
    <dgm:pt modelId="{F08C7C54-015E-4735-AF7B-965F4C8EB738}">
      <dgm:prSet custT="1"/>
      <dgm:spPr/>
      <dgm:t>
        <a:bodyPr/>
        <a:lstStyle/>
        <a:p>
          <a:r>
            <a:rPr lang="en-US" sz="1600" baseline="0"/>
            <a:t>TDE is enabled for all newly deployed Azure SQL Databases.</a:t>
          </a:r>
          <a:endParaRPr lang="en-US" sz="1600"/>
        </a:p>
      </dgm:t>
    </dgm:pt>
    <dgm:pt modelId="{ECAF4A5B-6D25-4C74-8BB0-7987F984CC72}" type="parTrans" cxnId="{BD9CD919-2593-4E18-B59D-098028A7177E}">
      <dgm:prSet/>
      <dgm:spPr/>
      <dgm:t>
        <a:bodyPr/>
        <a:lstStyle/>
        <a:p>
          <a:endParaRPr lang="en-US" sz="1600"/>
        </a:p>
      </dgm:t>
    </dgm:pt>
    <dgm:pt modelId="{2CD81C6F-6DB6-4B11-BE17-2133E4ED72B9}" type="sibTrans" cxnId="{BD9CD919-2593-4E18-B59D-098028A7177E}">
      <dgm:prSet/>
      <dgm:spPr/>
      <dgm:t>
        <a:bodyPr/>
        <a:lstStyle/>
        <a:p>
          <a:endParaRPr lang="en-US" sz="1600"/>
        </a:p>
      </dgm:t>
    </dgm:pt>
    <dgm:pt modelId="{99DCF6C7-FF32-4F26-BD06-BF536023A1A4}">
      <dgm:prSet custT="1"/>
      <dgm:spPr/>
      <dgm:t>
        <a:bodyPr/>
        <a:lstStyle/>
        <a:p>
          <a:r>
            <a:rPr lang="en-US" sz="1600" baseline="0"/>
            <a:t>No need for application change.</a:t>
          </a:r>
          <a:endParaRPr lang="en-US" sz="1600"/>
        </a:p>
      </dgm:t>
    </dgm:pt>
    <dgm:pt modelId="{4EC04E23-9AD4-4C24-B6CC-FA93F44F4329}" type="parTrans" cxnId="{0DDA7517-D57B-4009-A199-1E384DC331CC}">
      <dgm:prSet/>
      <dgm:spPr/>
      <dgm:t>
        <a:bodyPr/>
        <a:lstStyle/>
        <a:p>
          <a:endParaRPr lang="en-US" sz="1600"/>
        </a:p>
      </dgm:t>
    </dgm:pt>
    <dgm:pt modelId="{8D77CA97-F742-4E15-9CB8-183857402228}" type="sibTrans" cxnId="{0DDA7517-D57B-4009-A199-1E384DC331CC}">
      <dgm:prSet/>
      <dgm:spPr/>
      <dgm:t>
        <a:bodyPr/>
        <a:lstStyle/>
        <a:p>
          <a:endParaRPr lang="en-US" sz="1600"/>
        </a:p>
      </dgm:t>
    </dgm:pt>
    <dgm:pt modelId="{13BB461E-360A-4FD5-93F5-A84AA84DE6E6}">
      <dgm:prSet custT="1"/>
      <dgm:spPr/>
      <dgm:t>
        <a:bodyPr/>
        <a:lstStyle/>
        <a:p>
          <a:r>
            <a:rPr lang="en-US" sz="1600" baseline="0"/>
            <a:t>Support for equality operations (including joins) on encrypted data.</a:t>
          </a:r>
          <a:endParaRPr lang="en-US" sz="1600"/>
        </a:p>
      </dgm:t>
    </dgm:pt>
    <dgm:pt modelId="{B0E0429E-7E4C-4C66-BC34-05ABD9D5FCCD}" type="parTrans" cxnId="{F9FF316F-12CA-48FC-BB6D-3059BB377DED}">
      <dgm:prSet/>
      <dgm:spPr/>
      <dgm:t>
        <a:bodyPr/>
        <a:lstStyle/>
        <a:p>
          <a:endParaRPr lang="en-US" sz="1600"/>
        </a:p>
      </dgm:t>
    </dgm:pt>
    <dgm:pt modelId="{7873EBB9-F6E8-42F3-AD18-7827EB56A069}" type="sibTrans" cxnId="{F9FF316F-12CA-48FC-BB6D-3059BB377DED}">
      <dgm:prSet/>
      <dgm:spPr/>
      <dgm:t>
        <a:bodyPr/>
        <a:lstStyle/>
        <a:p>
          <a:endParaRPr lang="en-US" sz="1600"/>
        </a:p>
      </dgm:t>
    </dgm:pt>
    <dgm:pt modelId="{FF9221C7-6F63-4A7F-9A66-3D6941B62037}">
      <dgm:prSet custT="1"/>
      <dgm:spPr/>
      <dgm:t>
        <a:bodyPr/>
        <a:lstStyle/>
        <a:p>
          <a:r>
            <a:rPr lang="en-US" sz="1600" baseline="0"/>
            <a:t>Bring You Own Key (BYOK) supported.</a:t>
          </a:r>
          <a:endParaRPr lang="en-US" sz="1600"/>
        </a:p>
      </dgm:t>
    </dgm:pt>
    <dgm:pt modelId="{BCBE74FB-7B20-4653-955F-1BE6798EA8C8}" type="parTrans" cxnId="{FD9C31F7-09FE-45DF-97F5-7831188C8C55}">
      <dgm:prSet/>
      <dgm:spPr/>
      <dgm:t>
        <a:bodyPr/>
        <a:lstStyle/>
        <a:p>
          <a:endParaRPr lang="en-US" sz="1600"/>
        </a:p>
      </dgm:t>
    </dgm:pt>
    <dgm:pt modelId="{E912691E-CF9C-49B0-BDED-7A61640729CD}" type="sibTrans" cxnId="{FD9C31F7-09FE-45DF-97F5-7831188C8C55}">
      <dgm:prSet/>
      <dgm:spPr/>
      <dgm:t>
        <a:bodyPr/>
        <a:lstStyle/>
        <a:p>
          <a:endParaRPr lang="en-US" sz="1600"/>
        </a:p>
      </dgm:t>
    </dgm:pt>
    <dgm:pt modelId="{689A87B8-E3BB-43ED-B2C7-F1532B843AE2}" type="pres">
      <dgm:prSet presAssocID="{B630335B-307B-4C11-9F6A-286220795882}" presName="diagram" presStyleCnt="0">
        <dgm:presLayoutVars>
          <dgm:dir/>
          <dgm:resizeHandles val="exact"/>
        </dgm:presLayoutVars>
      </dgm:prSet>
      <dgm:spPr/>
    </dgm:pt>
    <dgm:pt modelId="{F48F9778-9CC2-4039-A838-CF9DF60B798F}" type="pres">
      <dgm:prSet presAssocID="{66E48CF1-B2ED-4218-B009-473EB98C9602}" presName="node" presStyleLbl="node1" presStyleIdx="0" presStyleCnt="8">
        <dgm:presLayoutVars>
          <dgm:bulletEnabled val="1"/>
        </dgm:presLayoutVars>
      </dgm:prSet>
      <dgm:spPr/>
    </dgm:pt>
    <dgm:pt modelId="{3015E0B2-A482-4C0B-9E2F-B27442EB23FD}" type="pres">
      <dgm:prSet presAssocID="{A0A9DEA8-DD94-4EA0-B3A3-DD8FC591AB9D}" presName="sibTrans" presStyleCnt="0"/>
      <dgm:spPr/>
    </dgm:pt>
    <dgm:pt modelId="{E54ACC86-2877-4FD4-A6B7-A6E5CCA75187}" type="pres">
      <dgm:prSet presAssocID="{F8F9D2F4-0424-452D-A7C7-211FD6C1B239}" presName="node" presStyleLbl="node1" presStyleIdx="1" presStyleCnt="8">
        <dgm:presLayoutVars>
          <dgm:bulletEnabled val="1"/>
        </dgm:presLayoutVars>
      </dgm:prSet>
      <dgm:spPr/>
    </dgm:pt>
    <dgm:pt modelId="{FE7B7FF3-9B13-4167-B6D3-8759D0DA69B1}" type="pres">
      <dgm:prSet presAssocID="{D3217E6A-2C44-4007-9B41-50838F2F1B19}" presName="sibTrans" presStyleCnt="0"/>
      <dgm:spPr/>
    </dgm:pt>
    <dgm:pt modelId="{89ED5511-2D3A-4E27-823B-040B703FC375}" type="pres">
      <dgm:prSet presAssocID="{5CE4DBDE-27C1-4280-A3B9-0F52B931BAE7}" presName="node" presStyleLbl="node1" presStyleIdx="2" presStyleCnt="8">
        <dgm:presLayoutVars>
          <dgm:bulletEnabled val="1"/>
        </dgm:presLayoutVars>
      </dgm:prSet>
      <dgm:spPr/>
    </dgm:pt>
    <dgm:pt modelId="{F685DE68-25B8-4B37-8F4A-8933775E68A4}" type="pres">
      <dgm:prSet presAssocID="{03EE2BC7-47F5-4E50-9AD2-B9F5547E9367}" presName="sibTrans" presStyleCnt="0"/>
      <dgm:spPr/>
    </dgm:pt>
    <dgm:pt modelId="{187BD3B6-A0F2-40EA-A192-1CBBD4A5479B}" type="pres">
      <dgm:prSet presAssocID="{B67A37D6-31B7-4CFB-8826-F12BDBE9802A}" presName="node" presStyleLbl="node1" presStyleIdx="3" presStyleCnt="8">
        <dgm:presLayoutVars>
          <dgm:bulletEnabled val="1"/>
        </dgm:presLayoutVars>
      </dgm:prSet>
      <dgm:spPr/>
    </dgm:pt>
    <dgm:pt modelId="{76ABFF29-B7B0-4FD2-9238-37C05EF2802E}" type="pres">
      <dgm:prSet presAssocID="{49619E78-DFA8-45EE-9D4D-556AA644F287}" presName="sibTrans" presStyleCnt="0"/>
      <dgm:spPr/>
    </dgm:pt>
    <dgm:pt modelId="{BC8634FE-46AA-426B-89BE-6684BA4389B1}" type="pres">
      <dgm:prSet presAssocID="{F08C7C54-015E-4735-AF7B-965F4C8EB738}" presName="node" presStyleLbl="node1" presStyleIdx="4" presStyleCnt="8">
        <dgm:presLayoutVars>
          <dgm:bulletEnabled val="1"/>
        </dgm:presLayoutVars>
      </dgm:prSet>
      <dgm:spPr/>
    </dgm:pt>
    <dgm:pt modelId="{4413867F-2E25-4F75-BD81-2C262BBAA6BC}" type="pres">
      <dgm:prSet presAssocID="{2CD81C6F-6DB6-4B11-BE17-2133E4ED72B9}" presName="sibTrans" presStyleCnt="0"/>
      <dgm:spPr/>
    </dgm:pt>
    <dgm:pt modelId="{8ADC6ED9-E559-4D4A-9335-6F2B2C0CC786}" type="pres">
      <dgm:prSet presAssocID="{99DCF6C7-FF32-4F26-BD06-BF536023A1A4}" presName="node" presStyleLbl="node1" presStyleIdx="5" presStyleCnt="8">
        <dgm:presLayoutVars>
          <dgm:bulletEnabled val="1"/>
        </dgm:presLayoutVars>
      </dgm:prSet>
      <dgm:spPr/>
    </dgm:pt>
    <dgm:pt modelId="{A04D2EE7-9DBF-4409-ABE1-010A6ABC95E7}" type="pres">
      <dgm:prSet presAssocID="{8D77CA97-F742-4E15-9CB8-183857402228}" presName="sibTrans" presStyleCnt="0"/>
      <dgm:spPr/>
    </dgm:pt>
    <dgm:pt modelId="{A1E41EBD-E7F1-43FA-A11F-78116C4EED76}" type="pres">
      <dgm:prSet presAssocID="{13BB461E-360A-4FD5-93F5-A84AA84DE6E6}" presName="node" presStyleLbl="node1" presStyleIdx="6" presStyleCnt="8">
        <dgm:presLayoutVars>
          <dgm:bulletEnabled val="1"/>
        </dgm:presLayoutVars>
      </dgm:prSet>
      <dgm:spPr/>
    </dgm:pt>
    <dgm:pt modelId="{16796BDE-156E-4FB6-84B3-F71518620D4D}" type="pres">
      <dgm:prSet presAssocID="{7873EBB9-F6E8-42F3-AD18-7827EB56A069}" presName="sibTrans" presStyleCnt="0"/>
      <dgm:spPr/>
    </dgm:pt>
    <dgm:pt modelId="{8A0BC0DA-31E6-4910-8CC0-432DFA19B461}" type="pres">
      <dgm:prSet presAssocID="{FF9221C7-6F63-4A7F-9A66-3D6941B62037}" presName="node" presStyleLbl="node1" presStyleIdx="7" presStyleCnt="8">
        <dgm:presLayoutVars>
          <dgm:bulletEnabled val="1"/>
        </dgm:presLayoutVars>
      </dgm:prSet>
      <dgm:spPr/>
    </dgm:pt>
  </dgm:ptLst>
  <dgm:cxnLst>
    <dgm:cxn modelId="{0DDA7517-D57B-4009-A199-1E384DC331CC}" srcId="{B630335B-307B-4C11-9F6A-286220795882}" destId="{99DCF6C7-FF32-4F26-BD06-BF536023A1A4}" srcOrd="5" destOrd="0" parTransId="{4EC04E23-9AD4-4C24-B6CC-FA93F44F4329}" sibTransId="{8D77CA97-F742-4E15-9CB8-183857402228}"/>
    <dgm:cxn modelId="{BD9CD919-2593-4E18-B59D-098028A7177E}" srcId="{B630335B-307B-4C11-9F6A-286220795882}" destId="{F08C7C54-015E-4735-AF7B-965F4C8EB738}" srcOrd="4" destOrd="0" parTransId="{ECAF4A5B-6D25-4C74-8BB0-7987F984CC72}" sibTransId="{2CD81C6F-6DB6-4B11-BE17-2133E4ED72B9}"/>
    <dgm:cxn modelId="{0053891E-7F37-4BCE-98E0-25A7A160A1F2}" type="presOf" srcId="{5CE4DBDE-27C1-4280-A3B9-0F52B931BAE7}" destId="{89ED5511-2D3A-4E27-823B-040B703FC375}" srcOrd="0" destOrd="0" presId="urn:microsoft.com/office/officeart/2005/8/layout/default"/>
    <dgm:cxn modelId="{AFD40538-8C7D-40CB-B54D-C3C65A4B45AB}" srcId="{B630335B-307B-4C11-9F6A-286220795882}" destId="{5CE4DBDE-27C1-4280-A3B9-0F52B931BAE7}" srcOrd="2" destOrd="0" parTransId="{EBAA2230-F01D-4FB5-BCCC-DA28CEDBDB3C}" sibTransId="{03EE2BC7-47F5-4E50-9AD2-B9F5547E9367}"/>
    <dgm:cxn modelId="{19DF6145-C5DA-4974-A1BB-5558B975B85A}" srcId="{B630335B-307B-4C11-9F6A-286220795882}" destId="{F8F9D2F4-0424-452D-A7C7-211FD6C1B239}" srcOrd="1" destOrd="0" parTransId="{9D298CBB-2972-4D1D-B581-8A704796613C}" sibTransId="{D3217E6A-2C44-4007-9B41-50838F2F1B19}"/>
    <dgm:cxn modelId="{097CE96C-3595-4399-93E9-95C412120CEE}" type="presOf" srcId="{F08C7C54-015E-4735-AF7B-965F4C8EB738}" destId="{BC8634FE-46AA-426B-89BE-6684BA4389B1}" srcOrd="0" destOrd="0" presId="urn:microsoft.com/office/officeart/2005/8/layout/default"/>
    <dgm:cxn modelId="{F9FF316F-12CA-48FC-BB6D-3059BB377DED}" srcId="{B630335B-307B-4C11-9F6A-286220795882}" destId="{13BB461E-360A-4FD5-93F5-A84AA84DE6E6}" srcOrd="6" destOrd="0" parTransId="{B0E0429E-7E4C-4C66-BC34-05ABD9D5FCCD}" sibTransId="{7873EBB9-F6E8-42F3-AD18-7827EB56A069}"/>
    <dgm:cxn modelId="{05748151-6899-4E01-A091-4C2349774249}" type="presOf" srcId="{13BB461E-360A-4FD5-93F5-A84AA84DE6E6}" destId="{A1E41EBD-E7F1-43FA-A11F-78116C4EED76}" srcOrd="0" destOrd="0" presId="urn:microsoft.com/office/officeart/2005/8/layout/default"/>
    <dgm:cxn modelId="{4C41CA71-E747-4922-9D79-D1C8FA17115B}" srcId="{B630335B-307B-4C11-9F6A-286220795882}" destId="{B67A37D6-31B7-4CFB-8826-F12BDBE9802A}" srcOrd="3" destOrd="0" parTransId="{350D1676-46BB-4123-8D0F-BCDD9E44004B}" sibTransId="{49619E78-DFA8-45EE-9D4D-556AA644F287}"/>
    <dgm:cxn modelId="{EDCCD854-3602-477C-9ECD-1E6FD9AEDBAB}" type="presOf" srcId="{99DCF6C7-FF32-4F26-BD06-BF536023A1A4}" destId="{8ADC6ED9-E559-4D4A-9335-6F2B2C0CC786}" srcOrd="0" destOrd="0" presId="urn:microsoft.com/office/officeart/2005/8/layout/default"/>
    <dgm:cxn modelId="{B8FE1877-32BA-4ADE-9031-BDE1D2A276A9}" type="presOf" srcId="{66E48CF1-B2ED-4218-B009-473EB98C9602}" destId="{F48F9778-9CC2-4039-A838-CF9DF60B798F}" srcOrd="0" destOrd="0" presId="urn:microsoft.com/office/officeart/2005/8/layout/default"/>
    <dgm:cxn modelId="{42C7A978-B6A3-4482-90F3-732CBB171CF4}" type="presOf" srcId="{F8F9D2F4-0424-452D-A7C7-211FD6C1B239}" destId="{E54ACC86-2877-4FD4-A6B7-A6E5CCA75187}" srcOrd="0" destOrd="0" presId="urn:microsoft.com/office/officeart/2005/8/layout/default"/>
    <dgm:cxn modelId="{9A4BD297-A142-4DF7-81C8-F0E178E02592}" type="presOf" srcId="{FF9221C7-6F63-4A7F-9A66-3D6941B62037}" destId="{8A0BC0DA-31E6-4910-8CC0-432DFA19B461}" srcOrd="0" destOrd="0" presId="urn:microsoft.com/office/officeart/2005/8/layout/default"/>
    <dgm:cxn modelId="{701330EF-1240-4746-898A-1384245F747F}" srcId="{B630335B-307B-4C11-9F6A-286220795882}" destId="{66E48CF1-B2ED-4218-B009-473EB98C9602}" srcOrd="0" destOrd="0" parTransId="{2CE101EA-BE74-4815-AD81-F7DE680DE7B9}" sibTransId="{A0A9DEA8-DD94-4EA0-B3A3-DD8FC591AB9D}"/>
    <dgm:cxn modelId="{FD9C31F7-09FE-45DF-97F5-7831188C8C55}" srcId="{B630335B-307B-4C11-9F6A-286220795882}" destId="{FF9221C7-6F63-4A7F-9A66-3D6941B62037}" srcOrd="7" destOrd="0" parTransId="{BCBE74FB-7B20-4653-955F-1BE6798EA8C8}" sibTransId="{E912691E-CF9C-49B0-BDED-7A61640729CD}"/>
    <dgm:cxn modelId="{C39AB1F8-90DD-4E04-8A8B-6E0AFEF247EE}" type="presOf" srcId="{B630335B-307B-4C11-9F6A-286220795882}" destId="{689A87B8-E3BB-43ED-B2C7-F1532B843AE2}" srcOrd="0" destOrd="0" presId="urn:microsoft.com/office/officeart/2005/8/layout/default"/>
    <dgm:cxn modelId="{5EEC8CFB-DC73-4C95-B479-332A3E283107}" type="presOf" srcId="{B67A37D6-31B7-4CFB-8826-F12BDBE9802A}" destId="{187BD3B6-A0F2-40EA-A192-1CBBD4A5479B}" srcOrd="0" destOrd="0" presId="urn:microsoft.com/office/officeart/2005/8/layout/default"/>
    <dgm:cxn modelId="{3D5EAC77-FDE2-4E57-BAA1-1E9B3C2BA097}" type="presParOf" srcId="{689A87B8-E3BB-43ED-B2C7-F1532B843AE2}" destId="{F48F9778-9CC2-4039-A838-CF9DF60B798F}" srcOrd="0" destOrd="0" presId="urn:microsoft.com/office/officeart/2005/8/layout/default"/>
    <dgm:cxn modelId="{1D3B7F33-C3FF-4F0F-84B9-F49CB4CF0FA3}" type="presParOf" srcId="{689A87B8-E3BB-43ED-B2C7-F1532B843AE2}" destId="{3015E0B2-A482-4C0B-9E2F-B27442EB23FD}" srcOrd="1" destOrd="0" presId="urn:microsoft.com/office/officeart/2005/8/layout/default"/>
    <dgm:cxn modelId="{0D75912B-684C-47BD-993D-57D11CD472C6}" type="presParOf" srcId="{689A87B8-E3BB-43ED-B2C7-F1532B843AE2}" destId="{E54ACC86-2877-4FD4-A6B7-A6E5CCA75187}" srcOrd="2" destOrd="0" presId="urn:microsoft.com/office/officeart/2005/8/layout/default"/>
    <dgm:cxn modelId="{B07FE2B7-5CC2-4820-BBD7-A209CD34F694}" type="presParOf" srcId="{689A87B8-E3BB-43ED-B2C7-F1532B843AE2}" destId="{FE7B7FF3-9B13-4167-B6D3-8759D0DA69B1}" srcOrd="3" destOrd="0" presId="urn:microsoft.com/office/officeart/2005/8/layout/default"/>
    <dgm:cxn modelId="{B8143D8A-DD73-49E6-AABE-92E324FDDF1D}" type="presParOf" srcId="{689A87B8-E3BB-43ED-B2C7-F1532B843AE2}" destId="{89ED5511-2D3A-4E27-823B-040B703FC375}" srcOrd="4" destOrd="0" presId="urn:microsoft.com/office/officeart/2005/8/layout/default"/>
    <dgm:cxn modelId="{D53F2871-4C3B-4E81-940E-A05A33D2B059}" type="presParOf" srcId="{689A87B8-E3BB-43ED-B2C7-F1532B843AE2}" destId="{F685DE68-25B8-4B37-8F4A-8933775E68A4}" srcOrd="5" destOrd="0" presId="urn:microsoft.com/office/officeart/2005/8/layout/default"/>
    <dgm:cxn modelId="{C274C781-2523-47AC-BEA4-7BFE1BFBE379}" type="presParOf" srcId="{689A87B8-E3BB-43ED-B2C7-F1532B843AE2}" destId="{187BD3B6-A0F2-40EA-A192-1CBBD4A5479B}" srcOrd="6" destOrd="0" presId="urn:microsoft.com/office/officeart/2005/8/layout/default"/>
    <dgm:cxn modelId="{B7299A53-6CA0-4BF3-A7E5-D7E35EDD9D2C}" type="presParOf" srcId="{689A87B8-E3BB-43ED-B2C7-F1532B843AE2}" destId="{76ABFF29-B7B0-4FD2-9238-37C05EF2802E}" srcOrd="7" destOrd="0" presId="urn:microsoft.com/office/officeart/2005/8/layout/default"/>
    <dgm:cxn modelId="{C4FD04D7-00BB-43F5-A60D-F741E7377F9B}" type="presParOf" srcId="{689A87B8-E3BB-43ED-B2C7-F1532B843AE2}" destId="{BC8634FE-46AA-426B-89BE-6684BA4389B1}" srcOrd="8" destOrd="0" presId="urn:microsoft.com/office/officeart/2005/8/layout/default"/>
    <dgm:cxn modelId="{2C38F517-B407-4273-BA92-823F31D9B55F}" type="presParOf" srcId="{689A87B8-E3BB-43ED-B2C7-F1532B843AE2}" destId="{4413867F-2E25-4F75-BD81-2C262BBAA6BC}" srcOrd="9" destOrd="0" presId="urn:microsoft.com/office/officeart/2005/8/layout/default"/>
    <dgm:cxn modelId="{9D67F63A-5CCE-4C22-9B90-028EC961480D}" type="presParOf" srcId="{689A87B8-E3BB-43ED-B2C7-F1532B843AE2}" destId="{8ADC6ED9-E559-4D4A-9335-6F2B2C0CC786}" srcOrd="10" destOrd="0" presId="urn:microsoft.com/office/officeart/2005/8/layout/default"/>
    <dgm:cxn modelId="{1CCDFA9C-B2F7-4484-983C-8802624BA025}" type="presParOf" srcId="{689A87B8-E3BB-43ED-B2C7-F1532B843AE2}" destId="{A04D2EE7-9DBF-4409-ABE1-010A6ABC95E7}" srcOrd="11" destOrd="0" presId="urn:microsoft.com/office/officeart/2005/8/layout/default"/>
    <dgm:cxn modelId="{947FC478-1637-48C4-923E-E1EB5F08581C}" type="presParOf" srcId="{689A87B8-E3BB-43ED-B2C7-F1532B843AE2}" destId="{A1E41EBD-E7F1-43FA-A11F-78116C4EED76}" srcOrd="12" destOrd="0" presId="urn:microsoft.com/office/officeart/2005/8/layout/default"/>
    <dgm:cxn modelId="{C12E1354-769D-455B-8B25-DB820BCF4B14}" type="presParOf" srcId="{689A87B8-E3BB-43ED-B2C7-F1532B843AE2}" destId="{16796BDE-156E-4FB6-84B3-F71518620D4D}" srcOrd="13" destOrd="0" presId="urn:microsoft.com/office/officeart/2005/8/layout/default"/>
    <dgm:cxn modelId="{1E830C32-B1B2-4D29-BC77-5990198F5107}" type="presParOf" srcId="{689A87B8-E3BB-43ED-B2C7-F1532B843AE2}" destId="{8A0BC0DA-31E6-4910-8CC0-432DFA19B461}"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A218AA2C-5AB7-4D23-A646-1E7B5861A87F}" type="doc">
      <dgm:prSet loTypeId="urn:microsoft.com/office/officeart/2005/8/layout/hList1" loCatId="list" qsTypeId="urn:microsoft.com/office/officeart/2005/8/quickstyle/simple1" qsCatId="simple" csTypeId="urn:microsoft.com/office/officeart/2005/8/colors/accent1_2" csCatId="accent1"/>
      <dgm:spPr/>
      <dgm:t>
        <a:bodyPr/>
        <a:lstStyle/>
        <a:p>
          <a:endParaRPr lang="en-US"/>
        </a:p>
      </dgm:t>
    </dgm:pt>
    <dgm:pt modelId="{540424F4-F450-48A0-9561-3C10F6D57F8E}">
      <dgm:prSet/>
      <dgm:spPr/>
      <dgm:t>
        <a:bodyPr/>
        <a:lstStyle/>
        <a:p>
          <a:r>
            <a:rPr lang="en-US" b="1" baseline="0"/>
            <a:t>Service-managed transparent data encryption</a:t>
          </a:r>
          <a:endParaRPr lang="en-US" b="1"/>
        </a:p>
      </dgm:t>
    </dgm:pt>
    <dgm:pt modelId="{C3A34E64-6962-4AE6-98B6-0057E237B163}" type="parTrans" cxnId="{70E55BD1-D3B8-4578-8F7D-54B28B565318}">
      <dgm:prSet/>
      <dgm:spPr/>
      <dgm:t>
        <a:bodyPr/>
        <a:lstStyle/>
        <a:p>
          <a:endParaRPr lang="en-US"/>
        </a:p>
      </dgm:t>
    </dgm:pt>
    <dgm:pt modelId="{06D7516E-BDA3-4EB3-BBA7-2BD6AEBAA53A}" type="sibTrans" cxnId="{70E55BD1-D3B8-4578-8F7D-54B28B565318}">
      <dgm:prSet/>
      <dgm:spPr/>
      <dgm:t>
        <a:bodyPr/>
        <a:lstStyle/>
        <a:p>
          <a:endParaRPr lang="en-US"/>
        </a:p>
      </dgm:t>
    </dgm:pt>
    <dgm:pt modelId="{A3EB9351-EB0A-4C26-808F-73DB4A0D0B89}">
      <dgm:prSet/>
      <dgm:spPr/>
      <dgm:t>
        <a:bodyPr/>
        <a:lstStyle/>
        <a:p>
          <a:r>
            <a:rPr lang="en-US" baseline="0"/>
            <a:t>The database encryption key is protected by a built-in server certificate.</a:t>
          </a:r>
          <a:endParaRPr lang="en-US"/>
        </a:p>
      </dgm:t>
    </dgm:pt>
    <dgm:pt modelId="{71E5B567-D7A1-4741-A32F-887FB803A71D}" type="parTrans" cxnId="{D370ECB3-CCA4-443F-AE57-8246B92ADD5C}">
      <dgm:prSet/>
      <dgm:spPr/>
      <dgm:t>
        <a:bodyPr/>
        <a:lstStyle/>
        <a:p>
          <a:endParaRPr lang="en-US"/>
        </a:p>
      </dgm:t>
    </dgm:pt>
    <dgm:pt modelId="{4F21A482-B4CD-49CB-9877-11B0FA29A2CA}" type="sibTrans" cxnId="{D370ECB3-CCA4-443F-AE57-8246B92ADD5C}">
      <dgm:prSet/>
      <dgm:spPr/>
      <dgm:t>
        <a:bodyPr/>
        <a:lstStyle/>
        <a:p>
          <a:endParaRPr lang="en-US"/>
        </a:p>
      </dgm:t>
    </dgm:pt>
    <dgm:pt modelId="{5810A583-8F04-4443-86A9-EBD13343F2E2}">
      <dgm:prSet/>
      <dgm:spPr/>
      <dgm:t>
        <a:bodyPr/>
        <a:lstStyle/>
        <a:p>
          <a:r>
            <a:rPr lang="en-US" baseline="0" dirty="0"/>
            <a:t>Unique for each server.</a:t>
          </a:r>
          <a:endParaRPr lang="en-US" dirty="0"/>
        </a:p>
      </dgm:t>
    </dgm:pt>
    <dgm:pt modelId="{BA8F715F-EB6A-4BEE-9B79-DFA27B09ED74}" type="parTrans" cxnId="{0D306815-D8D1-4AE9-A9CC-7B75A5009FE4}">
      <dgm:prSet/>
      <dgm:spPr/>
      <dgm:t>
        <a:bodyPr/>
        <a:lstStyle/>
        <a:p>
          <a:endParaRPr lang="en-US"/>
        </a:p>
      </dgm:t>
    </dgm:pt>
    <dgm:pt modelId="{753F19C8-4B42-4F2F-919B-07242C383CC1}" type="sibTrans" cxnId="{0D306815-D8D1-4AE9-A9CC-7B75A5009FE4}">
      <dgm:prSet/>
      <dgm:spPr/>
      <dgm:t>
        <a:bodyPr/>
        <a:lstStyle/>
        <a:p>
          <a:endParaRPr lang="en-US"/>
        </a:p>
      </dgm:t>
    </dgm:pt>
    <dgm:pt modelId="{9183159A-71E0-4180-B017-53D773FAFFDA}">
      <dgm:prSet/>
      <dgm:spPr/>
      <dgm:t>
        <a:bodyPr/>
        <a:lstStyle/>
        <a:p>
          <a:r>
            <a:rPr lang="en-US" baseline="0"/>
            <a:t>Primary and geo-secondary database are protected by the primary database's parent server key.</a:t>
          </a:r>
          <a:endParaRPr lang="en-US"/>
        </a:p>
      </dgm:t>
    </dgm:pt>
    <dgm:pt modelId="{70303A36-3FC3-46A7-8D55-FEC09467DECA}" type="parTrans" cxnId="{525E81C1-E5F6-4154-8A30-B1CE7AD4140C}">
      <dgm:prSet/>
      <dgm:spPr/>
      <dgm:t>
        <a:bodyPr/>
        <a:lstStyle/>
        <a:p>
          <a:endParaRPr lang="en-US"/>
        </a:p>
      </dgm:t>
    </dgm:pt>
    <dgm:pt modelId="{D1C65370-DC7A-4F76-AA2A-163DBC7913A8}" type="sibTrans" cxnId="{525E81C1-E5F6-4154-8A30-B1CE7AD4140C}">
      <dgm:prSet/>
      <dgm:spPr/>
      <dgm:t>
        <a:bodyPr/>
        <a:lstStyle/>
        <a:p>
          <a:endParaRPr lang="en-US"/>
        </a:p>
      </dgm:t>
    </dgm:pt>
    <dgm:pt modelId="{C2EC22E5-C4C1-4087-8D44-353D92515356}">
      <dgm:prSet/>
      <dgm:spPr/>
      <dgm:t>
        <a:bodyPr/>
        <a:lstStyle/>
        <a:p>
          <a:r>
            <a:rPr lang="en-US" baseline="0"/>
            <a:t>Microsoft automatically rotates these certificates at least every 90 days.</a:t>
          </a:r>
          <a:endParaRPr lang="en-US"/>
        </a:p>
      </dgm:t>
    </dgm:pt>
    <dgm:pt modelId="{D6B4FB4F-1BD0-49D4-A38A-1D42AB8ED406}" type="parTrans" cxnId="{1DA675D8-5849-4739-B50B-BDB14EFE28C1}">
      <dgm:prSet/>
      <dgm:spPr/>
      <dgm:t>
        <a:bodyPr/>
        <a:lstStyle/>
        <a:p>
          <a:endParaRPr lang="en-US"/>
        </a:p>
      </dgm:t>
    </dgm:pt>
    <dgm:pt modelId="{E7DED2AF-1707-479E-B790-B72C6A07C8EF}" type="sibTrans" cxnId="{1DA675D8-5849-4739-B50B-BDB14EFE28C1}">
      <dgm:prSet/>
      <dgm:spPr/>
      <dgm:t>
        <a:bodyPr/>
        <a:lstStyle/>
        <a:p>
          <a:endParaRPr lang="en-US"/>
        </a:p>
      </dgm:t>
    </dgm:pt>
    <dgm:pt modelId="{44DDDDC5-6D5F-483F-8820-01EDB249AC35}">
      <dgm:prSet/>
      <dgm:spPr/>
      <dgm:t>
        <a:bodyPr/>
        <a:lstStyle/>
        <a:p>
          <a:r>
            <a:rPr lang="en-US" b="1" baseline="0"/>
            <a:t>Bring Your Own Key</a:t>
          </a:r>
          <a:endParaRPr lang="en-US" b="1"/>
        </a:p>
      </dgm:t>
    </dgm:pt>
    <dgm:pt modelId="{08A49BA1-2CD4-4C12-9019-6A8C64620690}" type="parTrans" cxnId="{C0B75165-310A-408C-B526-ED101870E8C1}">
      <dgm:prSet/>
      <dgm:spPr/>
      <dgm:t>
        <a:bodyPr/>
        <a:lstStyle/>
        <a:p>
          <a:endParaRPr lang="en-US"/>
        </a:p>
      </dgm:t>
    </dgm:pt>
    <dgm:pt modelId="{4FE46A33-7136-406D-839A-F307432693FA}" type="sibTrans" cxnId="{C0B75165-310A-408C-B526-ED101870E8C1}">
      <dgm:prSet/>
      <dgm:spPr/>
      <dgm:t>
        <a:bodyPr/>
        <a:lstStyle/>
        <a:p>
          <a:endParaRPr lang="en-US"/>
        </a:p>
      </dgm:t>
    </dgm:pt>
    <dgm:pt modelId="{495A95CF-5D66-407B-8D7C-67ECBD1658AE}">
      <dgm:prSet/>
      <dgm:spPr/>
      <dgm:t>
        <a:bodyPr/>
        <a:lstStyle/>
        <a:p>
          <a:r>
            <a:rPr lang="en-US" baseline="0"/>
            <a:t>Take control over your transparent data encryption keys and control who can access them and when.</a:t>
          </a:r>
          <a:endParaRPr lang="en-US"/>
        </a:p>
      </dgm:t>
    </dgm:pt>
    <dgm:pt modelId="{0EC4346C-8936-46A4-9E42-18D3B77EC355}" type="parTrans" cxnId="{1266FAFA-B080-4844-A025-B746ABF3A1BD}">
      <dgm:prSet/>
      <dgm:spPr/>
      <dgm:t>
        <a:bodyPr/>
        <a:lstStyle/>
        <a:p>
          <a:endParaRPr lang="en-US"/>
        </a:p>
      </dgm:t>
    </dgm:pt>
    <dgm:pt modelId="{B74BC1C3-B06E-4C19-8377-F4F8316340B8}" type="sibTrans" cxnId="{1266FAFA-B080-4844-A025-B746ABF3A1BD}">
      <dgm:prSet/>
      <dgm:spPr/>
      <dgm:t>
        <a:bodyPr/>
        <a:lstStyle/>
        <a:p>
          <a:endParaRPr lang="en-US"/>
        </a:p>
      </dgm:t>
    </dgm:pt>
    <dgm:pt modelId="{7D0E1AB0-2325-4919-AFDE-BBA266211364}">
      <dgm:prSet/>
      <dgm:spPr/>
      <dgm:t>
        <a:bodyPr/>
        <a:lstStyle/>
        <a:p>
          <a:r>
            <a:rPr lang="en-US" baseline="0"/>
            <a:t>Azure Key Vault.</a:t>
          </a:r>
          <a:endParaRPr lang="en-US"/>
        </a:p>
      </dgm:t>
    </dgm:pt>
    <dgm:pt modelId="{8FD07746-3842-4761-B529-220561A5971F}" type="parTrans" cxnId="{575B9C4F-CADF-407A-8DE3-90A6833FC8F7}">
      <dgm:prSet/>
      <dgm:spPr/>
      <dgm:t>
        <a:bodyPr/>
        <a:lstStyle/>
        <a:p>
          <a:endParaRPr lang="en-US"/>
        </a:p>
      </dgm:t>
    </dgm:pt>
    <dgm:pt modelId="{8EB49139-7A10-4DFE-8623-A216B4ED309F}" type="sibTrans" cxnId="{575B9C4F-CADF-407A-8DE3-90A6833FC8F7}">
      <dgm:prSet/>
      <dgm:spPr/>
      <dgm:t>
        <a:bodyPr/>
        <a:lstStyle/>
        <a:p>
          <a:endParaRPr lang="en-US"/>
        </a:p>
      </dgm:t>
    </dgm:pt>
    <dgm:pt modelId="{52D4D899-7332-465B-8F6D-19CA35CF8556}">
      <dgm:prSet/>
      <dgm:spPr/>
      <dgm:t>
        <a:bodyPr/>
        <a:lstStyle/>
        <a:p>
          <a:r>
            <a:rPr lang="en-US" baseline="0" dirty="0"/>
            <a:t>You set the asymmetric key at the server level, and all databases under that server inherit it.</a:t>
          </a:r>
          <a:endParaRPr lang="en-US" dirty="0"/>
        </a:p>
      </dgm:t>
    </dgm:pt>
    <dgm:pt modelId="{F3F970B6-2896-4770-B403-E62450D45247}" type="parTrans" cxnId="{2BF49CF0-39AE-45C1-B0B0-7C5D21C75478}">
      <dgm:prSet/>
      <dgm:spPr/>
      <dgm:t>
        <a:bodyPr/>
        <a:lstStyle/>
        <a:p>
          <a:endParaRPr lang="en-US"/>
        </a:p>
      </dgm:t>
    </dgm:pt>
    <dgm:pt modelId="{F9EC23FB-0F92-4663-98B5-46594D88D066}" type="sibTrans" cxnId="{2BF49CF0-39AE-45C1-B0B0-7C5D21C75478}">
      <dgm:prSet/>
      <dgm:spPr/>
      <dgm:t>
        <a:bodyPr/>
        <a:lstStyle/>
        <a:p>
          <a:endParaRPr lang="en-US"/>
        </a:p>
      </dgm:t>
    </dgm:pt>
    <dgm:pt modelId="{4688FC13-5B3C-42C7-98D9-45DC1A9745E7}">
      <dgm:prSet/>
      <dgm:spPr/>
      <dgm:t>
        <a:bodyPr/>
        <a:lstStyle/>
        <a:p>
          <a:r>
            <a:rPr lang="en-US" baseline="0"/>
            <a:t>You can control key management tasks such as key rotations and key vault permissions. </a:t>
          </a:r>
          <a:endParaRPr lang="en-US"/>
        </a:p>
      </dgm:t>
    </dgm:pt>
    <dgm:pt modelId="{505FB751-A579-43B2-8D1A-F7BB3CC0E684}" type="parTrans" cxnId="{EAEFE4BF-D36F-4158-AAD9-4234B634FE78}">
      <dgm:prSet/>
      <dgm:spPr/>
      <dgm:t>
        <a:bodyPr/>
        <a:lstStyle/>
        <a:p>
          <a:endParaRPr lang="en-US"/>
        </a:p>
      </dgm:t>
    </dgm:pt>
    <dgm:pt modelId="{34E485A2-7B9F-495F-80B0-B97A6155E5EE}" type="sibTrans" cxnId="{EAEFE4BF-D36F-4158-AAD9-4234B634FE78}">
      <dgm:prSet/>
      <dgm:spPr/>
      <dgm:t>
        <a:bodyPr/>
        <a:lstStyle/>
        <a:p>
          <a:endParaRPr lang="en-US"/>
        </a:p>
      </dgm:t>
    </dgm:pt>
    <dgm:pt modelId="{B00BF22C-74A2-48DE-9413-221DB103ABCE}" type="pres">
      <dgm:prSet presAssocID="{A218AA2C-5AB7-4D23-A646-1E7B5861A87F}" presName="Name0" presStyleCnt="0">
        <dgm:presLayoutVars>
          <dgm:dir/>
          <dgm:animLvl val="lvl"/>
          <dgm:resizeHandles val="exact"/>
        </dgm:presLayoutVars>
      </dgm:prSet>
      <dgm:spPr/>
    </dgm:pt>
    <dgm:pt modelId="{FFACF131-658D-42AB-B5C1-F8A50248045C}" type="pres">
      <dgm:prSet presAssocID="{540424F4-F450-48A0-9561-3C10F6D57F8E}" presName="composite" presStyleCnt="0"/>
      <dgm:spPr/>
    </dgm:pt>
    <dgm:pt modelId="{1AC8F2EA-2928-4B44-AE21-184C2A5CF7A5}" type="pres">
      <dgm:prSet presAssocID="{540424F4-F450-48A0-9561-3C10F6D57F8E}" presName="parTx" presStyleLbl="alignNode1" presStyleIdx="0" presStyleCnt="2">
        <dgm:presLayoutVars>
          <dgm:chMax val="0"/>
          <dgm:chPref val="0"/>
          <dgm:bulletEnabled val="1"/>
        </dgm:presLayoutVars>
      </dgm:prSet>
      <dgm:spPr/>
    </dgm:pt>
    <dgm:pt modelId="{E72943CF-2BAA-44EA-B4B4-D05E5B74E157}" type="pres">
      <dgm:prSet presAssocID="{540424F4-F450-48A0-9561-3C10F6D57F8E}" presName="desTx" presStyleLbl="alignAccFollowNode1" presStyleIdx="0" presStyleCnt="2">
        <dgm:presLayoutVars>
          <dgm:bulletEnabled val="1"/>
        </dgm:presLayoutVars>
      </dgm:prSet>
      <dgm:spPr/>
    </dgm:pt>
    <dgm:pt modelId="{1769E861-D048-4B17-8AE1-78449897B2D1}" type="pres">
      <dgm:prSet presAssocID="{06D7516E-BDA3-4EB3-BBA7-2BD6AEBAA53A}" presName="space" presStyleCnt="0"/>
      <dgm:spPr/>
    </dgm:pt>
    <dgm:pt modelId="{EEE2CBC8-3B71-43EB-BBA5-78E65444DF74}" type="pres">
      <dgm:prSet presAssocID="{44DDDDC5-6D5F-483F-8820-01EDB249AC35}" presName="composite" presStyleCnt="0"/>
      <dgm:spPr/>
    </dgm:pt>
    <dgm:pt modelId="{050257C2-C3D7-4B74-8569-ABABE0E413CC}" type="pres">
      <dgm:prSet presAssocID="{44DDDDC5-6D5F-483F-8820-01EDB249AC35}" presName="parTx" presStyleLbl="alignNode1" presStyleIdx="1" presStyleCnt="2">
        <dgm:presLayoutVars>
          <dgm:chMax val="0"/>
          <dgm:chPref val="0"/>
          <dgm:bulletEnabled val="1"/>
        </dgm:presLayoutVars>
      </dgm:prSet>
      <dgm:spPr/>
    </dgm:pt>
    <dgm:pt modelId="{3C1F1FFF-B497-4C04-BEC7-4B246574C49C}" type="pres">
      <dgm:prSet presAssocID="{44DDDDC5-6D5F-483F-8820-01EDB249AC35}" presName="desTx" presStyleLbl="alignAccFollowNode1" presStyleIdx="1" presStyleCnt="2">
        <dgm:presLayoutVars>
          <dgm:bulletEnabled val="1"/>
        </dgm:presLayoutVars>
      </dgm:prSet>
      <dgm:spPr/>
    </dgm:pt>
  </dgm:ptLst>
  <dgm:cxnLst>
    <dgm:cxn modelId="{0610F00D-1ACA-4600-9DB3-566421D0295B}" type="presOf" srcId="{540424F4-F450-48A0-9561-3C10F6D57F8E}" destId="{1AC8F2EA-2928-4B44-AE21-184C2A5CF7A5}" srcOrd="0" destOrd="0" presId="urn:microsoft.com/office/officeart/2005/8/layout/hList1"/>
    <dgm:cxn modelId="{0D306815-D8D1-4AE9-A9CC-7B75A5009FE4}" srcId="{540424F4-F450-48A0-9561-3C10F6D57F8E}" destId="{5810A583-8F04-4443-86A9-EBD13343F2E2}" srcOrd="1" destOrd="0" parTransId="{BA8F715F-EB6A-4BEE-9B79-DFA27B09ED74}" sibTransId="{753F19C8-4B42-4F2F-919B-07242C383CC1}"/>
    <dgm:cxn modelId="{2D113A31-1A48-4C98-8917-647C53AC2520}" type="presOf" srcId="{52D4D899-7332-465B-8F6D-19CA35CF8556}" destId="{3C1F1FFF-B497-4C04-BEC7-4B246574C49C}" srcOrd="0" destOrd="2" presId="urn:microsoft.com/office/officeart/2005/8/layout/hList1"/>
    <dgm:cxn modelId="{E8FE9B64-E019-456C-A044-69C62151BEBB}" type="presOf" srcId="{A218AA2C-5AB7-4D23-A646-1E7B5861A87F}" destId="{B00BF22C-74A2-48DE-9413-221DB103ABCE}" srcOrd="0" destOrd="0" presId="urn:microsoft.com/office/officeart/2005/8/layout/hList1"/>
    <dgm:cxn modelId="{C0B75165-310A-408C-B526-ED101870E8C1}" srcId="{A218AA2C-5AB7-4D23-A646-1E7B5861A87F}" destId="{44DDDDC5-6D5F-483F-8820-01EDB249AC35}" srcOrd="1" destOrd="0" parTransId="{08A49BA1-2CD4-4C12-9019-6A8C64620690}" sibTransId="{4FE46A33-7136-406D-839A-F307432693FA}"/>
    <dgm:cxn modelId="{ADA1716E-8DA1-480C-B331-EEB8D68BFB6C}" type="presOf" srcId="{C2EC22E5-C4C1-4087-8D44-353D92515356}" destId="{E72943CF-2BAA-44EA-B4B4-D05E5B74E157}" srcOrd="0" destOrd="3" presId="urn:microsoft.com/office/officeart/2005/8/layout/hList1"/>
    <dgm:cxn modelId="{575B9C4F-CADF-407A-8DE3-90A6833FC8F7}" srcId="{44DDDDC5-6D5F-483F-8820-01EDB249AC35}" destId="{7D0E1AB0-2325-4919-AFDE-BBA266211364}" srcOrd="1" destOrd="0" parTransId="{8FD07746-3842-4761-B529-220561A5971F}" sibTransId="{8EB49139-7A10-4DFE-8623-A216B4ED309F}"/>
    <dgm:cxn modelId="{7985A76F-E82A-4754-BC90-5D787D216F45}" type="presOf" srcId="{44DDDDC5-6D5F-483F-8820-01EDB249AC35}" destId="{050257C2-C3D7-4B74-8569-ABABE0E413CC}" srcOrd="0" destOrd="0" presId="urn:microsoft.com/office/officeart/2005/8/layout/hList1"/>
    <dgm:cxn modelId="{34903359-C11A-4685-A8A6-FB9CF1DD09F8}" type="presOf" srcId="{7D0E1AB0-2325-4919-AFDE-BBA266211364}" destId="{3C1F1FFF-B497-4C04-BEC7-4B246574C49C}" srcOrd="0" destOrd="1" presId="urn:microsoft.com/office/officeart/2005/8/layout/hList1"/>
    <dgm:cxn modelId="{49A6A2AF-4795-4C3B-886A-846B9694542A}" type="presOf" srcId="{4688FC13-5B3C-42C7-98D9-45DC1A9745E7}" destId="{3C1F1FFF-B497-4C04-BEC7-4B246574C49C}" srcOrd="0" destOrd="3" presId="urn:microsoft.com/office/officeart/2005/8/layout/hList1"/>
    <dgm:cxn modelId="{D370ECB3-CCA4-443F-AE57-8246B92ADD5C}" srcId="{540424F4-F450-48A0-9561-3C10F6D57F8E}" destId="{A3EB9351-EB0A-4C26-808F-73DB4A0D0B89}" srcOrd="0" destOrd="0" parTransId="{71E5B567-D7A1-4741-A32F-887FB803A71D}" sibTransId="{4F21A482-B4CD-49CB-9877-11B0FA29A2CA}"/>
    <dgm:cxn modelId="{EAEFE4BF-D36F-4158-AAD9-4234B634FE78}" srcId="{44DDDDC5-6D5F-483F-8820-01EDB249AC35}" destId="{4688FC13-5B3C-42C7-98D9-45DC1A9745E7}" srcOrd="3" destOrd="0" parTransId="{505FB751-A579-43B2-8D1A-F7BB3CC0E684}" sibTransId="{34E485A2-7B9F-495F-80B0-B97A6155E5EE}"/>
    <dgm:cxn modelId="{525E81C1-E5F6-4154-8A30-B1CE7AD4140C}" srcId="{540424F4-F450-48A0-9561-3C10F6D57F8E}" destId="{9183159A-71E0-4180-B017-53D773FAFFDA}" srcOrd="2" destOrd="0" parTransId="{70303A36-3FC3-46A7-8D55-FEC09467DECA}" sibTransId="{D1C65370-DC7A-4F76-AA2A-163DBC7913A8}"/>
    <dgm:cxn modelId="{2086ADC5-7760-4896-8B68-B8344D9A93D2}" type="presOf" srcId="{5810A583-8F04-4443-86A9-EBD13343F2E2}" destId="{E72943CF-2BAA-44EA-B4B4-D05E5B74E157}" srcOrd="0" destOrd="1" presId="urn:microsoft.com/office/officeart/2005/8/layout/hList1"/>
    <dgm:cxn modelId="{39FD4DC8-7D62-4C3B-8594-9D2ECE29A83C}" type="presOf" srcId="{495A95CF-5D66-407B-8D7C-67ECBD1658AE}" destId="{3C1F1FFF-B497-4C04-BEC7-4B246574C49C}" srcOrd="0" destOrd="0" presId="urn:microsoft.com/office/officeart/2005/8/layout/hList1"/>
    <dgm:cxn modelId="{70E55BD1-D3B8-4578-8F7D-54B28B565318}" srcId="{A218AA2C-5AB7-4D23-A646-1E7B5861A87F}" destId="{540424F4-F450-48A0-9561-3C10F6D57F8E}" srcOrd="0" destOrd="0" parTransId="{C3A34E64-6962-4AE6-98B6-0057E237B163}" sibTransId="{06D7516E-BDA3-4EB3-BBA7-2BD6AEBAA53A}"/>
    <dgm:cxn modelId="{1DA675D8-5849-4739-B50B-BDB14EFE28C1}" srcId="{540424F4-F450-48A0-9561-3C10F6D57F8E}" destId="{C2EC22E5-C4C1-4087-8D44-353D92515356}" srcOrd="3" destOrd="0" parTransId="{D6B4FB4F-1BD0-49D4-A38A-1D42AB8ED406}" sibTransId="{E7DED2AF-1707-479E-B790-B72C6A07C8EF}"/>
    <dgm:cxn modelId="{2BF49CF0-39AE-45C1-B0B0-7C5D21C75478}" srcId="{44DDDDC5-6D5F-483F-8820-01EDB249AC35}" destId="{52D4D899-7332-465B-8F6D-19CA35CF8556}" srcOrd="2" destOrd="0" parTransId="{F3F970B6-2896-4770-B403-E62450D45247}" sibTransId="{F9EC23FB-0F92-4663-98B5-46594D88D066}"/>
    <dgm:cxn modelId="{E1A3C5F0-B5B3-4582-A019-DB2C3BDFC55B}" type="presOf" srcId="{A3EB9351-EB0A-4C26-808F-73DB4A0D0B89}" destId="{E72943CF-2BAA-44EA-B4B4-D05E5B74E157}" srcOrd="0" destOrd="0" presId="urn:microsoft.com/office/officeart/2005/8/layout/hList1"/>
    <dgm:cxn modelId="{1266FAFA-B080-4844-A025-B746ABF3A1BD}" srcId="{44DDDDC5-6D5F-483F-8820-01EDB249AC35}" destId="{495A95CF-5D66-407B-8D7C-67ECBD1658AE}" srcOrd="0" destOrd="0" parTransId="{0EC4346C-8936-46A4-9E42-18D3B77EC355}" sibTransId="{B74BC1C3-B06E-4C19-8377-F4F8316340B8}"/>
    <dgm:cxn modelId="{BF7B05FE-861C-4291-8D24-17B2B0992000}" type="presOf" srcId="{9183159A-71E0-4180-B017-53D773FAFFDA}" destId="{E72943CF-2BAA-44EA-B4B4-D05E5B74E157}" srcOrd="0" destOrd="2" presId="urn:microsoft.com/office/officeart/2005/8/layout/hList1"/>
    <dgm:cxn modelId="{B044A8E4-90D3-45C5-BEB6-886284A95BC1}" type="presParOf" srcId="{B00BF22C-74A2-48DE-9413-221DB103ABCE}" destId="{FFACF131-658D-42AB-B5C1-F8A50248045C}" srcOrd="0" destOrd="0" presId="urn:microsoft.com/office/officeart/2005/8/layout/hList1"/>
    <dgm:cxn modelId="{3FCF3184-17EE-4CF3-8103-4C8940324BEB}" type="presParOf" srcId="{FFACF131-658D-42AB-B5C1-F8A50248045C}" destId="{1AC8F2EA-2928-4B44-AE21-184C2A5CF7A5}" srcOrd="0" destOrd="0" presId="urn:microsoft.com/office/officeart/2005/8/layout/hList1"/>
    <dgm:cxn modelId="{839DA9C9-71B8-4062-A948-CC7AF085F389}" type="presParOf" srcId="{FFACF131-658D-42AB-B5C1-F8A50248045C}" destId="{E72943CF-2BAA-44EA-B4B4-D05E5B74E157}" srcOrd="1" destOrd="0" presId="urn:microsoft.com/office/officeart/2005/8/layout/hList1"/>
    <dgm:cxn modelId="{C2714888-9371-42AB-94C1-30DEED5A6AFE}" type="presParOf" srcId="{B00BF22C-74A2-48DE-9413-221DB103ABCE}" destId="{1769E861-D048-4B17-8AE1-78449897B2D1}" srcOrd="1" destOrd="0" presId="urn:microsoft.com/office/officeart/2005/8/layout/hList1"/>
    <dgm:cxn modelId="{4E73F900-ABB4-4173-83AF-C319CBF26088}" type="presParOf" srcId="{B00BF22C-74A2-48DE-9413-221DB103ABCE}" destId="{EEE2CBC8-3B71-43EB-BBA5-78E65444DF74}" srcOrd="2" destOrd="0" presId="urn:microsoft.com/office/officeart/2005/8/layout/hList1"/>
    <dgm:cxn modelId="{AAC6856B-3374-48A6-AEBA-9B0683941242}" type="presParOf" srcId="{EEE2CBC8-3B71-43EB-BBA5-78E65444DF74}" destId="{050257C2-C3D7-4B74-8569-ABABE0E413CC}" srcOrd="0" destOrd="0" presId="urn:microsoft.com/office/officeart/2005/8/layout/hList1"/>
    <dgm:cxn modelId="{DF28DEBE-EE65-4DAE-A713-677C6E9E77B8}" type="presParOf" srcId="{EEE2CBC8-3B71-43EB-BBA5-78E65444DF74}" destId="{3C1F1FFF-B497-4C04-BEC7-4B246574C49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0AF650BD-2180-42A4-969B-330677B5555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764545CF-B9DB-45C1-9CE1-A67B4AEA232D}">
      <dgm:prSet/>
      <dgm:spPr/>
      <dgm:t>
        <a:bodyPr/>
        <a:lstStyle/>
        <a:p>
          <a:r>
            <a:rPr lang="en-US" baseline="0"/>
            <a:t>You are responsible for and in a full control of a key lifecycle management (key creation, upload, rotation, deletion), key usage permissions, and auditing of operations on keys.</a:t>
          </a:r>
          <a:endParaRPr lang="en-US"/>
        </a:p>
      </dgm:t>
    </dgm:pt>
    <dgm:pt modelId="{69B4A5DB-3F9F-4CB2-A63A-B23828EF2A55}" type="parTrans" cxnId="{F447FD4D-6EFC-483F-9D5D-38BAB5C3322A}">
      <dgm:prSet/>
      <dgm:spPr/>
      <dgm:t>
        <a:bodyPr/>
        <a:lstStyle/>
        <a:p>
          <a:endParaRPr lang="en-US"/>
        </a:p>
      </dgm:t>
    </dgm:pt>
    <dgm:pt modelId="{54AC74C5-5E00-4978-9646-3674C66542E2}" type="sibTrans" cxnId="{F447FD4D-6EFC-483F-9D5D-38BAB5C3322A}">
      <dgm:prSet/>
      <dgm:spPr/>
      <dgm:t>
        <a:bodyPr/>
        <a:lstStyle/>
        <a:p>
          <a:endParaRPr lang="en-US"/>
        </a:p>
      </dgm:t>
    </dgm:pt>
    <dgm:pt modelId="{1116EE54-C2D9-4C31-8DA7-C08E4DDFEF68}">
      <dgm:prSet/>
      <dgm:spPr/>
      <dgm:t>
        <a:bodyPr/>
        <a:lstStyle/>
        <a:p>
          <a:r>
            <a:rPr lang="en-US" baseline="0" dirty="0"/>
            <a:t>The key used for encryption of the Database Encryption Key (DEK), called TDE protector, is a customer-managed asymmetric key stored in a customer-owned and customer-managed Azure Key Vault (AKV), a cloud-based external key management system. </a:t>
          </a:r>
          <a:endParaRPr lang="en-US" dirty="0"/>
        </a:p>
      </dgm:t>
    </dgm:pt>
    <dgm:pt modelId="{76E390DC-8ED9-465E-8F2E-7793608643A4}" type="parTrans" cxnId="{EFA7A307-6842-4638-8CA8-2A758C403303}">
      <dgm:prSet/>
      <dgm:spPr/>
      <dgm:t>
        <a:bodyPr/>
        <a:lstStyle/>
        <a:p>
          <a:endParaRPr lang="en-US"/>
        </a:p>
      </dgm:t>
    </dgm:pt>
    <dgm:pt modelId="{1117A0D5-879B-4E28-BC52-3D8CC0CF1339}" type="sibTrans" cxnId="{EFA7A307-6842-4638-8CA8-2A758C403303}">
      <dgm:prSet/>
      <dgm:spPr/>
      <dgm:t>
        <a:bodyPr/>
        <a:lstStyle/>
        <a:p>
          <a:endParaRPr lang="en-US"/>
        </a:p>
      </dgm:t>
    </dgm:pt>
    <dgm:pt modelId="{5C7D98BA-4139-4E0C-A481-D549BF5B1348}">
      <dgm:prSet/>
      <dgm:spPr/>
      <dgm:t>
        <a:bodyPr/>
        <a:lstStyle/>
        <a:p>
          <a:r>
            <a:rPr lang="en-US" baseline="0"/>
            <a:t>TDE protector is set at the logical server level and is inherited by all encrypted databases associated with that server. </a:t>
          </a:r>
          <a:endParaRPr lang="en-US"/>
        </a:p>
      </dgm:t>
    </dgm:pt>
    <dgm:pt modelId="{86B99B72-C663-4A04-90AC-0E4721FC6795}" type="parTrans" cxnId="{36171394-436C-418A-AAB2-3B13C6F347AD}">
      <dgm:prSet/>
      <dgm:spPr/>
      <dgm:t>
        <a:bodyPr/>
        <a:lstStyle/>
        <a:p>
          <a:endParaRPr lang="en-US"/>
        </a:p>
      </dgm:t>
    </dgm:pt>
    <dgm:pt modelId="{F3C4C1EC-C45C-4166-93ED-F6C56F2E2EA8}" type="sibTrans" cxnId="{36171394-436C-418A-AAB2-3B13C6F347AD}">
      <dgm:prSet/>
      <dgm:spPr/>
      <dgm:t>
        <a:bodyPr/>
        <a:lstStyle/>
        <a:p>
          <a:endParaRPr lang="en-US"/>
        </a:p>
      </dgm:t>
    </dgm:pt>
    <dgm:pt modelId="{E2A9EB3A-9480-4CB5-8A79-0EC430322B60}" type="pres">
      <dgm:prSet presAssocID="{0AF650BD-2180-42A4-969B-330677B55553}" presName="linear" presStyleCnt="0">
        <dgm:presLayoutVars>
          <dgm:animLvl val="lvl"/>
          <dgm:resizeHandles val="exact"/>
        </dgm:presLayoutVars>
      </dgm:prSet>
      <dgm:spPr/>
    </dgm:pt>
    <dgm:pt modelId="{35D42D39-E5FB-4377-8870-F1C102C57199}" type="pres">
      <dgm:prSet presAssocID="{764545CF-B9DB-45C1-9CE1-A67B4AEA232D}" presName="parentText" presStyleLbl="node1" presStyleIdx="0" presStyleCnt="3">
        <dgm:presLayoutVars>
          <dgm:chMax val="0"/>
          <dgm:bulletEnabled val="1"/>
        </dgm:presLayoutVars>
      </dgm:prSet>
      <dgm:spPr/>
    </dgm:pt>
    <dgm:pt modelId="{5BD28E36-E368-4F5E-8BAB-7A2303CC7150}" type="pres">
      <dgm:prSet presAssocID="{54AC74C5-5E00-4978-9646-3674C66542E2}" presName="spacer" presStyleCnt="0"/>
      <dgm:spPr/>
    </dgm:pt>
    <dgm:pt modelId="{1239427C-7524-403E-B542-39CB0242E415}" type="pres">
      <dgm:prSet presAssocID="{1116EE54-C2D9-4C31-8DA7-C08E4DDFEF68}" presName="parentText" presStyleLbl="node1" presStyleIdx="1" presStyleCnt="3">
        <dgm:presLayoutVars>
          <dgm:chMax val="0"/>
          <dgm:bulletEnabled val="1"/>
        </dgm:presLayoutVars>
      </dgm:prSet>
      <dgm:spPr/>
    </dgm:pt>
    <dgm:pt modelId="{37E92C63-2BC0-4564-A3DD-0AD65D77762E}" type="pres">
      <dgm:prSet presAssocID="{1117A0D5-879B-4E28-BC52-3D8CC0CF1339}" presName="spacer" presStyleCnt="0"/>
      <dgm:spPr/>
    </dgm:pt>
    <dgm:pt modelId="{82819A0E-DD2B-44DD-9624-846941ACACD0}" type="pres">
      <dgm:prSet presAssocID="{5C7D98BA-4139-4E0C-A481-D549BF5B1348}" presName="parentText" presStyleLbl="node1" presStyleIdx="2" presStyleCnt="3">
        <dgm:presLayoutVars>
          <dgm:chMax val="0"/>
          <dgm:bulletEnabled val="1"/>
        </dgm:presLayoutVars>
      </dgm:prSet>
      <dgm:spPr/>
    </dgm:pt>
  </dgm:ptLst>
  <dgm:cxnLst>
    <dgm:cxn modelId="{EFA7A307-6842-4638-8CA8-2A758C403303}" srcId="{0AF650BD-2180-42A4-969B-330677B55553}" destId="{1116EE54-C2D9-4C31-8DA7-C08E4DDFEF68}" srcOrd="1" destOrd="0" parTransId="{76E390DC-8ED9-465E-8F2E-7793608643A4}" sibTransId="{1117A0D5-879B-4E28-BC52-3D8CC0CF1339}"/>
    <dgm:cxn modelId="{F447FD4D-6EFC-483F-9D5D-38BAB5C3322A}" srcId="{0AF650BD-2180-42A4-969B-330677B55553}" destId="{764545CF-B9DB-45C1-9CE1-A67B4AEA232D}" srcOrd="0" destOrd="0" parTransId="{69B4A5DB-3F9F-4CB2-A63A-B23828EF2A55}" sibTransId="{54AC74C5-5E00-4978-9646-3674C66542E2}"/>
    <dgm:cxn modelId="{BFD4027C-10BE-4115-969A-292FD78769C1}" type="presOf" srcId="{764545CF-B9DB-45C1-9CE1-A67B4AEA232D}" destId="{35D42D39-E5FB-4377-8870-F1C102C57199}" srcOrd="0" destOrd="0" presId="urn:microsoft.com/office/officeart/2005/8/layout/vList2"/>
    <dgm:cxn modelId="{36171394-436C-418A-AAB2-3B13C6F347AD}" srcId="{0AF650BD-2180-42A4-969B-330677B55553}" destId="{5C7D98BA-4139-4E0C-A481-D549BF5B1348}" srcOrd="2" destOrd="0" parTransId="{86B99B72-C663-4A04-90AC-0E4721FC6795}" sibTransId="{F3C4C1EC-C45C-4166-93ED-F6C56F2E2EA8}"/>
    <dgm:cxn modelId="{A9215AB8-524D-4FC0-AA9D-29E6A9490A01}" type="presOf" srcId="{0AF650BD-2180-42A4-969B-330677B55553}" destId="{E2A9EB3A-9480-4CB5-8A79-0EC430322B60}" srcOrd="0" destOrd="0" presId="urn:microsoft.com/office/officeart/2005/8/layout/vList2"/>
    <dgm:cxn modelId="{8DB85CBC-F6DA-4F73-8946-3D559C0B6586}" type="presOf" srcId="{5C7D98BA-4139-4E0C-A481-D549BF5B1348}" destId="{82819A0E-DD2B-44DD-9624-846941ACACD0}" srcOrd="0" destOrd="0" presId="urn:microsoft.com/office/officeart/2005/8/layout/vList2"/>
    <dgm:cxn modelId="{3EC5DBE1-F0CA-428B-96D1-8A9649604479}" type="presOf" srcId="{1116EE54-C2D9-4C31-8DA7-C08E4DDFEF68}" destId="{1239427C-7524-403E-B542-39CB0242E415}" srcOrd="0" destOrd="0" presId="urn:microsoft.com/office/officeart/2005/8/layout/vList2"/>
    <dgm:cxn modelId="{A59AAAD7-4819-441E-B8D9-BDD2FF1A2710}" type="presParOf" srcId="{E2A9EB3A-9480-4CB5-8A79-0EC430322B60}" destId="{35D42D39-E5FB-4377-8870-F1C102C57199}" srcOrd="0" destOrd="0" presId="urn:microsoft.com/office/officeart/2005/8/layout/vList2"/>
    <dgm:cxn modelId="{BE794262-5CB5-411E-B0CD-717DA71DE01D}" type="presParOf" srcId="{E2A9EB3A-9480-4CB5-8A79-0EC430322B60}" destId="{5BD28E36-E368-4F5E-8BAB-7A2303CC7150}" srcOrd="1" destOrd="0" presId="urn:microsoft.com/office/officeart/2005/8/layout/vList2"/>
    <dgm:cxn modelId="{A5DDDC49-83D8-416B-B2B7-55ED3B585AA7}" type="presParOf" srcId="{E2A9EB3A-9480-4CB5-8A79-0EC430322B60}" destId="{1239427C-7524-403E-B542-39CB0242E415}" srcOrd="2" destOrd="0" presId="urn:microsoft.com/office/officeart/2005/8/layout/vList2"/>
    <dgm:cxn modelId="{EB6F0843-5FF4-4500-B300-D334F563E99F}" type="presParOf" srcId="{E2A9EB3A-9480-4CB5-8A79-0EC430322B60}" destId="{37E92C63-2BC0-4564-A3DD-0AD65D77762E}" srcOrd="3" destOrd="0" presId="urn:microsoft.com/office/officeart/2005/8/layout/vList2"/>
    <dgm:cxn modelId="{AF628D63-4D29-4160-9252-FDD388267ED0}" type="presParOf" srcId="{E2A9EB3A-9480-4CB5-8A79-0EC430322B60}" destId="{82819A0E-DD2B-44DD-9624-846941ACACD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solidFill>
                <a:srgbClr val="FFFFFF"/>
              </a:solidFill>
            </a:rPr>
            <a:t>Does TDE encrypt the data in motion?</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FA56D3D-166D-4EE1-9BD4-171E05D1B73B}">
      <dgm:prSet custT="1"/>
      <dgm:spPr/>
      <dgm:t>
        <a:bodyPr/>
        <a:lstStyle/>
        <a:p>
          <a:pPr>
            <a:buFont typeface="Arial" panose="020B0604020202020204" pitchFamily="34" charset="0"/>
            <a:buChar char="•"/>
          </a:pPr>
          <a:r>
            <a:rPr lang="en-US" sz="2400">
              <a:solidFill>
                <a:srgbClr val="FFFFFF"/>
              </a:solidFill>
            </a:rPr>
            <a:t>What kind of application changes are required to use TDE?</a:t>
          </a:r>
          <a:endParaRPr lang="en-US" sz="2400"/>
        </a:p>
      </dgm:t>
    </dgm:pt>
    <dgm:pt modelId="{C3D5B7AD-30FF-4015-A41B-16B0D936827A}" type="parTrans" cxnId="{DDF0DD57-4A7C-4120-992E-06F6739F1839}">
      <dgm:prSet/>
      <dgm:spPr/>
      <dgm:t>
        <a:bodyPr/>
        <a:lstStyle/>
        <a:p>
          <a:endParaRPr lang="en-US"/>
        </a:p>
      </dgm:t>
    </dgm:pt>
    <dgm:pt modelId="{16FA8ABD-51E4-4B87-A514-026D8A1AD3AA}" type="sibTrans" cxnId="{DDF0DD57-4A7C-4120-992E-06F6739F1839}">
      <dgm:prSet/>
      <dgm:spPr/>
      <dgm:t>
        <a:bodyPr/>
        <a:lstStyle/>
        <a:p>
          <a:endParaRPr lang="en-US"/>
        </a:p>
      </dgm:t>
    </dgm:pt>
    <dgm:pt modelId="{CDF0E626-2717-493B-8330-87FC12643DC3}">
      <dgm:prSet custT="1"/>
      <dgm:spPr/>
      <dgm:t>
        <a:bodyPr/>
        <a:lstStyle/>
        <a:p>
          <a:pPr>
            <a:buFont typeface="Arial" panose="020B0604020202020204" pitchFamily="34" charset="0"/>
            <a:buChar char="•"/>
          </a:pPr>
          <a:r>
            <a:rPr lang="en-US" sz="2400">
              <a:solidFill>
                <a:srgbClr val="FFFFFF"/>
              </a:solidFill>
            </a:rPr>
            <a:t>Which 2 types of Encryption Keys can be used for TDE?</a:t>
          </a:r>
          <a:endParaRPr lang="en-US" sz="2400"/>
        </a:p>
      </dgm:t>
    </dgm:pt>
    <dgm:pt modelId="{86CC595F-BF8E-45B1-962F-04B39DA3BFA4}" type="parTrans" cxnId="{97680C4D-579E-441F-83E4-B9E88C5357FD}">
      <dgm:prSet/>
      <dgm:spPr/>
      <dgm:t>
        <a:bodyPr/>
        <a:lstStyle/>
        <a:p>
          <a:endParaRPr lang="en-US"/>
        </a:p>
      </dgm:t>
    </dgm:pt>
    <dgm:pt modelId="{16C7FEB1-11BA-4446-B842-68584BA979E4}" type="sibTrans" cxnId="{97680C4D-579E-441F-83E4-B9E88C5357FD}">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2FD693FE-8589-46E6-BC7B-B16FC43F9D3D}" type="pres">
      <dgm:prSet presAssocID="{CAE4D9F8-FDBB-4525-9125-6BAF56328FCE}" presName="spacer" presStyleCnt="0"/>
      <dgm:spPr/>
    </dgm:pt>
    <dgm:pt modelId="{A1C58C77-57D6-42C3-8990-B90D8EF58A29}" type="pres">
      <dgm:prSet presAssocID="{5FA56D3D-166D-4EE1-9BD4-171E05D1B73B}" presName="parentText" presStyleLbl="node1" presStyleIdx="1" presStyleCnt="3">
        <dgm:presLayoutVars>
          <dgm:chMax val="0"/>
          <dgm:bulletEnabled val="1"/>
        </dgm:presLayoutVars>
      </dgm:prSet>
      <dgm:spPr/>
    </dgm:pt>
    <dgm:pt modelId="{DC66B9DE-E319-4B18-8059-B51E91554D0B}" type="pres">
      <dgm:prSet presAssocID="{16FA8ABD-51E4-4B87-A514-026D8A1AD3AA}" presName="spacer" presStyleCnt="0"/>
      <dgm:spPr/>
    </dgm:pt>
    <dgm:pt modelId="{1CAA3CB0-AB64-4F9C-B1AD-E0D3EE5A0654}" type="pres">
      <dgm:prSet presAssocID="{CDF0E626-2717-493B-8330-87FC12643DC3}"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176054D-2153-4D01-BB4E-DD9C1A5AB935}" type="presOf" srcId="{CDF0E626-2717-493B-8330-87FC12643DC3}" destId="{1CAA3CB0-AB64-4F9C-B1AD-E0D3EE5A0654}" srcOrd="0" destOrd="0" presId="urn:microsoft.com/office/officeart/2005/8/layout/vList2"/>
    <dgm:cxn modelId="{97680C4D-579E-441F-83E4-B9E88C5357FD}" srcId="{15A7774C-B622-4F48-8F7B-AF1AAB74E997}" destId="{CDF0E626-2717-493B-8330-87FC12643DC3}" srcOrd="2" destOrd="0" parTransId="{86CC595F-BF8E-45B1-962F-04B39DA3BFA4}" sibTransId="{16C7FEB1-11BA-4446-B842-68584BA979E4}"/>
    <dgm:cxn modelId="{DDF0DD57-4A7C-4120-992E-06F6739F1839}" srcId="{15A7774C-B622-4F48-8F7B-AF1AAB74E997}" destId="{5FA56D3D-166D-4EE1-9BD4-171E05D1B73B}" srcOrd="1" destOrd="0" parTransId="{C3D5B7AD-30FF-4015-A41B-16B0D936827A}" sibTransId="{16FA8ABD-51E4-4B87-A514-026D8A1AD3AA}"/>
    <dgm:cxn modelId="{4BB646B5-2A6D-439D-A88F-AC928930541F}" srcId="{15A7774C-B622-4F48-8F7B-AF1AAB74E997}" destId="{CDCA19B1-3B45-4B24-8F19-085A650701BC}" srcOrd="0" destOrd="0" parTransId="{74BFB16A-6DC3-47DD-AE97-F15F596B23DF}" sibTransId="{CAE4D9F8-FDBB-4525-9125-6BAF56328FCE}"/>
    <dgm:cxn modelId="{A4ADADFE-7C7E-443B-ABC1-89326BFE7740}" type="presOf" srcId="{5FA56D3D-166D-4EE1-9BD4-171E05D1B73B}" destId="{A1C58C77-57D6-42C3-8990-B90D8EF58A2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EB81FF74-207F-4259-BE58-2CF6121A77B8}" type="presParOf" srcId="{97400BD5-14CE-4761-8A6A-64BC46D23158}" destId="{2FD693FE-8589-46E6-BC7B-B16FC43F9D3D}" srcOrd="1" destOrd="0" presId="urn:microsoft.com/office/officeart/2005/8/layout/vList2"/>
    <dgm:cxn modelId="{60E57C03-7E09-49BB-BF0A-3F7FD9A9ADE5}" type="presParOf" srcId="{97400BD5-14CE-4761-8A6A-64BC46D23158}" destId="{A1C58C77-57D6-42C3-8990-B90D8EF58A29}" srcOrd="2" destOrd="0" presId="urn:microsoft.com/office/officeart/2005/8/layout/vList2"/>
    <dgm:cxn modelId="{2208B861-32C5-4CCA-9ADF-9F41C717DE2A}" type="presParOf" srcId="{97400BD5-14CE-4761-8A6A-64BC46D23158}" destId="{DC66B9DE-E319-4B18-8059-B51E91554D0B}" srcOrd="3" destOrd="0" presId="urn:microsoft.com/office/officeart/2005/8/layout/vList2"/>
    <dgm:cxn modelId="{B5FCBAA4-98DA-46AF-8A3E-F2F09D7A7B45}" type="presParOf" srcId="{97400BD5-14CE-4761-8A6A-64BC46D23158}" destId="{1CAA3CB0-AB64-4F9C-B1AD-E0D3EE5A065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98C9734D-E091-4E03-8971-936A5EAD9807}" type="doc">
      <dgm:prSet loTypeId="urn:microsoft.com/office/officeart/2005/8/layout/process1" loCatId="process" qsTypeId="urn:microsoft.com/office/officeart/2005/8/quickstyle/simple1" qsCatId="simple" csTypeId="urn:microsoft.com/office/officeart/2005/8/colors/accent1_1" csCatId="accent1"/>
      <dgm:spPr/>
      <dgm:t>
        <a:bodyPr/>
        <a:lstStyle/>
        <a:p>
          <a:endParaRPr lang="en-US"/>
        </a:p>
      </dgm:t>
    </dgm:pt>
    <dgm:pt modelId="{24393E2B-02F9-4882-8C34-FF7568342339}">
      <dgm:prSet/>
      <dgm:spPr>
        <a:xfrm>
          <a:off x="2321" y="462905"/>
          <a:ext cx="4951065" cy="2970639"/>
        </a:xfrm>
        <a:prstGeom prst="rect">
          <a:avLst/>
        </a:prstGeom>
      </dgm:spPr>
      <dgm:t>
        <a:bodyPr/>
        <a:lstStyle/>
        <a:p>
          <a:pPr rtl="0">
            <a:buNone/>
          </a:pPr>
          <a:r>
            <a:rPr lang="en-US" baseline="0">
              <a:latin typeface="Segoe UI"/>
              <a:ea typeface="+mn-ea"/>
              <a:cs typeface="+mn-cs"/>
            </a:rPr>
            <a:t>Always Encrypted allows clients to encrypt sensitive data inside client applications and never reveal the encryption keys to SQL Database.</a:t>
          </a:r>
        </a:p>
      </dgm:t>
    </dgm:pt>
    <dgm:pt modelId="{D2752841-9331-459B-82CA-7D2B462C2F7D}" type="parTrans" cxnId="{DF24458F-F280-459D-A738-2C01AE386BEE}">
      <dgm:prSet/>
      <dgm:spPr/>
      <dgm:t>
        <a:bodyPr/>
        <a:lstStyle/>
        <a:p>
          <a:endParaRPr lang="en-US"/>
        </a:p>
      </dgm:t>
    </dgm:pt>
    <dgm:pt modelId="{19EE3238-19F5-48F9-886B-8AF39DCD1E9F}" type="sibTrans" cxnId="{DF24458F-F280-459D-A738-2C01AE386BEE}">
      <dgm:prSet/>
      <dgm:spPr>
        <a:xfrm>
          <a:off x="5448493" y="1334293"/>
          <a:ext cx="1049625" cy="1227864"/>
        </a:xfrm>
        <a:prstGeom prst="rightArrow">
          <a:avLst>
            <a:gd name="adj1" fmla="val 60000"/>
            <a:gd name="adj2" fmla="val 50000"/>
          </a:avLst>
        </a:prstGeom>
      </dgm:spPr>
      <dgm:t>
        <a:bodyPr/>
        <a:lstStyle/>
        <a:p>
          <a:pPr>
            <a:buNone/>
          </a:pPr>
          <a:endParaRPr lang="en-US">
            <a:solidFill>
              <a:srgbClr val="505050">
                <a:hueOff val="0"/>
                <a:satOff val="0"/>
                <a:lumOff val="0"/>
                <a:alphaOff val="0"/>
              </a:srgbClr>
            </a:solidFill>
            <a:latin typeface="Segoe UI"/>
            <a:ea typeface="+mn-ea"/>
            <a:cs typeface="+mn-cs"/>
          </a:endParaRPr>
        </a:p>
      </dgm:t>
    </dgm:pt>
    <dgm:pt modelId="{63ED74FF-D2AD-46BC-9A84-D7A085635FC8}">
      <dgm:prSet/>
      <dgm:spPr>
        <a:xfrm>
          <a:off x="6933813" y="462905"/>
          <a:ext cx="4951065" cy="2970639"/>
        </a:xfrm>
        <a:prstGeom prst="rect">
          <a:avLst/>
        </a:prstGeom>
      </dgm:spPr>
      <dgm:t>
        <a:bodyPr/>
        <a:lstStyle/>
        <a:p>
          <a:pPr rtl="0">
            <a:buNone/>
          </a:pPr>
          <a:r>
            <a:rPr lang="en-US">
              <a:latin typeface="Segoe UI"/>
              <a:ea typeface="+mn-ea"/>
              <a:cs typeface="+mn-cs"/>
            </a:rPr>
            <a:t>As a result, Always Encrypted provides a separation between those who own the data (and can view it) and those who manage the data (but should have no access). </a:t>
          </a:r>
          <a:endParaRPr lang="es-ES">
            <a:latin typeface="Segoe UI"/>
            <a:ea typeface="+mn-ea"/>
            <a:cs typeface="+mn-cs"/>
          </a:endParaRPr>
        </a:p>
      </dgm:t>
    </dgm:pt>
    <dgm:pt modelId="{609777B1-CDC7-4682-80C2-E5B757BE2992}" type="parTrans" cxnId="{5E82620E-D1ED-44E4-9901-EBBF4E8B34CA}">
      <dgm:prSet/>
      <dgm:spPr/>
      <dgm:t>
        <a:bodyPr/>
        <a:lstStyle/>
        <a:p>
          <a:endParaRPr lang="en-US"/>
        </a:p>
      </dgm:t>
    </dgm:pt>
    <dgm:pt modelId="{746B1208-FA8A-482E-A95C-48F08F3FFA7F}" type="sibTrans" cxnId="{5E82620E-D1ED-44E4-9901-EBBF4E8B34CA}">
      <dgm:prSet/>
      <dgm:spPr/>
      <dgm:t>
        <a:bodyPr/>
        <a:lstStyle/>
        <a:p>
          <a:endParaRPr lang="en-US"/>
        </a:p>
      </dgm:t>
    </dgm:pt>
    <dgm:pt modelId="{E7FD0E9B-30B5-4C99-A6C1-0840062AA4BE}" type="pres">
      <dgm:prSet presAssocID="{98C9734D-E091-4E03-8971-936A5EAD9807}" presName="Name0" presStyleCnt="0">
        <dgm:presLayoutVars>
          <dgm:dir/>
          <dgm:resizeHandles val="exact"/>
        </dgm:presLayoutVars>
      </dgm:prSet>
      <dgm:spPr/>
    </dgm:pt>
    <dgm:pt modelId="{0C0398DE-36F2-450C-915F-61D66BF3232E}" type="pres">
      <dgm:prSet presAssocID="{24393E2B-02F9-4882-8C34-FF7568342339}" presName="node" presStyleLbl="node1" presStyleIdx="0" presStyleCnt="2">
        <dgm:presLayoutVars>
          <dgm:bulletEnabled val="1"/>
        </dgm:presLayoutVars>
      </dgm:prSet>
      <dgm:spPr>
        <a:prstGeom prst="rect">
          <a:avLst/>
        </a:prstGeom>
      </dgm:spPr>
    </dgm:pt>
    <dgm:pt modelId="{BABA1ACF-A3F8-4DE8-99E1-8BB0D2EE8B0A}" type="pres">
      <dgm:prSet presAssocID="{19EE3238-19F5-48F9-886B-8AF39DCD1E9F}" presName="sibTrans" presStyleLbl="sibTrans2D1" presStyleIdx="0" presStyleCnt="1"/>
      <dgm:spPr/>
    </dgm:pt>
    <dgm:pt modelId="{28049A93-85B2-4A9D-AA4B-838E9CDB281F}" type="pres">
      <dgm:prSet presAssocID="{19EE3238-19F5-48F9-886B-8AF39DCD1E9F}" presName="connectorText" presStyleLbl="sibTrans2D1" presStyleIdx="0" presStyleCnt="1"/>
      <dgm:spPr/>
    </dgm:pt>
    <dgm:pt modelId="{BF2C68F1-4F6A-45C2-899E-5658432BBC06}" type="pres">
      <dgm:prSet presAssocID="{63ED74FF-D2AD-46BC-9A84-D7A085635FC8}" presName="node" presStyleLbl="node1" presStyleIdx="1" presStyleCnt="2">
        <dgm:presLayoutVars>
          <dgm:bulletEnabled val="1"/>
        </dgm:presLayoutVars>
      </dgm:prSet>
      <dgm:spPr>
        <a:prstGeom prst="rect">
          <a:avLst/>
        </a:prstGeom>
      </dgm:spPr>
    </dgm:pt>
  </dgm:ptLst>
  <dgm:cxnLst>
    <dgm:cxn modelId="{5E82620E-D1ED-44E4-9901-EBBF4E8B34CA}" srcId="{98C9734D-E091-4E03-8971-936A5EAD9807}" destId="{63ED74FF-D2AD-46BC-9A84-D7A085635FC8}" srcOrd="1" destOrd="0" parTransId="{609777B1-CDC7-4682-80C2-E5B757BE2992}" sibTransId="{746B1208-FA8A-482E-A95C-48F08F3FFA7F}"/>
    <dgm:cxn modelId="{37345E6A-C55D-41D2-AE39-66C44B33EEBB}" type="presOf" srcId="{19EE3238-19F5-48F9-886B-8AF39DCD1E9F}" destId="{28049A93-85B2-4A9D-AA4B-838E9CDB281F}" srcOrd="1" destOrd="0" presId="urn:microsoft.com/office/officeart/2005/8/layout/process1"/>
    <dgm:cxn modelId="{DF24458F-F280-459D-A738-2C01AE386BEE}" srcId="{98C9734D-E091-4E03-8971-936A5EAD9807}" destId="{24393E2B-02F9-4882-8C34-FF7568342339}" srcOrd="0" destOrd="0" parTransId="{D2752841-9331-459B-82CA-7D2B462C2F7D}" sibTransId="{19EE3238-19F5-48F9-886B-8AF39DCD1E9F}"/>
    <dgm:cxn modelId="{093B76A6-4BA7-4191-BC7C-C72C07E38905}" type="presOf" srcId="{24393E2B-02F9-4882-8C34-FF7568342339}" destId="{0C0398DE-36F2-450C-915F-61D66BF3232E}" srcOrd="0" destOrd="0" presId="urn:microsoft.com/office/officeart/2005/8/layout/process1"/>
    <dgm:cxn modelId="{06B051BF-81CF-472E-99C6-77E560B85EB3}" type="presOf" srcId="{63ED74FF-D2AD-46BC-9A84-D7A085635FC8}" destId="{BF2C68F1-4F6A-45C2-899E-5658432BBC06}" srcOrd="0" destOrd="0" presId="urn:microsoft.com/office/officeart/2005/8/layout/process1"/>
    <dgm:cxn modelId="{FC1C08C9-E5AA-4360-AADE-10652D34040E}" type="presOf" srcId="{19EE3238-19F5-48F9-886B-8AF39DCD1E9F}" destId="{BABA1ACF-A3F8-4DE8-99E1-8BB0D2EE8B0A}" srcOrd="0" destOrd="0" presId="urn:microsoft.com/office/officeart/2005/8/layout/process1"/>
    <dgm:cxn modelId="{2C8E3DD4-C188-4D4C-89B9-E4A49E94A84D}" type="presOf" srcId="{98C9734D-E091-4E03-8971-936A5EAD9807}" destId="{E7FD0E9B-30B5-4C99-A6C1-0840062AA4BE}" srcOrd="0" destOrd="0" presId="urn:microsoft.com/office/officeart/2005/8/layout/process1"/>
    <dgm:cxn modelId="{65B8053D-6F6E-42E6-A9DA-DB08C6869A97}" type="presParOf" srcId="{E7FD0E9B-30B5-4C99-A6C1-0840062AA4BE}" destId="{0C0398DE-36F2-450C-915F-61D66BF3232E}" srcOrd="0" destOrd="0" presId="urn:microsoft.com/office/officeart/2005/8/layout/process1"/>
    <dgm:cxn modelId="{9AACF813-0762-436B-AB60-7FB3229E5A37}" type="presParOf" srcId="{E7FD0E9B-30B5-4C99-A6C1-0840062AA4BE}" destId="{BABA1ACF-A3F8-4DE8-99E1-8BB0D2EE8B0A}" srcOrd="1" destOrd="0" presId="urn:microsoft.com/office/officeart/2005/8/layout/process1"/>
    <dgm:cxn modelId="{E06FBE63-6962-448C-8404-3C4B0BBD682F}" type="presParOf" srcId="{BABA1ACF-A3F8-4DE8-99E1-8BB0D2EE8B0A}" destId="{28049A93-85B2-4A9D-AA4B-838E9CDB281F}" srcOrd="0" destOrd="0" presId="urn:microsoft.com/office/officeart/2005/8/layout/process1"/>
    <dgm:cxn modelId="{7A4E0131-4780-481A-B6CB-99E5B035E7EC}" type="presParOf" srcId="{E7FD0E9B-30B5-4C99-A6C1-0840062AA4BE}" destId="{BF2C68F1-4F6A-45C2-899E-5658432BBC06}"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A26E7A40-8771-4F50-8B5D-FF08DA840024}"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905981D-028A-4696-9C15-E1F6D702C82F}">
      <dgm:prSet/>
      <dgm:spPr/>
      <dgm:t>
        <a:bodyPr/>
        <a:lstStyle/>
        <a:p>
          <a:r>
            <a:rPr lang="en-US" baseline="0"/>
            <a:t>Capability</a:t>
          </a:r>
          <a:endParaRPr lang="en-US"/>
        </a:p>
      </dgm:t>
    </dgm:pt>
    <dgm:pt modelId="{3238FB57-D7D1-4314-B52B-B85AF884401D}" type="parTrans" cxnId="{9F98EA1C-B2EB-46A8-9E76-4BA508B941B6}">
      <dgm:prSet/>
      <dgm:spPr/>
      <dgm:t>
        <a:bodyPr/>
        <a:lstStyle/>
        <a:p>
          <a:endParaRPr lang="en-US"/>
        </a:p>
      </dgm:t>
    </dgm:pt>
    <dgm:pt modelId="{595BB1E7-F5EE-4653-ABD4-CFF663B9DC50}" type="sibTrans" cxnId="{9F98EA1C-B2EB-46A8-9E76-4BA508B941B6}">
      <dgm:prSet/>
      <dgm:spPr/>
      <dgm:t>
        <a:bodyPr/>
        <a:lstStyle/>
        <a:p>
          <a:endParaRPr lang="en-US"/>
        </a:p>
      </dgm:t>
    </dgm:pt>
    <dgm:pt modelId="{1324E96F-358E-4C1C-B5D6-76C7650D95C0}">
      <dgm:prSet/>
      <dgm:spPr/>
      <dgm:t>
        <a:bodyPr/>
        <a:lstStyle/>
        <a:p>
          <a:r>
            <a:rPr lang="en-US" baseline="0"/>
            <a:t>Transparent client-side encryption, while SQL Server executes T-SQL queries on encrypted data.</a:t>
          </a:r>
          <a:endParaRPr lang="en-US"/>
        </a:p>
      </dgm:t>
    </dgm:pt>
    <dgm:pt modelId="{6EC1AF3A-4FEA-4942-90CA-05EB3A26284D}" type="parTrans" cxnId="{077F5A52-C57D-490E-B3AB-0A5206A68430}">
      <dgm:prSet/>
      <dgm:spPr/>
      <dgm:t>
        <a:bodyPr/>
        <a:lstStyle/>
        <a:p>
          <a:endParaRPr lang="en-US"/>
        </a:p>
      </dgm:t>
    </dgm:pt>
    <dgm:pt modelId="{2526DA9F-C5B7-4117-93B4-5BAA51D31A26}" type="sibTrans" cxnId="{077F5A52-C57D-490E-B3AB-0A5206A68430}">
      <dgm:prSet/>
      <dgm:spPr/>
      <dgm:t>
        <a:bodyPr/>
        <a:lstStyle/>
        <a:p>
          <a:endParaRPr lang="en-US"/>
        </a:p>
      </dgm:t>
    </dgm:pt>
    <dgm:pt modelId="{86A9AA2A-0BDA-4E45-BCA7-D49434CDF1ED}">
      <dgm:prSet/>
      <dgm:spPr/>
      <dgm:t>
        <a:bodyPr/>
        <a:lstStyle/>
        <a:p>
          <a:r>
            <a:rPr lang="en-US" baseline="0"/>
            <a:t>Benefits</a:t>
          </a:r>
          <a:endParaRPr lang="en-US"/>
        </a:p>
      </dgm:t>
    </dgm:pt>
    <dgm:pt modelId="{C0FAD9E7-79E8-4C56-9F9E-949F79067FEC}" type="parTrans" cxnId="{7C5182E5-86F5-425A-92C0-E4A840E5FA04}">
      <dgm:prSet/>
      <dgm:spPr/>
      <dgm:t>
        <a:bodyPr/>
        <a:lstStyle/>
        <a:p>
          <a:endParaRPr lang="en-US"/>
        </a:p>
      </dgm:t>
    </dgm:pt>
    <dgm:pt modelId="{25739D5F-C987-4D61-A45B-AD1EE54FD4B9}" type="sibTrans" cxnId="{7C5182E5-86F5-425A-92C0-E4A840E5FA04}">
      <dgm:prSet/>
      <dgm:spPr/>
      <dgm:t>
        <a:bodyPr/>
        <a:lstStyle/>
        <a:p>
          <a:endParaRPr lang="en-US"/>
        </a:p>
      </dgm:t>
    </dgm:pt>
    <dgm:pt modelId="{AA9CB5E5-05A5-49EF-BBA3-E1BCECE71587}">
      <dgm:prSet/>
      <dgm:spPr/>
      <dgm:t>
        <a:bodyPr/>
        <a:lstStyle/>
        <a:p>
          <a:r>
            <a:rPr lang="en-US" baseline="0"/>
            <a:t>Sensitive data remains encrypted and query-able at all times.</a:t>
          </a:r>
          <a:endParaRPr lang="en-US"/>
        </a:p>
      </dgm:t>
    </dgm:pt>
    <dgm:pt modelId="{F10EC3B4-24CB-4570-9562-181CCA5E170A}" type="parTrans" cxnId="{F6C92643-D3D4-49AF-9D6D-153E95A99C26}">
      <dgm:prSet/>
      <dgm:spPr/>
      <dgm:t>
        <a:bodyPr/>
        <a:lstStyle/>
        <a:p>
          <a:endParaRPr lang="en-US"/>
        </a:p>
      </dgm:t>
    </dgm:pt>
    <dgm:pt modelId="{AB5810E5-5A10-4DFC-AF71-68596076C696}" type="sibTrans" cxnId="{F6C92643-D3D4-49AF-9D6D-153E95A99C26}">
      <dgm:prSet/>
      <dgm:spPr/>
      <dgm:t>
        <a:bodyPr/>
        <a:lstStyle/>
        <a:p>
          <a:endParaRPr lang="en-US"/>
        </a:p>
      </dgm:t>
    </dgm:pt>
    <dgm:pt modelId="{0EF9746B-88DD-4515-81CF-8A7685497255}">
      <dgm:prSet/>
      <dgm:spPr/>
      <dgm:t>
        <a:bodyPr/>
        <a:lstStyle/>
        <a:p>
          <a:r>
            <a:rPr lang="en-US" baseline="0"/>
            <a:t>Unauthorized users never have access to data or keys.</a:t>
          </a:r>
          <a:endParaRPr lang="en-US"/>
        </a:p>
      </dgm:t>
    </dgm:pt>
    <dgm:pt modelId="{3A451BDC-DD62-4C32-8C66-C0DF39EBE965}" type="parTrans" cxnId="{8CF6B382-C07E-46CB-A01F-064E7EB993CC}">
      <dgm:prSet/>
      <dgm:spPr/>
      <dgm:t>
        <a:bodyPr/>
        <a:lstStyle/>
        <a:p>
          <a:endParaRPr lang="en-US"/>
        </a:p>
      </dgm:t>
    </dgm:pt>
    <dgm:pt modelId="{D53D2C2B-8874-47AD-9B69-9C0C21EAD8DD}" type="sibTrans" cxnId="{8CF6B382-C07E-46CB-A01F-064E7EB993CC}">
      <dgm:prSet/>
      <dgm:spPr/>
      <dgm:t>
        <a:bodyPr/>
        <a:lstStyle/>
        <a:p>
          <a:endParaRPr lang="en-US"/>
        </a:p>
      </dgm:t>
    </dgm:pt>
    <dgm:pt modelId="{465BDAD8-7289-4B80-B3CA-E95FF7EE020E}">
      <dgm:prSet/>
      <dgm:spPr/>
      <dgm:t>
        <a:bodyPr/>
        <a:lstStyle/>
        <a:p>
          <a:r>
            <a:rPr lang="en-US" baseline="0"/>
            <a:t>No changes to applications are necessary.</a:t>
          </a:r>
          <a:endParaRPr lang="en-US"/>
        </a:p>
      </dgm:t>
    </dgm:pt>
    <dgm:pt modelId="{9E77696A-D45A-41C9-A236-F10D33002A43}" type="parTrans" cxnId="{E879F9B9-9917-4A03-A4DA-5EF43CC3EE39}">
      <dgm:prSet/>
      <dgm:spPr/>
      <dgm:t>
        <a:bodyPr/>
        <a:lstStyle/>
        <a:p>
          <a:endParaRPr lang="en-US"/>
        </a:p>
      </dgm:t>
    </dgm:pt>
    <dgm:pt modelId="{3FCF8B5A-CF43-46C8-9351-EC936017EC34}" type="sibTrans" cxnId="{E879F9B9-9917-4A03-A4DA-5EF43CC3EE39}">
      <dgm:prSet/>
      <dgm:spPr/>
      <dgm:t>
        <a:bodyPr/>
        <a:lstStyle/>
        <a:p>
          <a:endParaRPr lang="en-US"/>
        </a:p>
      </dgm:t>
    </dgm:pt>
    <dgm:pt modelId="{D48CC2B7-199F-4243-A50F-ACAFF2C24567}" type="pres">
      <dgm:prSet presAssocID="{A26E7A40-8771-4F50-8B5D-FF08DA840024}" presName="linear" presStyleCnt="0">
        <dgm:presLayoutVars>
          <dgm:animLvl val="lvl"/>
          <dgm:resizeHandles val="exact"/>
        </dgm:presLayoutVars>
      </dgm:prSet>
      <dgm:spPr/>
    </dgm:pt>
    <dgm:pt modelId="{7F0167FA-DE95-4E05-8F91-6A8DAD251273}" type="pres">
      <dgm:prSet presAssocID="{E905981D-028A-4696-9C15-E1F6D702C82F}" presName="parentText" presStyleLbl="node1" presStyleIdx="0" presStyleCnt="2">
        <dgm:presLayoutVars>
          <dgm:chMax val="0"/>
          <dgm:bulletEnabled val="1"/>
        </dgm:presLayoutVars>
      </dgm:prSet>
      <dgm:spPr/>
    </dgm:pt>
    <dgm:pt modelId="{99AC13B2-FC11-4B48-85CD-27113BF6C2C4}" type="pres">
      <dgm:prSet presAssocID="{E905981D-028A-4696-9C15-E1F6D702C82F}" presName="childText" presStyleLbl="revTx" presStyleIdx="0" presStyleCnt="2">
        <dgm:presLayoutVars>
          <dgm:bulletEnabled val="1"/>
        </dgm:presLayoutVars>
      </dgm:prSet>
      <dgm:spPr/>
    </dgm:pt>
    <dgm:pt modelId="{D88017D2-F8B2-4A2F-AC7B-7EF7DA82310D}" type="pres">
      <dgm:prSet presAssocID="{86A9AA2A-0BDA-4E45-BCA7-D49434CDF1ED}" presName="parentText" presStyleLbl="node1" presStyleIdx="1" presStyleCnt="2">
        <dgm:presLayoutVars>
          <dgm:chMax val="0"/>
          <dgm:bulletEnabled val="1"/>
        </dgm:presLayoutVars>
      </dgm:prSet>
      <dgm:spPr/>
    </dgm:pt>
    <dgm:pt modelId="{04B779F4-87FA-4B0F-A69A-2817AF99CFF7}" type="pres">
      <dgm:prSet presAssocID="{86A9AA2A-0BDA-4E45-BCA7-D49434CDF1ED}" presName="childText" presStyleLbl="revTx" presStyleIdx="1" presStyleCnt="2">
        <dgm:presLayoutVars>
          <dgm:bulletEnabled val="1"/>
        </dgm:presLayoutVars>
      </dgm:prSet>
      <dgm:spPr/>
    </dgm:pt>
  </dgm:ptLst>
  <dgm:cxnLst>
    <dgm:cxn modelId="{E0F75B03-C781-4716-A47E-7CE44B692428}" type="presOf" srcId="{0EF9746B-88DD-4515-81CF-8A7685497255}" destId="{04B779F4-87FA-4B0F-A69A-2817AF99CFF7}" srcOrd="0" destOrd="1" presId="urn:microsoft.com/office/officeart/2005/8/layout/vList2"/>
    <dgm:cxn modelId="{CA33BA0B-39EF-4DDB-A7A8-5C0A87B11853}" type="presOf" srcId="{AA9CB5E5-05A5-49EF-BBA3-E1BCECE71587}" destId="{04B779F4-87FA-4B0F-A69A-2817AF99CFF7}" srcOrd="0" destOrd="0" presId="urn:microsoft.com/office/officeart/2005/8/layout/vList2"/>
    <dgm:cxn modelId="{9F98EA1C-B2EB-46A8-9E76-4BA508B941B6}" srcId="{A26E7A40-8771-4F50-8B5D-FF08DA840024}" destId="{E905981D-028A-4696-9C15-E1F6D702C82F}" srcOrd="0" destOrd="0" parTransId="{3238FB57-D7D1-4314-B52B-B85AF884401D}" sibTransId="{595BB1E7-F5EE-4653-ABD4-CFF663B9DC50}"/>
    <dgm:cxn modelId="{84C6212C-E00D-4F05-A390-85283ADFF437}" type="presOf" srcId="{1324E96F-358E-4C1C-B5D6-76C7650D95C0}" destId="{99AC13B2-FC11-4B48-85CD-27113BF6C2C4}" srcOrd="0" destOrd="0" presId="urn:microsoft.com/office/officeart/2005/8/layout/vList2"/>
    <dgm:cxn modelId="{3EF87C61-DE1C-4498-9A92-3FC60099C8CE}" type="presOf" srcId="{465BDAD8-7289-4B80-B3CA-E95FF7EE020E}" destId="{04B779F4-87FA-4B0F-A69A-2817AF99CFF7}" srcOrd="0" destOrd="2" presId="urn:microsoft.com/office/officeart/2005/8/layout/vList2"/>
    <dgm:cxn modelId="{F6C92643-D3D4-49AF-9D6D-153E95A99C26}" srcId="{86A9AA2A-0BDA-4E45-BCA7-D49434CDF1ED}" destId="{AA9CB5E5-05A5-49EF-BBA3-E1BCECE71587}" srcOrd="0" destOrd="0" parTransId="{F10EC3B4-24CB-4570-9562-181CCA5E170A}" sibTransId="{AB5810E5-5A10-4DFC-AF71-68596076C696}"/>
    <dgm:cxn modelId="{077F5A52-C57D-490E-B3AB-0A5206A68430}" srcId="{E905981D-028A-4696-9C15-E1F6D702C82F}" destId="{1324E96F-358E-4C1C-B5D6-76C7650D95C0}" srcOrd="0" destOrd="0" parTransId="{6EC1AF3A-4FEA-4942-90CA-05EB3A26284D}" sibTransId="{2526DA9F-C5B7-4117-93B4-5BAA51D31A26}"/>
    <dgm:cxn modelId="{8CF6B382-C07E-46CB-A01F-064E7EB993CC}" srcId="{86A9AA2A-0BDA-4E45-BCA7-D49434CDF1ED}" destId="{0EF9746B-88DD-4515-81CF-8A7685497255}" srcOrd="1" destOrd="0" parTransId="{3A451BDC-DD62-4C32-8C66-C0DF39EBE965}" sibTransId="{D53D2C2B-8874-47AD-9B69-9C0C21EAD8DD}"/>
    <dgm:cxn modelId="{411617AA-A61A-43BD-BACB-B0CB2DB618C0}" type="presOf" srcId="{A26E7A40-8771-4F50-8B5D-FF08DA840024}" destId="{D48CC2B7-199F-4243-A50F-ACAFF2C24567}" srcOrd="0" destOrd="0" presId="urn:microsoft.com/office/officeart/2005/8/layout/vList2"/>
    <dgm:cxn modelId="{E879F9B9-9917-4A03-A4DA-5EF43CC3EE39}" srcId="{86A9AA2A-0BDA-4E45-BCA7-D49434CDF1ED}" destId="{465BDAD8-7289-4B80-B3CA-E95FF7EE020E}" srcOrd="2" destOrd="0" parTransId="{9E77696A-D45A-41C9-A236-F10D33002A43}" sibTransId="{3FCF8B5A-CF43-46C8-9351-EC936017EC34}"/>
    <dgm:cxn modelId="{80212BD9-E709-4273-9C23-4DDE0543D8E3}" type="presOf" srcId="{86A9AA2A-0BDA-4E45-BCA7-D49434CDF1ED}" destId="{D88017D2-F8B2-4A2F-AC7B-7EF7DA82310D}" srcOrd="0" destOrd="0" presId="urn:microsoft.com/office/officeart/2005/8/layout/vList2"/>
    <dgm:cxn modelId="{3B852CE3-6CA9-42F2-8A1F-7E420B71C44C}" type="presOf" srcId="{E905981D-028A-4696-9C15-E1F6D702C82F}" destId="{7F0167FA-DE95-4E05-8F91-6A8DAD251273}" srcOrd="0" destOrd="0" presId="urn:microsoft.com/office/officeart/2005/8/layout/vList2"/>
    <dgm:cxn modelId="{7C5182E5-86F5-425A-92C0-E4A840E5FA04}" srcId="{A26E7A40-8771-4F50-8B5D-FF08DA840024}" destId="{86A9AA2A-0BDA-4E45-BCA7-D49434CDF1ED}" srcOrd="1" destOrd="0" parTransId="{C0FAD9E7-79E8-4C56-9F9E-949F79067FEC}" sibTransId="{25739D5F-C987-4D61-A45B-AD1EE54FD4B9}"/>
    <dgm:cxn modelId="{A38264F4-D6A9-410F-84F3-6A1A8BD4E754}" type="presParOf" srcId="{D48CC2B7-199F-4243-A50F-ACAFF2C24567}" destId="{7F0167FA-DE95-4E05-8F91-6A8DAD251273}" srcOrd="0" destOrd="0" presId="urn:microsoft.com/office/officeart/2005/8/layout/vList2"/>
    <dgm:cxn modelId="{CA79A097-F82A-4F81-8A47-912F9DAC5124}" type="presParOf" srcId="{D48CC2B7-199F-4243-A50F-ACAFF2C24567}" destId="{99AC13B2-FC11-4B48-85CD-27113BF6C2C4}" srcOrd="1" destOrd="0" presId="urn:microsoft.com/office/officeart/2005/8/layout/vList2"/>
    <dgm:cxn modelId="{5A5ECC67-A05E-43B9-85EE-79D98795DB84}" type="presParOf" srcId="{D48CC2B7-199F-4243-A50F-ACAFF2C24567}" destId="{D88017D2-F8B2-4A2F-AC7B-7EF7DA82310D}" srcOrd="2" destOrd="0" presId="urn:microsoft.com/office/officeart/2005/8/layout/vList2"/>
    <dgm:cxn modelId="{4D8E833A-71D0-482C-A848-9C5AB5279513}" type="presParOf" srcId="{D48CC2B7-199F-4243-A50F-ACAFF2C24567}" destId="{04B779F4-87FA-4B0F-A69A-2817AF99CFF7}" srcOrd="3"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5C166E0C-EEF7-4BC5-BE23-48C74CC4F231}"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19491290-5AEB-4F49-BFB2-D594D918E113}">
      <dgm:prSet/>
      <dgm:spPr>
        <a:xfrm>
          <a:off x="1537730" y="2289"/>
          <a:ext cx="2838996" cy="1419498"/>
        </a:xfrm>
        <a:prstGeom prst="rect">
          <a:avLst/>
        </a:prstGeom>
        <a:solidFill>
          <a:srgbClr val="002050"/>
        </a:solidFill>
        <a:ln w="10795" cap="flat" cmpd="sng" algn="ctr">
          <a:solidFill>
            <a:srgbClr val="FFFFFF">
              <a:hueOff val="0"/>
              <a:satOff val="0"/>
              <a:lumOff val="0"/>
              <a:alphaOff val="0"/>
            </a:srgbClr>
          </a:solidFill>
          <a:prstDash val="solid"/>
        </a:ln>
        <a:effectLst/>
      </dgm:spPr>
      <dgm:t>
        <a:bodyPr/>
        <a:lstStyle/>
        <a:p>
          <a:pPr rtl="0">
            <a:buNone/>
          </a:pPr>
          <a:r>
            <a:rPr lang="en-US" baseline="0">
              <a:solidFill>
                <a:srgbClr val="FFFFFF"/>
              </a:solidFill>
              <a:latin typeface="Segoe UI"/>
              <a:ea typeface="+mn-ea"/>
              <a:cs typeface="+mn-cs"/>
            </a:rPr>
            <a:t>Two types of encryption </a:t>
          </a:r>
          <a:br>
            <a:rPr lang="en-US" baseline="0">
              <a:solidFill>
                <a:srgbClr val="FFFFFF"/>
              </a:solidFill>
              <a:latin typeface="Segoe UI"/>
              <a:ea typeface="+mn-ea"/>
              <a:cs typeface="+mn-cs"/>
            </a:rPr>
          </a:br>
          <a:r>
            <a:rPr lang="en-US" baseline="0">
              <a:solidFill>
                <a:srgbClr val="FFFFFF"/>
              </a:solidFill>
              <a:latin typeface="Segoe UI"/>
              <a:ea typeface="+mn-ea"/>
              <a:cs typeface="+mn-cs"/>
            </a:rPr>
            <a:t>are available:</a:t>
          </a:r>
          <a:endParaRPr lang="en-US">
            <a:solidFill>
              <a:srgbClr val="FFFFFF"/>
            </a:solidFill>
            <a:latin typeface="Segoe UI"/>
            <a:ea typeface="+mn-ea"/>
            <a:cs typeface="+mn-cs"/>
          </a:endParaRPr>
        </a:p>
      </dgm:t>
    </dgm:pt>
    <dgm:pt modelId="{97F7E92F-B8F5-4FB1-BC94-7FB1761C2264}" type="parTrans" cxnId="{025CEFD4-7994-443E-A0BE-EF1B724E2BB1}">
      <dgm:prSet/>
      <dgm:spPr/>
      <dgm:t>
        <a:bodyPr/>
        <a:lstStyle/>
        <a:p>
          <a:endParaRPr lang="en-US"/>
        </a:p>
      </dgm:t>
    </dgm:pt>
    <dgm:pt modelId="{0265292D-A426-460E-B9A4-360E4A393B3A}" type="sibTrans" cxnId="{025CEFD4-7994-443E-A0BE-EF1B724E2BB1}">
      <dgm:prSet/>
      <dgm:spPr/>
      <dgm:t>
        <a:bodyPr/>
        <a:lstStyle/>
        <a:p>
          <a:endParaRPr lang="en-US"/>
        </a:p>
      </dgm:t>
    </dgm:pt>
    <dgm:pt modelId="{2714A7F6-0FEB-493C-AC8D-16D2B82DFE30}">
      <dgm:prSet/>
      <dgm:spPr>
        <a:xfrm>
          <a:off x="0" y="2958536"/>
          <a:ext cx="2838996" cy="1419498"/>
        </a:xfrm>
        <a:prstGeom prst="rect">
          <a:avLst/>
        </a:prstGeom>
        <a:solidFill>
          <a:srgbClr val="0078D7"/>
        </a:solidFill>
        <a:ln w="10795" cap="flat" cmpd="sng" algn="ctr">
          <a:solidFill>
            <a:srgbClr val="FFFFFF">
              <a:hueOff val="0"/>
              <a:satOff val="0"/>
              <a:lumOff val="0"/>
              <a:alphaOff val="0"/>
            </a:srgbClr>
          </a:solidFill>
          <a:prstDash val="solid"/>
        </a:ln>
        <a:effectLst/>
      </dgm:spPr>
      <dgm:t>
        <a:bodyPr/>
        <a:lstStyle/>
        <a:p>
          <a:pPr rtl="0">
            <a:buNone/>
          </a:pPr>
          <a:r>
            <a:rPr lang="en-US" baseline="0">
              <a:solidFill>
                <a:srgbClr val="FFFFFF"/>
              </a:solidFill>
              <a:latin typeface="Segoe UI"/>
              <a:ea typeface="+mn-ea"/>
              <a:cs typeface="+mn-cs"/>
            </a:rPr>
            <a:t>Randomized encryption uses a method that encrypts data in less predictable manner.</a:t>
          </a:r>
          <a:endParaRPr lang="en-US">
            <a:solidFill>
              <a:srgbClr val="FFFFFF"/>
            </a:solidFill>
            <a:latin typeface="Segoe UI"/>
            <a:ea typeface="+mn-ea"/>
            <a:cs typeface="+mn-cs"/>
          </a:endParaRPr>
        </a:p>
      </dgm:t>
    </dgm:pt>
    <dgm:pt modelId="{75579DCF-67A4-4BBC-88C3-4A29FBCD32BC}" type="parTrans" cxnId="{07C38013-5EA0-47C2-8DEC-35F2587ACC21}">
      <dgm:prSet/>
      <dgm:spPr/>
      <dgm:t>
        <a:bodyPr/>
        <a:lstStyle/>
        <a:p>
          <a:endParaRPr lang="en-US"/>
        </a:p>
      </dgm:t>
    </dgm:pt>
    <dgm:pt modelId="{9588F158-8719-473D-A929-E68096B4A4F8}" type="sibTrans" cxnId="{07C38013-5EA0-47C2-8DEC-35F2587ACC21}">
      <dgm:prSet/>
      <dgm:spPr/>
      <dgm:t>
        <a:bodyPr/>
        <a:lstStyle/>
        <a:p>
          <a:endParaRPr lang="en-US"/>
        </a:p>
      </dgm:t>
    </dgm:pt>
    <dgm:pt modelId="{D9DDA727-BEBF-4BC4-B206-3963B7E9EEE2}">
      <dgm:prSet/>
      <dgm:spPr>
        <a:xfrm>
          <a:off x="2952629" y="2953227"/>
          <a:ext cx="2838996" cy="1419498"/>
        </a:xfrm>
        <a:prstGeom prst="rect">
          <a:avLst/>
        </a:prstGeom>
        <a:solidFill>
          <a:srgbClr val="002050">
            <a:lumMod val="75000"/>
            <a:lumOff val="25000"/>
          </a:srgbClr>
        </a:solidFill>
        <a:ln w="10795" cap="flat" cmpd="sng" algn="ctr">
          <a:solidFill>
            <a:srgbClr val="FFFFFF">
              <a:hueOff val="0"/>
              <a:satOff val="0"/>
              <a:lumOff val="0"/>
              <a:alphaOff val="0"/>
            </a:srgbClr>
          </a:solidFill>
          <a:prstDash val="solid"/>
        </a:ln>
        <a:effectLst/>
      </dgm:spPr>
      <dgm:t>
        <a:bodyPr/>
        <a:lstStyle/>
        <a:p>
          <a:pPr rtl="0">
            <a:buNone/>
          </a:pPr>
          <a:r>
            <a:rPr lang="en-US" baseline="0">
              <a:solidFill>
                <a:srgbClr val="FFFFFF"/>
              </a:solidFill>
              <a:latin typeface="Segoe UI"/>
              <a:ea typeface="+mn-ea"/>
              <a:cs typeface="+mn-cs"/>
            </a:rPr>
            <a:t>Deterministic encryption uses method that always generates the same encrypted value for any given plain text value.</a:t>
          </a:r>
          <a:endParaRPr lang="en-US">
            <a:solidFill>
              <a:srgbClr val="FFFFFF"/>
            </a:solidFill>
            <a:latin typeface="Segoe UI"/>
            <a:ea typeface="+mn-ea"/>
            <a:cs typeface="+mn-cs"/>
          </a:endParaRPr>
        </a:p>
      </dgm:t>
    </dgm:pt>
    <dgm:pt modelId="{B590683E-D8A8-4EBB-9F02-4DC3787A4DE4}" type="parTrans" cxnId="{DDA62608-C1A4-412A-8790-DDBA18AF67BD}">
      <dgm:prSet/>
      <dgm:spPr/>
      <dgm:t>
        <a:bodyPr/>
        <a:lstStyle/>
        <a:p>
          <a:endParaRPr lang="en-US"/>
        </a:p>
      </dgm:t>
    </dgm:pt>
    <dgm:pt modelId="{7CA304BD-9756-448C-8257-53E8808BE416}" type="sibTrans" cxnId="{DDA62608-C1A4-412A-8790-DDBA18AF67BD}">
      <dgm:prSet/>
      <dgm:spPr/>
      <dgm:t>
        <a:bodyPr/>
        <a:lstStyle/>
        <a:p>
          <a:endParaRPr lang="en-US"/>
        </a:p>
      </dgm:t>
    </dgm:pt>
    <dgm:pt modelId="{70186F5F-BED2-4CFC-8F0E-5DD27B05BFBA}" type="pres">
      <dgm:prSet presAssocID="{5C166E0C-EEF7-4BC5-BE23-48C74CC4F231}" presName="diagram" presStyleCnt="0">
        <dgm:presLayoutVars>
          <dgm:chPref val="1"/>
          <dgm:dir/>
          <dgm:animOne val="branch"/>
          <dgm:animLvl val="lvl"/>
          <dgm:resizeHandles val="exact"/>
        </dgm:presLayoutVars>
      </dgm:prSet>
      <dgm:spPr/>
    </dgm:pt>
    <dgm:pt modelId="{D0DEB4AA-78BD-435E-8F6A-89D134DE363D}" type="pres">
      <dgm:prSet presAssocID="{19491290-5AEB-4F49-BFB2-D594D918E113}" presName="root1" presStyleCnt="0"/>
      <dgm:spPr/>
    </dgm:pt>
    <dgm:pt modelId="{D21D7762-782D-4942-A450-C4F40A299441}" type="pres">
      <dgm:prSet presAssocID="{19491290-5AEB-4F49-BFB2-D594D918E113}" presName="LevelOneTextNode" presStyleLbl="node0" presStyleIdx="0" presStyleCnt="3">
        <dgm:presLayoutVars>
          <dgm:chPref val="3"/>
        </dgm:presLayoutVars>
      </dgm:prSet>
      <dgm:spPr>
        <a:prstGeom prst="rect">
          <a:avLst/>
        </a:prstGeom>
      </dgm:spPr>
    </dgm:pt>
    <dgm:pt modelId="{FB1B0337-424B-4A34-8E73-070A8BE329FC}" type="pres">
      <dgm:prSet presAssocID="{19491290-5AEB-4F49-BFB2-D594D918E113}" presName="level2hierChild" presStyleCnt="0"/>
      <dgm:spPr/>
    </dgm:pt>
    <dgm:pt modelId="{F4982F50-2F06-4D59-A22E-57E8ED1F2179}" type="pres">
      <dgm:prSet presAssocID="{2714A7F6-0FEB-493C-AC8D-16D2B82DFE30}" presName="root1" presStyleCnt="0"/>
      <dgm:spPr/>
    </dgm:pt>
    <dgm:pt modelId="{5CD1D8B0-ECB0-4246-B483-225BA4AC04DC}" type="pres">
      <dgm:prSet presAssocID="{2714A7F6-0FEB-493C-AC8D-16D2B82DFE30}" presName="LevelOneTextNode" presStyleLbl="node0" presStyleIdx="1" presStyleCnt="3" custLinFactNeighborX="-52744" custLinFactNeighborY="95002">
        <dgm:presLayoutVars>
          <dgm:chPref val="3"/>
        </dgm:presLayoutVars>
      </dgm:prSet>
      <dgm:spPr>
        <a:prstGeom prst="rect">
          <a:avLst/>
        </a:prstGeom>
      </dgm:spPr>
    </dgm:pt>
    <dgm:pt modelId="{9E7BEAF9-8C3A-41AE-92CF-8D45CE961B8D}" type="pres">
      <dgm:prSet presAssocID="{2714A7F6-0FEB-493C-AC8D-16D2B82DFE30}" presName="level2hierChild" presStyleCnt="0"/>
      <dgm:spPr/>
    </dgm:pt>
    <dgm:pt modelId="{1B87235E-2098-482C-B992-35115DDB3D70}" type="pres">
      <dgm:prSet presAssocID="{D9DDA727-BEBF-4BC4-B206-3963B7E9EEE2}" presName="root1" presStyleCnt="0"/>
      <dgm:spPr/>
    </dgm:pt>
    <dgm:pt modelId="{0B348427-0021-47DF-923A-EC2125656BF4}" type="pres">
      <dgm:prSet presAssocID="{D9DDA727-BEBF-4BC4-B206-3963B7E9EEE2}" presName="LevelOneTextNode" presStyleLbl="node0" presStyleIdx="2" presStyleCnt="3" custLinFactNeighborX="59795" custLinFactNeighborY="-20613">
        <dgm:presLayoutVars>
          <dgm:chPref val="3"/>
        </dgm:presLayoutVars>
      </dgm:prSet>
      <dgm:spPr>
        <a:prstGeom prst="rect">
          <a:avLst/>
        </a:prstGeom>
      </dgm:spPr>
    </dgm:pt>
    <dgm:pt modelId="{CDB0D6D4-F36F-4A8A-96D3-8DF6BDC4AC39}" type="pres">
      <dgm:prSet presAssocID="{D9DDA727-BEBF-4BC4-B206-3963B7E9EEE2}" presName="level2hierChild" presStyleCnt="0"/>
      <dgm:spPr/>
    </dgm:pt>
  </dgm:ptLst>
  <dgm:cxnLst>
    <dgm:cxn modelId="{DDA62608-C1A4-412A-8790-DDBA18AF67BD}" srcId="{5C166E0C-EEF7-4BC5-BE23-48C74CC4F231}" destId="{D9DDA727-BEBF-4BC4-B206-3963B7E9EEE2}" srcOrd="2" destOrd="0" parTransId="{B590683E-D8A8-4EBB-9F02-4DC3787A4DE4}" sibTransId="{7CA304BD-9756-448C-8257-53E8808BE416}"/>
    <dgm:cxn modelId="{07C38013-5EA0-47C2-8DEC-35F2587ACC21}" srcId="{5C166E0C-EEF7-4BC5-BE23-48C74CC4F231}" destId="{2714A7F6-0FEB-493C-AC8D-16D2B82DFE30}" srcOrd="1" destOrd="0" parTransId="{75579DCF-67A4-4BBC-88C3-4A29FBCD32BC}" sibTransId="{9588F158-8719-473D-A929-E68096B4A4F8}"/>
    <dgm:cxn modelId="{5CFF364D-DBF2-4816-BE78-3D8890257E0C}" type="presOf" srcId="{19491290-5AEB-4F49-BFB2-D594D918E113}" destId="{D21D7762-782D-4942-A450-C4F40A299441}" srcOrd="0" destOrd="0" presId="urn:microsoft.com/office/officeart/2005/8/layout/hierarchy2"/>
    <dgm:cxn modelId="{3009E779-EE37-4626-8D42-D7E201076D50}" type="presOf" srcId="{2714A7F6-0FEB-493C-AC8D-16D2B82DFE30}" destId="{5CD1D8B0-ECB0-4246-B483-225BA4AC04DC}" srcOrd="0" destOrd="0" presId="urn:microsoft.com/office/officeart/2005/8/layout/hierarchy2"/>
    <dgm:cxn modelId="{9D6A3BBC-8B41-4AEF-9F27-C45E37D4C2BE}" type="presOf" srcId="{5C166E0C-EEF7-4BC5-BE23-48C74CC4F231}" destId="{70186F5F-BED2-4CFC-8F0E-5DD27B05BFBA}" srcOrd="0" destOrd="0" presId="urn:microsoft.com/office/officeart/2005/8/layout/hierarchy2"/>
    <dgm:cxn modelId="{0A158DCE-BBCC-48D7-A5C7-7B38D9E6A0B0}" type="presOf" srcId="{D9DDA727-BEBF-4BC4-B206-3963B7E9EEE2}" destId="{0B348427-0021-47DF-923A-EC2125656BF4}" srcOrd="0" destOrd="0" presId="urn:microsoft.com/office/officeart/2005/8/layout/hierarchy2"/>
    <dgm:cxn modelId="{025CEFD4-7994-443E-A0BE-EF1B724E2BB1}" srcId="{5C166E0C-EEF7-4BC5-BE23-48C74CC4F231}" destId="{19491290-5AEB-4F49-BFB2-D594D918E113}" srcOrd="0" destOrd="0" parTransId="{97F7E92F-B8F5-4FB1-BC94-7FB1761C2264}" sibTransId="{0265292D-A426-460E-B9A4-360E4A393B3A}"/>
    <dgm:cxn modelId="{9B5D4A40-38DB-4904-B524-469A53564E3F}" type="presParOf" srcId="{70186F5F-BED2-4CFC-8F0E-5DD27B05BFBA}" destId="{D0DEB4AA-78BD-435E-8F6A-89D134DE363D}" srcOrd="0" destOrd="0" presId="urn:microsoft.com/office/officeart/2005/8/layout/hierarchy2"/>
    <dgm:cxn modelId="{A0B80080-4DBF-416D-941F-C7E2D356CAF2}" type="presParOf" srcId="{D0DEB4AA-78BD-435E-8F6A-89D134DE363D}" destId="{D21D7762-782D-4942-A450-C4F40A299441}" srcOrd="0" destOrd="0" presId="urn:microsoft.com/office/officeart/2005/8/layout/hierarchy2"/>
    <dgm:cxn modelId="{C6CD011B-9EE1-4D8D-A0F2-E2D0FA70C1FA}" type="presParOf" srcId="{D0DEB4AA-78BD-435E-8F6A-89D134DE363D}" destId="{FB1B0337-424B-4A34-8E73-070A8BE329FC}" srcOrd="1" destOrd="0" presId="urn:microsoft.com/office/officeart/2005/8/layout/hierarchy2"/>
    <dgm:cxn modelId="{E2DB5098-37BB-4A06-9B75-8B380DA59708}" type="presParOf" srcId="{70186F5F-BED2-4CFC-8F0E-5DD27B05BFBA}" destId="{F4982F50-2F06-4D59-A22E-57E8ED1F2179}" srcOrd="1" destOrd="0" presId="urn:microsoft.com/office/officeart/2005/8/layout/hierarchy2"/>
    <dgm:cxn modelId="{4D46C66F-AA19-40F4-8F53-774CB353A131}" type="presParOf" srcId="{F4982F50-2F06-4D59-A22E-57E8ED1F2179}" destId="{5CD1D8B0-ECB0-4246-B483-225BA4AC04DC}" srcOrd="0" destOrd="0" presId="urn:microsoft.com/office/officeart/2005/8/layout/hierarchy2"/>
    <dgm:cxn modelId="{682BF09D-2C9B-4FB1-9CEA-2451AD600104}" type="presParOf" srcId="{F4982F50-2F06-4D59-A22E-57E8ED1F2179}" destId="{9E7BEAF9-8C3A-41AE-92CF-8D45CE961B8D}" srcOrd="1" destOrd="0" presId="urn:microsoft.com/office/officeart/2005/8/layout/hierarchy2"/>
    <dgm:cxn modelId="{2063DF42-3524-4CC6-A27F-B97BCB8C4260}" type="presParOf" srcId="{70186F5F-BED2-4CFC-8F0E-5DD27B05BFBA}" destId="{1B87235E-2098-482C-B992-35115DDB3D70}" srcOrd="2" destOrd="0" presId="urn:microsoft.com/office/officeart/2005/8/layout/hierarchy2"/>
    <dgm:cxn modelId="{AB7FB731-249A-4432-B41C-B29E89929BA4}" type="presParOf" srcId="{1B87235E-2098-482C-B992-35115DDB3D70}" destId="{0B348427-0021-47DF-923A-EC2125656BF4}" srcOrd="0" destOrd="0" presId="urn:microsoft.com/office/officeart/2005/8/layout/hierarchy2"/>
    <dgm:cxn modelId="{5970300F-A58C-49FE-9F2D-27AF47A32CEF}" type="presParOf" srcId="{1B87235E-2098-482C-B992-35115DDB3D70}" destId="{CDB0D6D4-F36F-4A8A-96D3-8DF6BDC4AC39}"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5A011D1C-966D-4B70-B567-40500DCB0E8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252C2ED-C7CF-4458-9B7F-1BF06AA4EF6B}">
      <dgm:prSet phldrT="[Text]" custT="1"/>
      <dgm:spPr>
        <a:xfrm>
          <a:off x="290258" y="23822"/>
          <a:ext cx="4063612" cy="767520"/>
        </a:xfrm>
        <a:prstGeom prst="roundRect">
          <a:avLst/>
        </a:prstGeom>
        <a:solidFill>
          <a:srgbClr val="0078D7"/>
        </a:solidFill>
        <a:ln w="10795" cap="flat" cmpd="sng" algn="ctr">
          <a:solidFill>
            <a:srgbClr val="FFFFFF">
              <a:hueOff val="0"/>
              <a:satOff val="0"/>
              <a:lumOff val="0"/>
              <a:alphaOff val="0"/>
            </a:srgbClr>
          </a:solidFill>
          <a:prstDash val="solid"/>
        </a:ln>
        <a:effectLst/>
      </dgm:spPr>
      <dgm:t>
        <a:bodyPr/>
        <a:lstStyle/>
        <a:p>
          <a:pPr>
            <a:buClrTx/>
            <a:buSzTx/>
            <a:buFontTx/>
            <a:buNone/>
          </a:pPr>
          <a:r>
            <a:rPr kumimoji="0" lang="en-US" sz="2400" b="1" i="0" u="none" strike="noStrike" cap="none" spc="0" normalizeH="0" baseline="0" noProof="0">
              <a:ln>
                <a:noFill/>
              </a:ln>
              <a:solidFill>
                <a:srgbClr val="FFFFFF">
                  <a:lumMod val="95000"/>
                </a:srgbClr>
              </a:solidFill>
              <a:effectLst/>
              <a:uLnTx/>
              <a:uFillTx/>
              <a:latin typeface="Segoe UI Light" pitchFamily="34" charset="0"/>
              <a:ea typeface="+mn-ea"/>
              <a:cs typeface="+mn-cs"/>
            </a:rPr>
            <a:t>Randomized encryption</a:t>
          </a:r>
          <a:endParaRPr lang="en-US" sz="2400">
            <a:solidFill>
              <a:srgbClr val="FFFFFF"/>
            </a:solidFill>
            <a:latin typeface="Segoe UI"/>
            <a:ea typeface="+mn-ea"/>
            <a:cs typeface="+mn-cs"/>
          </a:endParaRPr>
        </a:p>
      </dgm:t>
    </dgm:pt>
    <dgm:pt modelId="{1DDF2AB1-CA17-4298-9ABC-59FEC74CC466}" type="parTrans" cxnId="{DF1F84B4-0DC4-481A-A029-A8419D484ADD}">
      <dgm:prSet/>
      <dgm:spPr/>
      <dgm:t>
        <a:bodyPr/>
        <a:lstStyle/>
        <a:p>
          <a:endParaRPr lang="en-US"/>
        </a:p>
      </dgm:t>
    </dgm:pt>
    <dgm:pt modelId="{BC48B42E-11F8-48AF-A6EF-6D9A95B11289}" type="sibTrans" cxnId="{DF1F84B4-0DC4-481A-A029-A8419D484ADD}">
      <dgm:prSet/>
      <dgm:spPr/>
      <dgm:t>
        <a:bodyPr/>
        <a:lstStyle/>
        <a:p>
          <a:endParaRPr lang="en-US"/>
        </a:p>
      </dgm:t>
    </dgm:pt>
    <dgm:pt modelId="{3C22B462-7F65-45A6-8174-B6B43A3E34C5}">
      <dgm:prSet custT="1"/>
      <dgm:spPr>
        <a:xfrm>
          <a:off x="0" y="407582"/>
          <a:ext cx="5805159" cy="22932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rPr>
            <a:t>Encrypt('123-45-6789') </a:t>
          </a: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 0x17cfd50a</a:t>
          </a:r>
        </a:p>
      </dgm:t>
    </dgm:pt>
    <dgm:pt modelId="{B1842D73-D2C6-4155-A550-30455FC17737}" type="parTrans" cxnId="{FD75B266-3972-4547-921C-6B653354754F}">
      <dgm:prSet/>
      <dgm:spPr/>
      <dgm:t>
        <a:bodyPr/>
        <a:lstStyle/>
        <a:p>
          <a:endParaRPr lang="en-US"/>
        </a:p>
      </dgm:t>
    </dgm:pt>
    <dgm:pt modelId="{D042C95B-4E92-4011-AC36-3A4F29AB1A96}" type="sibTrans" cxnId="{FD75B266-3972-4547-921C-6B653354754F}">
      <dgm:prSet/>
      <dgm:spPr/>
      <dgm:t>
        <a:bodyPr/>
        <a:lstStyle/>
        <a:p>
          <a:endParaRPr lang="en-US"/>
        </a:p>
      </dgm:t>
    </dgm:pt>
    <dgm:pt modelId="{10F87B70-8A77-4A51-805D-733CE4EEA79C}">
      <dgm:prSet custT="1"/>
      <dgm:spPr>
        <a:xfrm>
          <a:off x="0" y="407582"/>
          <a:ext cx="5805159" cy="22932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Repeat: </a:t>
          </a:r>
          <a:r>
            <a:rPr kumimoji="0" lang="en-US" sz="1600" b="0" i="0" u="none" strike="noStrike" cap="none" spc="0" normalizeH="0" baseline="0" noProof="0">
              <a:ln>
                <a:noFill/>
              </a:ln>
              <a:solidFill>
                <a:srgbClr val="002050"/>
              </a:solidFill>
              <a:effectLst/>
              <a:uLnTx/>
              <a:uFillTx/>
              <a:latin typeface="Segoe UI"/>
              <a:ea typeface="+mn-ea"/>
              <a:cs typeface="+mn-cs"/>
            </a:rPr>
            <a:t>Encrypt('123-45-6789')</a:t>
          </a: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 = 0x9b1fcf32</a:t>
          </a:r>
        </a:p>
      </dgm:t>
    </dgm:pt>
    <dgm:pt modelId="{C339F0CF-1A93-4B52-80AD-E038D1261648}" type="parTrans" cxnId="{644CB2C4-7AC6-464A-9CDF-D2EBC2D27F9D}">
      <dgm:prSet/>
      <dgm:spPr/>
      <dgm:t>
        <a:bodyPr/>
        <a:lstStyle/>
        <a:p>
          <a:endParaRPr lang="en-US"/>
        </a:p>
      </dgm:t>
    </dgm:pt>
    <dgm:pt modelId="{749610D6-7FFC-41A0-949C-B8DD410DFE3E}" type="sibTrans" cxnId="{644CB2C4-7AC6-464A-9CDF-D2EBC2D27F9D}">
      <dgm:prSet/>
      <dgm:spPr/>
      <dgm:t>
        <a:bodyPr/>
        <a:lstStyle/>
        <a:p>
          <a:endParaRPr lang="en-US"/>
        </a:p>
      </dgm:t>
    </dgm:pt>
    <dgm:pt modelId="{DD00E3E9-2306-4BC4-8BD2-B48997AE4371}">
      <dgm:prSet custT="1"/>
      <dgm:spPr>
        <a:xfrm>
          <a:off x="0" y="407582"/>
          <a:ext cx="5805159" cy="22932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rPr>
            <a:t>Allows for transparent retrieval of encrypted data</a:t>
          </a:r>
          <a:r>
            <a:rPr kumimoji="0" lang="en-US" sz="1600" b="0" i="0" u="none" strike="noStrike" cap="none" spc="0" normalizeH="0" baseline="0" noProof="0">
              <a:ln>
                <a:noFill/>
              </a:ln>
              <a:solidFill>
                <a:srgbClr val="002050"/>
              </a:solidFill>
              <a:effectLst/>
              <a:uLnTx/>
              <a:uFillTx/>
              <a:latin typeface="Segoe UI Semibold"/>
              <a:ea typeface="+mn-ea"/>
              <a:cs typeface="+mn-cs"/>
            </a:rPr>
            <a:t> </a:t>
          </a:r>
          <a:r>
            <a:rPr kumimoji="0" lang="en-US" sz="1600" b="1" i="0" u="none" strike="noStrike" cap="none" spc="0" normalizeH="0" baseline="0" noProof="0">
              <a:ln>
                <a:noFill/>
              </a:ln>
              <a:solidFill>
                <a:srgbClr val="002050"/>
              </a:solidFill>
              <a:effectLst/>
              <a:uLnTx/>
              <a:uFillTx/>
              <a:latin typeface="Segoe UI Semibold"/>
              <a:ea typeface="+mn-ea"/>
              <a:cs typeface="+mn-cs"/>
            </a:rPr>
            <a:t>but</a:t>
          </a:r>
          <a:r>
            <a:rPr kumimoji="0" lang="en-US" sz="1600" b="0" i="0" u="none" strike="noStrike" cap="none" spc="0" normalizeH="0" baseline="0" noProof="0">
              <a:ln>
                <a:noFill/>
              </a:ln>
              <a:solidFill>
                <a:srgbClr val="002050"/>
              </a:solidFill>
              <a:effectLst/>
              <a:uLnTx/>
              <a:uFillTx/>
              <a:latin typeface="Segoe UI Semibold"/>
              <a:ea typeface="+mn-ea"/>
              <a:cs typeface="+mn-cs"/>
            </a:rPr>
            <a:t> </a:t>
          </a:r>
          <a:r>
            <a:rPr kumimoji="0" lang="en-US" sz="1600" b="1" i="0" u="none" strike="noStrike" cap="none" spc="0" normalizeH="0" baseline="0" noProof="0">
              <a:ln>
                <a:noFill/>
              </a:ln>
              <a:solidFill>
                <a:srgbClr val="002050"/>
              </a:solidFill>
              <a:effectLst/>
              <a:uLnTx/>
              <a:uFillTx/>
              <a:latin typeface="Segoe UI Semibold"/>
              <a:ea typeface="+mn-ea"/>
              <a:cs typeface="+mn-cs"/>
            </a:rPr>
            <a:t>no operations.</a:t>
          </a:r>
        </a:p>
      </dgm:t>
    </dgm:pt>
    <dgm:pt modelId="{7B812EC0-FB38-41EE-9CD0-2D1788C7CBEE}" type="parTrans" cxnId="{699C92DA-D766-456B-948E-60098E1323DF}">
      <dgm:prSet/>
      <dgm:spPr/>
      <dgm:t>
        <a:bodyPr/>
        <a:lstStyle/>
        <a:p>
          <a:endParaRPr lang="en-US"/>
        </a:p>
      </dgm:t>
    </dgm:pt>
    <dgm:pt modelId="{13F77661-8DDF-4AE0-9F10-5345EF7F2883}" type="sibTrans" cxnId="{699C92DA-D766-456B-948E-60098E1323DF}">
      <dgm:prSet/>
      <dgm:spPr/>
      <dgm:t>
        <a:bodyPr/>
        <a:lstStyle/>
        <a:p>
          <a:endParaRPr lang="en-US"/>
        </a:p>
      </dgm:t>
    </dgm:pt>
    <dgm:pt modelId="{AC335C9C-CB69-4C79-97BE-4A28CDED3952}">
      <dgm:prSet custT="1"/>
      <dgm:spPr>
        <a:xfrm>
          <a:off x="0" y="407582"/>
          <a:ext cx="5805159" cy="22932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rPr>
            <a:t>More secure</a:t>
          </a:r>
          <a:br>
            <a:rPr kumimoji="0" lang="en-US" sz="1900" b="0" i="0" u="none" strike="noStrike" cap="none" spc="0" normalizeH="0" baseline="0" noProof="0">
              <a:ln>
                <a:noFill/>
              </a:ln>
              <a:solidFill>
                <a:srgbClr val="002050"/>
              </a:solidFill>
              <a:effectLst/>
              <a:uLnTx/>
              <a:uFillTx/>
              <a:latin typeface="Segoe UI"/>
              <a:ea typeface="+mn-ea"/>
              <a:cs typeface="+mn-cs"/>
            </a:rPr>
          </a:br>
          <a:endParaRPr kumimoji="0" lang="en-US" sz="1900" b="0" i="0" u="none" strike="noStrike" cap="none" spc="0" normalizeH="0" baseline="0" noProof="0">
            <a:ln>
              <a:noFill/>
            </a:ln>
            <a:solidFill>
              <a:srgbClr val="002050"/>
            </a:solidFill>
            <a:effectLst/>
            <a:uLnTx/>
            <a:uFillTx/>
            <a:latin typeface="Segoe UI"/>
            <a:ea typeface="+mn-ea"/>
            <a:cs typeface="+mn-cs"/>
          </a:endParaRPr>
        </a:p>
      </dgm:t>
    </dgm:pt>
    <dgm:pt modelId="{9683B9F2-FB6A-4902-98ED-283EF7D78AAD}" type="parTrans" cxnId="{2609730F-9EDA-493E-8323-73EA2E0BEF7F}">
      <dgm:prSet/>
      <dgm:spPr/>
      <dgm:t>
        <a:bodyPr/>
        <a:lstStyle/>
        <a:p>
          <a:endParaRPr lang="en-US"/>
        </a:p>
      </dgm:t>
    </dgm:pt>
    <dgm:pt modelId="{7AD1AE9E-E255-4C13-A46B-CE216930ACB7}" type="sibTrans" cxnId="{2609730F-9EDA-493E-8323-73EA2E0BEF7F}">
      <dgm:prSet/>
      <dgm:spPr/>
      <dgm:t>
        <a:bodyPr/>
        <a:lstStyle/>
        <a:p>
          <a:endParaRPr lang="en-US"/>
        </a:p>
      </dgm:t>
    </dgm:pt>
    <dgm:pt modelId="{A02EE98F-8A9F-468F-9D8D-085570FF1F0C}">
      <dgm:prSet custT="1"/>
      <dgm:spPr>
        <a:xfrm>
          <a:off x="290258" y="2841182"/>
          <a:ext cx="4063612" cy="767520"/>
        </a:xfrm>
        <a:prstGeom prst="roundRect">
          <a:avLst/>
        </a:prstGeom>
        <a:solidFill>
          <a:srgbClr val="002050">
            <a:lumMod val="75000"/>
            <a:lumOff val="25000"/>
          </a:srgbClr>
        </a:solidFill>
        <a:ln w="10795" cap="flat" cmpd="sng" algn="ctr">
          <a:solidFill>
            <a:srgbClr val="FFFFFF">
              <a:hueOff val="0"/>
              <a:satOff val="0"/>
              <a:lumOff val="0"/>
              <a:alphaOff val="0"/>
            </a:srgbClr>
          </a:solidFill>
          <a:prstDash val="solid"/>
        </a:ln>
        <a:effectLst/>
      </dgm:spPr>
      <dgm:t>
        <a:bodyPr/>
        <a:lstStyle/>
        <a:p>
          <a:pPr>
            <a:buNone/>
          </a:pPr>
          <a:r>
            <a:rPr kumimoji="0" lang="en-US" sz="2400" b="1" i="0" u="none" strike="noStrike" cap="none" spc="0" normalizeH="0" baseline="0" noProof="0">
              <a:ln>
                <a:noFill/>
              </a:ln>
              <a:solidFill>
                <a:srgbClr val="FFFFFF">
                  <a:lumMod val="95000"/>
                </a:srgbClr>
              </a:solidFill>
              <a:effectLst/>
              <a:uLnTx/>
              <a:uFillTx/>
              <a:latin typeface="Segoe UI Light" pitchFamily="34" charset="0"/>
              <a:ea typeface="+mn-ea"/>
              <a:cs typeface="+mn-cs"/>
            </a:rPr>
            <a:t>Deterministic encryption</a:t>
          </a:r>
        </a:p>
      </dgm:t>
    </dgm:pt>
    <dgm:pt modelId="{A30B44CC-9A51-4BDB-9E4A-6D3B38948EBC}" type="parTrans" cxnId="{89201E79-A8B5-49B7-82A6-57AC2E10C377}">
      <dgm:prSet/>
      <dgm:spPr/>
      <dgm:t>
        <a:bodyPr/>
        <a:lstStyle/>
        <a:p>
          <a:endParaRPr lang="en-US"/>
        </a:p>
      </dgm:t>
    </dgm:pt>
    <dgm:pt modelId="{7D6E0EA2-3CE8-4869-82D6-2F6B5C1930DC}" type="sibTrans" cxnId="{89201E79-A8B5-49B7-82A6-57AC2E10C377}">
      <dgm:prSet/>
      <dgm:spPr/>
      <dgm:t>
        <a:bodyPr/>
        <a:lstStyle/>
        <a:p>
          <a:endParaRPr lang="en-US"/>
        </a:p>
      </dgm:t>
    </dgm:pt>
    <dgm:pt modelId="{9CC2080F-EF7E-46D3-B515-77DA797D57EB}">
      <dgm:prSet custT="1"/>
      <dgm:spPr>
        <a:xfrm>
          <a:off x="0" y="3224942"/>
          <a:ext cx="5805159" cy="225225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rPr>
            <a:t>Encrypt('123-45-6789') </a:t>
          </a: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 0x85a55d3f</a:t>
          </a:r>
        </a:p>
      </dgm:t>
    </dgm:pt>
    <dgm:pt modelId="{38011D03-5B57-4981-8808-E097455F3C63}" type="parTrans" cxnId="{9F57757B-55F3-4576-AA51-79C478BFD266}">
      <dgm:prSet/>
      <dgm:spPr/>
      <dgm:t>
        <a:bodyPr/>
        <a:lstStyle/>
        <a:p>
          <a:endParaRPr lang="en-US"/>
        </a:p>
      </dgm:t>
    </dgm:pt>
    <dgm:pt modelId="{8AF5FFF3-9875-4F3F-8CF3-24962CC69945}" type="sibTrans" cxnId="{9F57757B-55F3-4576-AA51-79C478BFD266}">
      <dgm:prSet/>
      <dgm:spPr/>
      <dgm:t>
        <a:bodyPr/>
        <a:lstStyle/>
        <a:p>
          <a:endParaRPr lang="en-US"/>
        </a:p>
      </dgm:t>
    </dgm:pt>
    <dgm:pt modelId="{7E2D2B72-1C7E-4B56-92E6-E02A931E16A5}">
      <dgm:prSet custT="1"/>
      <dgm:spPr>
        <a:xfrm>
          <a:off x="0" y="3224942"/>
          <a:ext cx="5805159" cy="225225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Repeat: </a:t>
          </a:r>
          <a:r>
            <a:rPr kumimoji="0" lang="en-US" sz="1600" b="0" i="0" u="none" strike="noStrike" cap="none" spc="0" normalizeH="0" baseline="0" noProof="0">
              <a:ln>
                <a:noFill/>
              </a:ln>
              <a:solidFill>
                <a:srgbClr val="002050"/>
              </a:solidFill>
              <a:effectLst/>
              <a:uLnTx/>
              <a:uFillTx/>
              <a:latin typeface="Segoe UI"/>
              <a:ea typeface="+mn-ea"/>
              <a:cs typeface="+mn-cs"/>
            </a:rPr>
            <a:t>Encrypt('123-45-6789')</a:t>
          </a: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 = 0x85a55d3f</a:t>
          </a:r>
        </a:p>
      </dgm:t>
    </dgm:pt>
    <dgm:pt modelId="{26D25F89-74C2-46DB-A7BC-069391A13B30}" type="parTrans" cxnId="{C6F8CF94-0440-4A91-A516-10AEC325E40A}">
      <dgm:prSet/>
      <dgm:spPr/>
      <dgm:t>
        <a:bodyPr/>
        <a:lstStyle/>
        <a:p>
          <a:endParaRPr lang="en-US"/>
        </a:p>
      </dgm:t>
    </dgm:pt>
    <dgm:pt modelId="{B7202377-2395-47B4-9910-16947AAA3BB3}" type="sibTrans" cxnId="{C6F8CF94-0440-4A91-A516-10AEC325E40A}">
      <dgm:prSet/>
      <dgm:spPr/>
      <dgm:t>
        <a:bodyPr/>
        <a:lstStyle/>
        <a:p>
          <a:endParaRPr lang="en-US"/>
        </a:p>
      </dgm:t>
    </dgm:pt>
    <dgm:pt modelId="{182308A1-58FE-48EF-951E-9D1050121044}">
      <dgm:prSet custT="1"/>
      <dgm:spPr>
        <a:xfrm>
          <a:off x="0" y="3224942"/>
          <a:ext cx="5805159" cy="225225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0" i="0" u="none" strike="noStrike" cap="none" spc="0" normalizeH="0" baseline="0" noProof="0">
              <a:ln>
                <a:noFill/>
              </a:ln>
              <a:solidFill>
                <a:srgbClr val="002050"/>
              </a:solidFill>
              <a:effectLst/>
              <a:uLnTx/>
              <a:uFillTx/>
              <a:latin typeface="Segoe UI"/>
              <a:ea typeface="+mn-ea"/>
              <a:cs typeface="+mn-cs"/>
            </a:rPr>
            <a:t>Allows for transparent retrieval of encrypted data</a:t>
          </a:r>
          <a:r>
            <a:rPr kumimoji="0" lang="en-US" sz="1600" b="0" i="0" u="none" strike="noStrike" cap="none" spc="0" normalizeH="0" baseline="0" noProof="0">
              <a:ln>
                <a:noFill/>
              </a:ln>
              <a:solidFill>
                <a:srgbClr val="002050"/>
              </a:solidFill>
              <a:effectLst/>
              <a:uLnTx/>
              <a:uFillTx/>
              <a:latin typeface="Segoe UI Semibold"/>
              <a:ea typeface="+mn-ea"/>
              <a:cs typeface="+mn-cs"/>
            </a:rPr>
            <a:t> </a:t>
          </a:r>
          <a:r>
            <a:rPr kumimoji="0" lang="en-US" sz="1600" b="1" i="0" u="none" strike="noStrike" cap="none" spc="0" normalizeH="0" baseline="0" noProof="0">
              <a:ln>
                <a:noFill/>
              </a:ln>
              <a:solidFill>
                <a:srgbClr val="002050"/>
              </a:solidFill>
              <a:effectLst/>
              <a:uLnTx/>
              <a:uFillTx/>
              <a:latin typeface="Segoe UI Semibold"/>
              <a:ea typeface="+mn-ea"/>
              <a:cs typeface="+mn-cs"/>
              <a:sym typeface="Wingdings" panose="05000000000000000000" pitchFamily="2" charset="2"/>
            </a:rPr>
            <a:t>and quality. </a:t>
          </a:r>
        </a:p>
      </dgm:t>
    </dgm:pt>
    <dgm:pt modelId="{42593EF7-2CD1-4B87-897B-8BCF7F7B4C58}" type="parTrans" cxnId="{42293D8F-B2AB-4836-8F66-9319403A841B}">
      <dgm:prSet/>
      <dgm:spPr/>
      <dgm:t>
        <a:bodyPr/>
        <a:lstStyle/>
        <a:p>
          <a:endParaRPr lang="en-US"/>
        </a:p>
      </dgm:t>
    </dgm:pt>
    <dgm:pt modelId="{AEB12A70-6150-4DA9-BAF4-51D5333937BD}" type="sibTrans" cxnId="{42293D8F-B2AB-4836-8F66-9319403A841B}">
      <dgm:prSet/>
      <dgm:spPr/>
      <dgm:t>
        <a:bodyPr/>
        <a:lstStyle/>
        <a:p>
          <a:endParaRPr lang="en-US"/>
        </a:p>
      </dgm:t>
    </dgm:pt>
    <dgm:pt modelId="{D9156BFD-B20A-4AC4-969B-A83414D8D003}">
      <dgm:prSet custT="1"/>
      <dgm:spPr>
        <a:xfrm>
          <a:off x="0" y="3224942"/>
          <a:ext cx="5805159" cy="225225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ln>
        <a:effectLst/>
      </dgm:spPr>
      <dgm:t>
        <a:bodyPr/>
        <a:lstStyle/>
        <a:p>
          <a:pPr>
            <a:buChar char="•"/>
          </a:pPr>
          <a:r>
            <a:rPr kumimoji="0" lang="en-US" sz="1600" b="1" i="0" u="none" strike="noStrike" cap="none" spc="0" normalizeH="0" baseline="0" noProof="0">
              <a:ln>
                <a:noFill/>
              </a:ln>
              <a:solidFill>
                <a:srgbClr val="002050"/>
              </a:solidFill>
              <a:effectLst/>
              <a:uLnTx/>
              <a:uFillTx/>
              <a:latin typeface="Segoe UI Semibold"/>
              <a:ea typeface="+mn-ea"/>
              <a:cs typeface="+mn-cs"/>
              <a:sym typeface="Wingdings" panose="05000000000000000000" pitchFamily="2" charset="2"/>
            </a:rPr>
            <a:t>Comparison</a:t>
          </a:r>
          <a:r>
            <a:rPr kumimoji="0" lang="en-US" sz="1600" b="0" i="0" u="none" strike="noStrike" cap="none" spc="0" normalizeH="0" baseline="0" noProof="0">
              <a:ln>
                <a:noFill/>
              </a:ln>
              <a:solidFill>
                <a:srgbClr val="002050"/>
              </a:solidFill>
              <a:effectLst/>
              <a:uLnTx/>
              <a:uFillTx/>
              <a:latin typeface="Segoe UI"/>
              <a:ea typeface="+mn-ea"/>
              <a:cs typeface="+mn-cs"/>
              <a:sym typeface="Wingdings" panose="05000000000000000000" pitchFamily="2" charset="2"/>
            </a:rPr>
            <a:t> (for example, in WHERE clauses and joins, distinct, group by).</a:t>
          </a:r>
        </a:p>
      </dgm:t>
    </dgm:pt>
    <dgm:pt modelId="{8175642F-2792-4CE4-AF0B-6C38892A7870}" type="parTrans" cxnId="{9ED93EBE-6940-43BC-B440-05538B48BA54}">
      <dgm:prSet/>
      <dgm:spPr/>
      <dgm:t>
        <a:bodyPr/>
        <a:lstStyle/>
        <a:p>
          <a:endParaRPr lang="en-US"/>
        </a:p>
      </dgm:t>
    </dgm:pt>
    <dgm:pt modelId="{1C7FE0C2-9958-4242-878A-7E7514DBE1FB}" type="sibTrans" cxnId="{9ED93EBE-6940-43BC-B440-05538B48BA54}">
      <dgm:prSet/>
      <dgm:spPr/>
      <dgm:t>
        <a:bodyPr/>
        <a:lstStyle/>
        <a:p>
          <a:endParaRPr lang="en-US"/>
        </a:p>
      </dgm:t>
    </dgm:pt>
    <dgm:pt modelId="{1C089314-F28D-47AB-8569-458BE918BC21}" type="pres">
      <dgm:prSet presAssocID="{5A011D1C-966D-4B70-B567-40500DCB0E83}" presName="linear" presStyleCnt="0">
        <dgm:presLayoutVars>
          <dgm:dir/>
          <dgm:animLvl val="lvl"/>
          <dgm:resizeHandles val="exact"/>
        </dgm:presLayoutVars>
      </dgm:prSet>
      <dgm:spPr/>
    </dgm:pt>
    <dgm:pt modelId="{A676C5EC-DE46-4207-9729-33FC431BEC6D}" type="pres">
      <dgm:prSet presAssocID="{E252C2ED-C7CF-4458-9B7F-1BF06AA4EF6B}" presName="parentLin" presStyleCnt="0"/>
      <dgm:spPr/>
    </dgm:pt>
    <dgm:pt modelId="{1F089EFE-D918-47AF-8C20-9B0624F0B711}" type="pres">
      <dgm:prSet presAssocID="{E252C2ED-C7CF-4458-9B7F-1BF06AA4EF6B}" presName="parentLeftMargin" presStyleLbl="node1" presStyleIdx="0" presStyleCnt="2"/>
      <dgm:spPr/>
    </dgm:pt>
    <dgm:pt modelId="{D2C50ED3-C464-4D89-80BC-D1E793EFF295}" type="pres">
      <dgm:prSet presAssocID="{E252C2ED-C7CF-4458-9B7F-1BF06AA4EF6B}" presName="parentText" presStyleLbl="node1" presStyleIdx="0" presStyleCnt="2">
        <dgm:presLayoutVars>
          <dgm:chMax val="0"/>
          <dgm:bulletEnabled val="1"/>
        </dgm:presLayoutVars>
      </dgm:prSet>
      <dgm:spPr/>
    </dgm:pt>
    <dgm:pt modelId="{9EEC4E3B-927F-42AF-B930-357AA78EB768}" type="pres">
      <dgm:prSet presAssocID="{E252C2ED-C7CF-4458-9B7F-1BF06AA4EF6B}" presName="negativeSpace" presStyleCnt="0"/>
      <dgm:spPr/>
    </dgm:pt>
    <dgm:pt modelId="{489575FC-747A-4E02-ACD0-A61FBEC1927C}" type="pres">
      <dgm:prSet presAssocID="{E252C2ED-C7CF-4458-9B7F-1BF06AA4EF6B}" presName="childText" presStyleLbl="conFgAcc1" presStyleIdx="0" presStyleCnt="2">
        <dgm:presLayoutVars>
          <dgm:bulletEnabled val="1"/>
        </dgm:presLayoutVars>
      </dgm:prSet>
      <dgm:spPr/>
    </dgm:pt>
    <dgm:pt modelId="{2B4C6D3D-C40B-4221-A7F6-2D324D90280D}" type="pres">
      <dgm:prSet presAssocID="{BC48B42E-11F8-48AF-A6EF-6D9A95B11289}" presName="spaceBetweenRectangles" presStyleCnt="0"/>
      <dgm:spPr/>
    </dgm:pt>
    <dgm:pt modelId="{2C041334-EF44-4A45-B326-7A5788541A7E}" type="pres">
      <dgm:prSet presAssocID="{A02EE98F-8A9F-468F-9D8D-085570FF1F0C}" presName="parentLin" presStyleCnt="0"/>
      <dgm:spPr/>
    </dgm:pt>
    <dgm:pt modelId="{0510D67B-4E82-4CA4-9CFB-E299018DD660}" type="pres">
      <dgm:prSet presAssocID="{A02EE98F-8A9F-468F-9D8D-085570FF1F0C}" presName="parentLeftMargin" presStyleLbl="node1" presStyleIdx="0" presStyleCnt="2"/>
      <dgm:spPr/>
    </dgm:pt>
    <dgm:pt modelId="{04CCD640-8F62-4FF8-8CD9-CDB0EA7AB985}" type="pres">
      <dgm:prSet presAssocID="{A02EE98F-8A9F-468F-9D8D-085570FF1F0C}" presName="parentText" presStyleLbl="node1" presStyleIdx="1" presStyleCnt="2">
        <dgm:presLayoutVars>
          <dgm:chMax val="0"/>
          <dgm:bulletEnabled val="1"/>
        </dgm:presLayoutVars>
      </dgm:prSet>
      <dgm:spPr/>
    </dgm:pt>
    <dgm:pt modelId="{CB865EDB-EC50-4101-B135-8379221D31BE}" type="pres">
      <dgm:prSet presAssocID="{A02EE98F-8A9F-468F-9D8D-085570FF1F0C}" presName="negativeSpace" presStyleCnt="0"/>
      <dgm:spPr/>
    </dgm:pt>
    <dgm:pt modelId="{C8B38FD2-2664-4585-9970-D6C883C74BF8}" type="pres">
      <dgm:prSet presAssocID="{A02EE98F-8A9F-468F-9D8D-085570FF1F0C}" presName="childText" presStyleLbl="conFgAcc1" presStyleIdx="1" presStyleCnt="2">
        <dgm:presLayoutVars>
          <dgm:bulletEnabled val="1"/>
        </dgm:presLayoutVars>
      </dgm:prSet>
      <dgm:spPr/>
    </dgm:pt>
  </dgm:ptLst>
  <dgm:cxnLst>
    <dgm:cxn modelId="{2609730F-9EDA-493E-8323-73EA2E0BEF7F}" srcId="{E252C2ED-C7CF-4458-9B7F-1BF06AA4EF6B}" destId="{AC335C9C-CB69-4C79-97BE-4A28CDED3952}" srcOrd="3" destOrd="0" parTransId="{9683B9F2-FB6A-4902-98ED-283EF7D78AAD}" sibTransId="{7AD1AE9E-E255-4C13-A46B-CE216930ACB7}"/>
    <dgm:cxn modelId="{A10D8A24-368E-4D6D-B2ED-54EC660E98B1}" type="presOf" srcId="{DD00E3E9-2306-4BC4-8BD2-B48997AE4371}" destId="{489575FC-747A-4E02-ACD0-A61FBEC1927C}" srcOrd="0" destOrd="2" presId="urn:microsoft.com/office/officeart/2005/8/layout/list1"/>
    <dgm:cxn modelId="{AACD072D-5F22-4923-9ED0-3C5725713ED9}" type="presOf" srcId="{7E2D2B72-1C7E-4B56-92E6-E02A931E16A5}" destId="{C8B38FD2-2664-4585-9970-D6C883C74BF8}" srcOrd="0" destOrd="1" presId="urn:microsoft.com/office/officeart/2005/8/layout/list1"/>
    <dgm:cxn modelId="{779C7D2F-00C4-4E8F-9F92-819FA62D3353}" type="presOf" srcId="{5A011D1C-966D-4B70-B567-40500DCB0E83}" destId="{1C089314-F28D-47AB-8569-458BE918BC21}" srcOrd="0" destOrd="0" presId="urn:microsoft.com/office/officeart/2005/8/layout/list1"/>
    <dgm:cxn modelId="{B814673E-C253-4DF6-831F-C322EE75B6C2}" type="presOf" srcId="{A02EE98F-8A9F-468F-9D8D-085570FF1F0C}" destId="{0510D67B-4E82-4CA4-9CFB-E299018DD660}" srcOrd="0" destOrd="0" presId="urn:microsoft.com/office/officeart/2005/8/layout/list1"/>
    <dgm:cxn modelId="{76DF455C-A12D-483C-88C5-B88BF4F0DED7}" type="presOf" srcId="{182308A1-58FE-48EF-951E-9D1050121044}" destId="{C8B38FD2-2664-4585-9970-D6C883C74BF8}" srcOrd="0" destOrd="2" presId="urn:microsoft.com/office/officeart/2005/8/layout/list1"/>
    <dgm:cxn modelId="{0A3B4D45-4F5A-4F8D-AAFF-C5BBEA1BB690}" type="presOf" srcId="{3C22B462-7F65-45A6-8174-B6B43A3E34C5}" destId="{489575FC-747A-4E02-ACD0-A61FBEC1927C}" srcOrd="0" destOrd="0" presId="urn:microsoft.com/office/officeart/2005/8/layout/list1"/>
    <dgm:cxn modelId="{FD75B266-3972-4547-921C-6B653354754F}" srcId="{E252C2ED-C7CF-4458-9B7F-1BF06AA4EF6B}" destId="{3C22B462-7F65-45A6-8174-B6B43A3E34C5}" srcOrd="0" destOrd="0" parTransId="{B1842D73-D2C6-4155-A550-30455FC17737}" sibTransId="{D042C95B-4E92-4011-AC36-3A4F29AB1A96}"/>
    <dgm:cxn modelId="{73BA4A6E-0B1D-4122-AF73-20D5D0C4DC51}" type="presOf" srcId="{9CC2080F-EF7E-46D3-B515-77DA797D57EB}" destId="{C8B38FD2-2664-4585-9970-D6C883C74BF8}" srcOrd="0" destOrd="0" presId="urn:microsoft.com/office/officeart/2005/8/layout/list1"/>
    <dgm:cxn modelId="{89201E79-A8B5-49B7-82A6-57AC2E10C377}" srcId="{5A011D1C-966D-4B70-B567-40500DCB0E83}" destId="{A02EE98F-8A9F-468F-9D8D-085570FF1F0C}" srcOrd="1" destOrd="0" parTransId="{A30B44CC-9A51-4BDB-9E4A-6D3B38948EBC}" sibTransId="{7D6E0EA2-3CE8-4869-82D6-2F6B5C1930DC}"/>
    <dgm:cxn modelId="{9F57757B-55F3-4576-AA51-79C478BFD266}" srcId="{A02EE98F-8A9F-468F-9D8D-085570FF1F0C}" destId="{9CC2080F-EF7E-46D3-B515-77DA797D57EB}" srcOrd="0" destOrd="0" parTransId="{38011D03-5B57-4981-8808-E097455F3C63}" sibTransId="{8AF5FFF3-9875-4F3F-8CF3-24962CC69945}"/>
    <dgm:cxn modelId="{8227E686-A472-4244-ABBD-71B81686D015}" type="presOf" srcId="{E252C2ED-C7CF-4458-9B7F-1BF06AA4EF6B}" destId="{D2C50ED3-C464-4D89-80BC-D1E793EFF295}" srcOrd="1" destOrd="0" presId="urn:microsoft.com/office/officeart/2005/8/layout/list1"/>
    <dgm:cxn modelId="{42293D8F-B2AB-4836-8F66-9319403A841B}" srcId="{A02EE98F-8A9F-468F-9D8D-085570FF1F0C}" destId="{182308A1-58FE-48EF-951E-9D1050121044}" srcOrd="2" destOrd="0" parTransId="{42593EF7-2CD1-4B87-897B-8BCF7F7B4C58}" sibTransId="{AEB12A70-6150-4DA9-BAF4-51D5333937BD}"/>
    <dgm:cxn modelId="{C6F8CF94-0440-4A91-A516-10AEC325E40A}" srcId="{A02EE98F-8A9F-468F-9D8D-085570FF1F0C}" destId="{7E2D2B72-1C7E-4B56-92E6-E02A931E16A5}" srcOrd="1" destOrd="0" parTransId="{26D25F89-74C2-46DB-A7BC-069391A13B30}" sibTransId="{B7202377-2395-47B4-9910-16947AAA3BB3}"/>
    <dgm:cxn modelId="{BCCCC198-AC01-48C0-9E5E-2EEBCC47510C}" type="presOf" srcId="{10F87B70-8A77-4A51-805D-733CE4EEA79C}" destId="{489575FC-747A-4E02-ACD0-A61FBEC1927C}" srcOrd="0" destOrd="1" presId="urn:microsoft.com/office/officeart/2005/8/layout/list1"/>
    <dgm:cxn modelId="{DF1F84B4-0DC4-481A-A029-A8419D484ADD}" srcId="{5A011D1C-966D-4B70-B567-40500DCB0E83}" destId="{E252C2ED-C7CF-4458-9B7F-1BF06AA4EF6B}" srcOrd="0" destOrd="0" parTransId="{1DDF2AB1-CA17-4298-9ABC-59FEC74CC466}" sibTransId="{BC48B42E-11F8-48AF-A6EF-6D9A95B11289}"/>
    <dgm:cxn modelId="{9ED93EBE-6940-43BC-B440-05538B48BA54}" srcId="{A02EE98F-8A9F-468F-9D8D-085570FF1F0C}" destId="{D9156BFD-B20A-4AC4-969B-A83414D8D003}" srcOrd="3" destOrd="0" parTransId="{8175642F-2792-4CE4-AF0B-6C38892A7870}" sibTransId="{1C7FE0C2-9958-4242-878A-7E7514DBE1FB}"/>
    <dgm:cxn modelId="{A09792BE-024B-45C2-8A1E-6771C5B8E6C6}" type="presOf" srcId="{D9156BFD-B20A-4AC4-969B-A83414D8D003}" destId="{C8B38FD2-2664-4585-9970-D6C883C74BF8}" srcOrd="0" destOrd="3" presId="urn:microsoft.com/office/officeart/2005/8/layout/list1"/>
    <dgm:cxn modelId="{644CB2C4-7AC6-464A-9CDF-D2EBC2D27F9D}" srcId="{E252C2ED-C7CF-4458-9B7F-1BF06AA4EF6B}" destId="{10F87B70-8A77-4A51-805D-733CE4EEA79C}" srcOrd="1" destOrd="0" parTransId="{C339F0CF-1A93-4B52-80AD-E038D1261648}" sibTransId="{749610D6-7FFC-41A0-949C-B8DD410DFE3E}"/>
    <dgm:cxn modelId="{DAEE35CA-C8D4-4561-8D6A-FD6534A55F80}" type="presOf" srcId="{A02EE98F-8A9F-468F-9D8D-085570FF1F0C}" destId="{04CCD640-8F62-4FF8-8CD9-CDB0EA7AB985}" srcOrd="1" destOrd="0" presId="urn:microsoft.com/office/officeart/2005/8/layout/list1"/>
    <dgm:cxn modelId="{699C92DA-D766-456B-948E-60098E1323DF}" srcId="{E252C2ED-C7CF-4458-9B7F-1BF06AA4EF6B}" destId="{DD00E3E9-2306-4BC4-8BD2-B48997AE4371}" srcOrd="2" destOrd="0" parTransId="{7B812EC0-FB38-41EE-9CD0-2D1788C7CBEE}" sibTransId="{13F77661-8DDF-4AE0-9F10-5345EF7F2883}"/>
    <dgm:cxn modelId="{D678EAEF-1527-4001-86B0-7CDF3E1C010A}" type="presOf" srcId="{AC335C9C-CB69-4C79-97BE-4A28CDED3952}" destId="{489575FC-747A-4E02-ACD0-A61FBEC1927C}" srcOrd="0" destOrd="3" presId="urn:microsoft.com/office/officeart/2005/8/layout/list1"/>
    <dgm:cxn modelId="{51ABE0FD-5232-4B40-A809-B91F3B13279A}" type="presOf" srcId="{E252C2ED-C7CF-4458-9B7F-1BF06AA4EF6B}" destId="{1F089EFE-D918-47AF-8C20-9B0624F0B711}" srcOrd="0" destOrd="0" presId="urn:microsoft.com/office/officeart/2005/8/layout/list1"/>
    <dgm:cxn modelId="{4E786D23-A197-4AEF-A885-D7519794B971}" type="presParOf" srcId="{1C089314-F28D-47AB-8569-458BE918BC21}" destId="{A676C5EC-DE46-4207-9729-33FC431BEC6D}" srcOrd="0" destOrd="0" presId="urn:microsoft.com/office/officeart/2005/8/layout/list1"/>
    <dgm:cxn modelId="{C4B4BFEF-E3D4-4B2C-9E02-057F9D773C56}" type="presParOf" srcId="{A676C5EC-DE46-4207-9729-33FC431BEC6D}" destId="{1F089EFE-D918-47AF-8C20-9B0624F0B711}" srcOrd="0" destOrd="0" presId="urn:microsoft.com/office/officeart/2005/8/layout/list1"/>
    <dgm:cxn modelId="{031654A7-0F22-48D1-B38D-A79670DE3622}" type="presParOf" srcId="{A676C5EC-DE46-4207-9729-33FC431BEC6D}" destId="{D2C50ED3-C464-4D89-80BC-D1E793EFF295}" srcOrd="1" destOrd="0" presId="urn:microsoft.com/office/officeart/2005/8/layout/list1"/>
    <dgm:cxn modelId="{32E082DD-DFD5-49E3-8746-F8F87C25E82B}" type="presParOf" srcId="{1C089314-F28D-47AB-8569-458BE918BC21}" destId="{9EEC4E3B-927F-42AF-B930-357AA78EB768}" srcOrd="1" destOrd="0" presId="urn:microsoft.com/office/officeart/2005/8/layout/list1"/>
    <dgm:cxn modelId="{5E72EF1A-1D5F-4BDB-B810-571274C91982}" type="presParOf" srcId="{1C089314-F28D-47AB-8569-458BE918BC21}" destId="{489575FC-747A-4E02-ACD0-A61FBEC1927C}" srcOrd="2" destOrd="0" presId="urn:microsoft.com/office/officeart/2005/8/layout/list1"/>
    <dgm:cxn modelId="{C7F08987-0A91-4491-AE32-BBEFBE6C4AB1}" type="presParOf" srcId="{1C089314-F28D-47AB-8569-458BE918BC21}" destId="{2B4C6D3D-C40B-4221-A7F6-2D324D90280D}" srcOrd="3" destOrd="0" presId="urn:microsoft.com/office/officeart/2005/8/layout/list1"/>
    <dgm:cxn modelId="{8AFFB9F2-2318-4FF9-A555-AE57653E6C11}" type="presParOf" srcId="{1C089314-F28D-47AB-8569-458BE918BC21}" destId="{2C041334-EF44-4A45-B326-7A5788541A7E}" srcOrd="4" destOrd="0" presId="urn:microsoft.com/office/officeart/2005/8/layout/list1"/>
    <dgm:cxn modelId="{1241A726-03C4-4A28-AE40-6B6C5B0BB040}" type="presParOf" srcId="{2C041334-EF44-4A45-B326-7A5788541A7E}" destId="{0510D67B-4E82-4CA4-9CFB-E299018DD660}" srcOrd="0" destOrd="0" presId="urn:microsoft.com/office/officeart/2005/8/layout/list1"/>
    <dgm:cxn modelId="{67A8BE3C-C2D8-4D9C-A5A6-CA54EDD268AA}" type="presParOf" srcId="{2C041334-EF44-4A45-B326-7A5788541A7E}" destId="{04CCD640-8F62-4FF8-8CD9-CDB0EA7AB985}" srcOrd="1" destOrd="0" presId="urn:microsoft.com/office/officeart/2005/8/layout/list1"/>
    <dgm:cxn modelId="{68DE3817-90E8-4F93-97E9-946A6D61DAD8}" type="presParOf" srcId="{1C089314-F28D-47AB-8569-458BE918BC21}" destId="{CB865EDB-EC50-4101-B135-8379221D31BE}" srcOrd="5" destOrd="0" presId="urn:microsoft.com/office/officeart/2005/8/layout/list1"/>
    <dgm:cxn modelId="{B997812B-B688-46D7-8554-CC01BC6BA729}" type="presParOf" srcId="{1C089314-F28D-47AB-8569-458BE918BC21}" destId="{C8B38FD2-2664-4585-9970-D6C883C74BF8}" srcOrd="6"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783A362A-F64A-4E4D-817A-480E93A1B6EE}" type="doc">
      <dgm:prSet loTypeId="urn:microsoft.com/office/officeart/2005/8/layout/pyramid2" loCatId="pyramid" qsTypeId="urn:microsoft.com/office/officeart/2005/8/quickstyle/simple1" qsCatId="simple" csTypeId="urn:microsoft.com/office/officeart/2005/8/colors/accent3_1" csCatId="accent3" phldr="1"/>
      <dgm:spPr/>
      <dgm:t>
        <a:bodyPr/>
        <a:lstStyle/>
        <a:p>
          <a:endParaRPr lang="en-US"/>
        </a:p>
      </dgm:t>
    </dgm:pt>
    <dgm:pt modelId="{7FF66146-5736-40BA-9B5E-8991EAF01FEB}">
      <dgm:prSet phldrT="[Text]" custT="1"/>
      <dgm:spPr>
        <a:xfrm>
          <a:off x="3702140" y="664353"/>
          <a:ext cx="4925205" cy="941199"/>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ln>
        <a:effectLst/>
      </dgm:spPr>
      <dgm:t>
        <a:bodyPr/>
        <a:lstStyle/>
        <a:p>
          <a:pPr algn="just">
            <a:buNone/>
          </a:pPr>
          <a:r>
            <a:rPr lang="en-US" sz="1800" baseline="0">
              <a:solidFill>
                <a:srgbClr val="505050">
                  <a:hueOff val="0"/>
                  <a:satOff val="0"/>
                  <a:lumOff val="0"/>
                  <a:alphaOff val="0"/>
                </a:srgbClr>
              </a:solidFill>
              <a:latin typeface="Segoe UI"/>
              <a:ea typeface="+mn-ea"/>
              <a:cs typeface="+mn-cs"/>
            </a:rPr>
            <a:t>Create a local, self-signed certificate on the development machine, which will act as a Column Master Key (CMK). The CMK will be used to protect Column Encryption Keys (CEK), which encrypts the sensitive data.</a:t>
          </a:r>
          <a:endParaRPr lang="en-US" sz="1800">
            <a:solidFill>
              <a:srgbClr val="505050">
                <a:hueOff val="0"/>
                <a:satOff val="0"/>
                <a:lumOff val="0"/>
                <a:alphaOff val="0"/>
              </a:srgbClr>
            </a:solidFill>
            <a:latin typeface="Segoe UI"/>
            <a:ea typeface="+mn-ea"/>
            <a:cs typeface="+mn-cs"/>
          </a:endParaRPr>
        </a:p>
      </dgm:t>
    </dgm:pt>
    <dgm:pt modelId="{6F447D13-2B3C-440F-8A59-29B3B6FA6B0A}" type="parTrans" cxnId="{0A54312F-B68D-4BF8-BCB0-5D0C74A2818B}">
      <dgm:prSet/>
      <dgm:spPr/>
      <dgm:t>
        <a:bodyPr/>
        <a:lstStyle/>
        <a:p>
          <a:endParaRPr lang="en-US"/>
        </a:p>
      </dgm:t>
    </dgm:pt>
    <dgm:pt modelId="{69DD0783-E8DE-48A6-ADF8-991C457D5C39}" type="sibTrans" cxnId="{0A54312F-B68D-4BF8-BCB0-5D0C74A2818B}">
      <dgm:prSet/>
      <dgm:spPr/>
      <dgm:t>
        <a:bodyPr/>
        <a:lstStyle/>
        <a:p>
          <a:endParaRPr lang="en-US"/>
        </a:p>
      </dgm:t>
    </dgm:pt>
    <dgm:pt modelId="{0CE89435-DFD7-4FE1-9C95-D8712EC59EBF}">
      <dgm:prSet phldrT="[Text]" custT="1"/>
      <dgm:spPr>
        <a:xfrm>
          <a:off x="3702140" y="1768026"/>
          <a:ext cx="4925205" cy="941199"/>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ln>
        <a:effectLst/>
      </dgm:spPr>
      <dgm:t>
        <a:bodyPr/>
        <a:lstStyle/>
        <a:p>
          <a:pPr algn="just">
            <a:buNone/>
          </a:pPr>
          <a:r>
            <a:rPr lang="en-US" sz="1800" baseline="0">
              <a:solidFill>
                <a:srgbClr val="505050">
                  <a:hueOff val="0"/>
                  <a:satOff val="0"/>
                  <a:lumOff val="0"/>
                  <a:alphaOff val="0"/>
                </a:srgbClr>
              </a:solidFill>
              <a:latin typeface="Segoe UI"/>
              <a:ea typeface="+mn-ea"/>
              <a:cs typeface="+mn-cs"/>
            </a:rPr>
            <a:t>Create a CMK store definition object in the database, which will store the information about the location of the CMK. The certificate will never be copied to the database or SQL Server machine.</a:t>
          </a:r>
          <a:endParaRPr lang="en-US" sz="1800">
            <a:solidFill>
              <a:srgbClr val="505050">
                <a:hueOff val="0"/>
                <a:satOff val="0"/>
                <a:lumOff val="0"/>
                <a:alphaOff val="0"/>
              </a:srgbClr>
            </a:solidFill>
            <a:latin typeface="Segoe UI"/>
            <a:ea typeface="+mn-ea"/>
            <a:cs typeface="+mn-cs"/>
          </a:endParaRPr>
        </a:p>
      </dgm:t>
    </dgm:pt>
    <dgm:pt modelId="{7DB65C69-5E0F-4886-8F44-62F6CB4AA123}" type="parTrans" cxnId="{A4CE5F6E-B009-4746-ADDB-4C7011263FE6}">
      <dgm:prSet/>
      <dgm:spPr/>
      <dgm:t>
        <a:bodyPr/>
        <a:lstStyle/>
        <a:p>
          <a:endParaRPr lang="en-US"/>
        </a:p>
      </dgm:t>
    </dgm:pt>
    <dgm:pt modelId="{BFEE452E-A227-42C1-B0C1-941C9DFD72DE}" type="sibTrans" cxnId="{A4CE5F6E-B009-4746-ADDB-4C7011263FE6}">
      <dgm:prSet/>
      <dgm:spPr/>
      <dgm:t>
        <a:bodyPr/>
        <a:lstStyle/>
        <a:p>
          <a:endParaRPr lang="en-US"/>
        </a:p>
      </dgm:t>
    </dgm:pt>
    <dgm:pt modelId="{D7797199-A889-4B2E-A723-14698B9732BE}">
      <dgm:prSet phldrT="[Text]" custT="1"/>
      <dgm:spPr>
        <a:xfrm>
          <a:off x="3702140" y="2871699"/>
          <a:ext cx="4925205" cy="941199"/>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ln>
        <a:effectLst/>
      </dgm:spPr>
      <dgm:t>
        <a:bodyPr/>
        <a:lstStyle/>
        <a:p>
          <a:pPr algn="just">
            <a:buNone/>
          </a:pPr>
          <a:r>
            <a:rPr lang="nl-BE" sz="1800">
              <a:solidFill>
                <a:srgbClr val="505050">
                  <a:hueOff val="0"/>
                  <a:satOff val="0"/>
                  <a:lumOff val="0"/>
                  <a:alphaOff val="0"/>
                </a:srgbClr>
              </a:solidFill>
              <a:latin typeface="Segoe UI"/>
              <a:ea typeface="+mn-ea"/>
              <a:cs typeface="+mn-cs"/>
            </a:rPr>
            <a:t>Create a Column Encryption Key (CEK). Y</a:t>
          </a:r>
          <a:r>
            <a:rPr lang="en-US" sz="1800" err="1">
              <a:solidFill>
                <a:srgbClr val="505050">
                  <a:hueOff val="0"/>
                  <a:satOff val="0"/>
                  <a:lumOff val="0"/>
                  <a:alphaOff val="0"/>
                </a:srgbClr>
              </a:solidFill>
              <a:latin typeface="Segoe UI"/>
              <a:ea typeface="+mn-ea"/>
              <a:cs typeface="+mn-cs"/>
            </a:rPr>
            <a:t>ou</a:t>
          </a:r>
          <a:r>
            <a:rPr lang="en-US" sz="1800">
              <a:solidFill>
                <a:srgbClr val="505050">
                  <a:hueOff val="0"/>
                  <a:satOff val="0"/>
                  <a:lumOff val="0"/>
                  <a:alphaOff val="0"/>
                </a:srgbClr>
              </a:solidFill>
              <a:latin typeface="Segoe UI"/>
              <a:ea typeface="+mn-ea"/>
              <a:cs typeface="+mn-cs"/>
            </a:rPr>
            <a:t> use column encryption keys to encrypt data in database columns. </a:t>
          </a:r>
          <a:r>
            <a:rPr lang="nl-BE" sz="1800">
              <a:solidFill>
                <a:srgbClr val="505050">
                  <a:hueOff val="0"/>
                  <a:satOff val="0"/>
                  <a:lumOff val="0"/>
                  <a:alphaOff val="0"/>
                </a:srgbClr>
              </a:solidFill>
              <a:latin typeface="Segoe UI"/>
              <a:ea typeface="+mn-ea"/>
              <a:cs typeface="+mn-cs"/>
            </a:rPr>
            <a:t> </a:t>
          </a:r>
          <a:endParaRPr lang="en-US" sz="1800">
            <a:solidFill>
              <a:srgbClr val="505050">
                <a:hueOff val="0"/>
                <a:satOff val="0"/>
                <a:lumOff val="0"/>
                <a:alphaOff val="0"/>
              </a:srgbClr>
            </a:solidFill>
            <a:latin typeface="Segoe UI"/>
            <a:ea typeface="+mn-ea"/>
            <a:cs typeface="+mn-cs"/>
          </a:endParaRPr>
        </a:p>
      </dgm:t>
    </dgm:pt>
    <dgm:pt modelId="{5A3DC430-AC85-467A-AE59-EEE09607527C}" type="parTrans" cxnId="{D7064A40-C91E-4E17-8FF5-CE4CBFE4BE79}">
      <dgm:prSet/>
      <dgm:spPr/>
      <dgm:t>
        <a:bodyPr/>
        <a:lstStyle/>
        <a:p>
          <a:endParaRPr lang="en-US"/>
        </a:p>
      </dgm:t>
    </dgm:pt>
    <dgm:pt modelId="{389772E5-58E1-4153-B9B0-8A18B9A6D35A}" type="sibTrans" cxnId="{D7064A40-C91E-4E17-8FF5-CE4CBFE4BE79}">
      <dgm:prSet/>
      <dgm:spPr/>
      <dgm:t>
        <a:bodyPr/>
        <a:lstStyle/>
        <a:p>
          <a:endParaRPr lang="en-US"/>
        </a:p>
      </dgm:t>
    </dgm:pt>
    <dgm:pt modelId="{C629920D-635D-485B-9B0C-D3A497E86755}">
      <dgm:prSet custT="1"/>
      <dgm:spPr>
        <a:xfrm>
          <a:off x="3702140" y="3975371"/>
          <a:ext cx="4925205" cy="941199"/>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ln>
        <a:effectLst/>
      </dgm:spPr>
      <dgm:t>
        <a:bodyPr/>
        <a:lstStyle/>
        <a:p>
          <a:pPr algn="just">
            <a:buNone/>
          </a:pPr>
          <a:r>
            <a:rPr lang="en-US" sz="1800" baseline="0">
              <a:solidFill>
                <a:srgbClr val="505050">
                  <a:hueOff val="0"/>
                  <a:satOff val="0"/>
                  <a:lumOff val="0"/>
                  <a:alphaOff val="0"/>
                </a:srgbClr>
              </a:solidFill>
              <a:latin typeface="Segoe UI"/>
              <a:ea typeface="+mn-ea"/>
              <a:cs typeface="+mn-cs"/>
            </a:rPr>
            <a:t>Create a table with encrypted columns.</a:t>
          </a:r>
          <a:endParaRPr lang="nl-BE" sz="1800">
            <a:solidFill>
              <a:srgbClr val="505050">
                <a:hueOff val="0"/>
                <a:satOff val="0"/>
                <a:lumOff val="0"/>
                <a:alphaOff val="0"/>
              </a:srgbClr>
            </a:solidFill>
            <a:latin typeface="Segoe UI"/>
            <a:ea typeface="+mn-ea"/>
            <a:cs typeface="+mn-cs"/>
          </a:endParaRPr>
        </a:p>
      </dgm:t>
    </dgm:pt>
    <dgm:pt modelId="{532A6437-B4C4-4F69-818E-772F2AFC087A}" type="parTrans" cxnId="{B6D7C166-3556-48E8-B552-E56FFD603073}">
      <dgm:prSet/>
      <dgm:spPr/>
      <dgm:t>
        <a:bodyPr/>
        <a:lstStyle/>
        <a:p>
          <a:endParaRPr lang="en-US"/>
        </a:p>
      </dgm:t>
    </dgm:pt>
    <dgm:pt modelId="{E264B308-928E-4EF0-B058-7C3E27394842}" type="sibTrans" cxnId="{B6D7C166-3556-48E8-B552-E56FFD603073}">
      <dgm:prSet/>
      <dgm:spPr/>
      <dgm:t>
        <a:bodyPr/>
        <a:lstStyle/>
        <a:p>
          <a:endParaRPr lang="en-US"/>
        </a:p>
      </dgm:t>
    </dgm:pt>
    <dgm:pt modelId="{B2C06886-1625-4D06-A25C-5CEBD8D4E8CE}" type="pres">
      <dgm:prSet presAssocID="{783A362A-F64A-4E4D-817A-480E93A1B6EE}" presName="compositeShape" presStyleCnt="0">
        <dgm:presLayoutVars>
          <dgm:dir/>
          <dgm:resizeHandles/>
        </dgm:presLayoutVars>
      </dgm:prSet>
      <dgm:spPr/>
    </dgm:pt>
    <dgm:pt modelId="{37ECADA0-EE6B-4F89-8178-7E8409DA9165}" type="pres">
      <dgm:prSet presAssocID="{783A362A-F64A-4E4D-817A-480E93A1B6EE}" presName="pyramid" presStyleLbl="node1" presStyleIdx="0" presStyleCnt="1" custLinFactNeighborX="-75803" custLinFactNeighborY="-54815"/>
      <dgm:spPr>
        <a:xfrm>
          <a:off x="0" y="0"/>
          <a:ext cx="5527321" cy="5527321"/>
        </a:xfrm>
        <a:prstGeom prst="triangle">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pt>
    <dgm:pt modelId="{FEA70EDA-7E26-498B-8EEF-0A3ADD564A15}" type="pres">
      <dgm:prSet presAssocID="{783A362A-F64A-4E4D-817A-480E93A1B6EE}" presName="theList" presStyleCnt="0"/>
      <dgm:spPr/>
    </dgm:pt>
    <dgm:pt modelId="{A5AD2F24-BCD7-4868-B029-FDA12ECF486C}" type="pres">
      <dgm:prSet presAssocID="{7FF66146-5736-40BA-9B5E-8991EAF01FEB}" presName="aNode" presStyleLbl="fgAcc1" presStyleIdx="0" presStyleCnt="4" custScaleX="218233" custScaleY="254384" custLinFactY="-69897" custLinFactNeighborX="55640" custLinFactNeighborY="-100000">
        <dgm:presLayoutVars>
          <dgm:bulletEnabled val="1"/>
        </dgm:presLayoutVars>
      </dgm:prSet>
      <dgm:spPr/>
    </dgm:pt>
    <dgm:pt modelId="{DDBC37F6-5B86-4AFF-B038-C40C05EE40AD}" type="pres">
      <dgm:prSet presAssocID="{7FF66146-5736-40BA-9B5E-8991EAF01FEB}" presName="aSpace" presStyleCnt="0"/>
      <dgm:spPr/>
    </dgm:pt>
    <dgm:pt modelId="{1BA684CE-0BF2-4FA3-9354-2D03AD9F50A5}" type="pres">
      <dgm:prSet presAssocID="{0CE89435-DFD7-4FE1-9C95-D8712EC59EBF}" presName="aNode" presStyleLbl="fgAcc1" presStyleIdx="1" presStyleCnt="4" custScaleX="218233" custScaleY="247300" custLinFactY="-31145" custLinFactNeighborX="55640" custLinFactNeighborY="-100000">
        <dgm:presLayoutVars>
          <dgm:bulletEnabled val="1"/>
        </dgm:presLayoutVars>
      </dgm:prSet>
      <dgm:spPr/>
    </dgm:pt>
    <dgm:pt modelId="{D7B45AD3-1E6C-4E7E-94BF-EAC520D22D37}" type="pres">
      <dgm:prSet presAssocID="{0CE89435-DFD7-4FE1-9C95-D8712EC59EBF}" presName="aSpace" presStyleCnt="0"/>
      <dgm:spPr/>
    </dgm:pt>
    <dgm:pt modelId="{853F6DC1-277C-433F-818A-1B977A10682F}" type="pres">
      <dgm:prSet presAssocID="{D7797199-A889-4B2E-A723-14698B9732BE}" presName="aNode" presStyleLbl="fgAcc1" presStyleIdx="2" presStyleCnt="4" custScaleX="218233" custScaleY="158770" custLinFactNeighborX="54806" custLinFactNeighborY="17138">
        <dgm:presLayoutVars>
          <dgm:bulletEnabled val="1"/>
        </dgm:presLayoutVars>
      </dgm:prSet>
      <dgm:spPr/>
    </dgm:pt>
    <dgm:pt modelId="{AFBFBC18-1DD6-4C27-B2A9-D233411E0898}" type="pres">
      <dgm:prSet presAssocID="{D7797199-A889-4B2E-A723-14698B9732BE}" presName="aSpace" presStyleCnt="0"/>
      <dgm:spPr/>
    </dgm:pt>
    <dgm:pt modelId="{E5206CDD-EAB0-47D0-A35B-9994A380AE3F}" type="pres">
      <dgm:prSet presAssocID="{C629920D-635D-485B-9B0C-D3A497E86755}" presName="aNode" presStyleLbl="fgAcc1" presStyleIdx="3" presStyleCnt="4" custScaleX="218233" custScaleY="158770" custLinFactY="50546" custLinFactNeighborX="55640" custLinFactNeighborY="100000">
        <dgm:presLayoutVars>
          <dgm:bulletEnabled val="1"/>
        </dgm:presLayoutVars>
      </dgm:prSet>
      <dgm:spPr/>
    </dgm:pt>
    <dgm:pt modelId="{30FA8F74-7664-4AE8-9F4F-1FF0E2EF801B}" type="pres">
      <dgm:prSet presAssocID="{C629920D-635D-485B-9B0C-D3A497E86755}" presName="aSpace" presStyleCnt="0"/>
      <dgm:spPr/>
    </dgm:pt>
  </dgm:ptLst>
  <dgm:cxnLst>
    <dgm:cxn modelId="{0A54312F-B68D-4BF8-BCB0-5D0C74A2818B}" srcId="{783A362A-F64A-4E4D-817A-480E93A1B6EE}" destId="{7FF66146-5736-40BA-9B5E-8991EAF01FEB}" srcOrd="0" destOrd="0" parTransId="{6F447D13-2B3C-440F-8A59-29B3B6FA6B0A}" sibTransId="{69DD0783-E8DE-48A6-ADF8-991C457D5C39}"/>
    <dgm:cxn modelId="{63F01634-774A-499E-8CA1-E6C40C30F822}" type="presOf" srcId="{0CE89435-DFD7-4FE1-9C95-D8712EC59EBF}" destId="{1BA684CE-0BF2-4FA3-9354-2D03AD9F50A5}" srcOrd="0" destOrd="0" presId="urn:microsoft.com/office/officeart/2005/8/layout/pyramid2"/>
    <dgm:cxn modelId="{D7064A40-C91E-4E17-8FF5-CE4CBFE4BE79}" srcId="{783A362A-F64A-4E4D-817A-480E93A1B6EE}" destId="{D7797199-A889-4B2E-A723-14698B9732BE}" srcOrd="2" destOrd="0" parTransId="{5A3DC430-AC85-467A-AE59-EEE09607527C}" sibTransId="{389772E5-58E1-4153-B9B0-8A18B9A6D35A}"/>
    <dgm:cxn modelId="{B6D7C166-3556-48E8-B552-E56FFD603073}" srcId="{783A362A-F64A-4E4D-817A-480E93A1B6EE}" destId="{C629920D-635D-485B-9B0C-D3A497E86755}" srcOrd="3" destOrd="0" parTransId="{532A6437-B4C4-4F69-818E-772F2AFC087A}" sibTransId="{E264B308-928E-4EF0-B058-7C3E27394842}"/>
    <dgm:cxn modelId="{A5B55D4D-8A46-425F-BCE7-46C8775BA6F5}" type="presOf" srcId="{D7797199-A889-4B2E-A723-14698B9732BE}" destId="{853F6DC1-277C-433F-818A-1B977A10682F}" srcOrd="0" destOrd="0" presId="urn:microsoft.com/office/officeart/2005/8/layout/pyramid2"/>
    <dgm:cxn modelId="{A4CE5F6E-B009-4746-ADDB-4C7011263FE6}" srcId="{783A362A-F64A-4E4D-817A-480E93A1B6EE}" destId="{0CE89435-DFD7-4FE1-9C95-D8712EC59EBF}" srcOrd="1" destOrd="0" parTransId="{7DB65C69-5E0F-4886-8F44-62F6CB4AA123}" sibTransId="{BFEE452E-A227-42C1-B0C1-941C9DFD72DE}"/>
    <dgm:cxn modelId="{2B83B056-2E36-4039-AD2A-2B3CE4B40B03}" type="presOf" srcId="{7FF66146-5736-40BA-9B5E-8991EAF01FEB}" destId="{A5AD2F24-BCD7-4868-B029-FDA12ECF486C}" srcOrd="0" destOrd="0" presId="urn:microsoft.com/office/officeart/2005/8/layout/pyramid2"/>
    <dgm:cxn modelId="{BD44028D-ACF4-4A24-9AFA-2A457A40BFBD}" type="presOf" srcId="{783A362A-F64A-4E4D-817A-480E93A1B6EE}" destId="{B2C06886-1625-4D06-A25C-5CEBD8D4E8CE}" srcOrd="0" destOrd="0" presId="urn:microsoft.com/office/officeart/2005/8/layout/pyramid2"/>
    <dgm:cxn modelId="{AA375CD0-1356-47D1-8EFE-848E06648621}" type="presOf" srcId="{C629920D-635D-485B-9B0C-D3A497E86755}" destId="{E5206CDD-EAB0-47D0-A35B-9994A380AE3F}" srcOrd="0" destOrd="0" presId="urn:microsoft.com/office/officeart/2005/8/layout/pyramid2"/>
    <dgm:cxn modelId="{B8C3BA11-0A3F-4EBD-B9DB-1E9B1B11DE4C}" type="presParOf" srcId="{B2C06886-1625-4D06-A25C-5CEBD8D4E8CE}" destId="{37ECADA0-EE6B-4F89-8178-7E8409DA9165}" srcOrd="0" destOrd="0" presId="urn:microsoft.com/office/officeart/2005/8/layout/pyramid2"/>
    <dgm:cxn modelId="{FC4783EC-1726-4044-A324-21F5BED0086C}" type="presParOf" srcId="{B2C06886-1625-4D06-A25C-5CEBD8D4E8CE}" destId="{FEA70EDA-7E26-498B-8EEF-0A3ADD564A15}" srcOrd="1" destOrd="0" presId="urn:microsoft.com/office/officeart/2005/8/layout/pyramid2"/>
    <dgm:cxn modelId="{CDC2BE26-8FF5-4F33-8A92-132EB3EAD6C0}" type="presParOf" srcId="{FEA70EDA-7E26-498B-8EEF-0A3ADD564A15}" destId="{A5AD2F24-BCD7-4868-B029-FDA12ECF486C}" srcOrd="0" destOrd="0" presId="urn:microsoft.com/office/officeart/2005/8/layout/pyramid2"/>
    <dgm:cxn modelId="{D11EA3A2-6E6A-4F59-A464-E13B3FC90D6A}" type="presParOf" srcId="{FEA70EDA-7E26-498B-8EEF-0A3ADD564A15}" destId="{DDBC37F6-5B86-4AFF-B038-C40C05EE40AD}" srcOrd="1" destOrd="0" presId="urn:microsoft.com/office/officeart/2005/8/layout/pyramid2"/>
    <dgm:cxn modelId="{C4324D02-53DD-4F89-B74D-ADD301E3F94A}" type="presParOf" srcId="{FEA70EDA-7E26-498B-8EEF-0A3ADD564A15}" destId="{1BA684CE-0BF2-4FA3-9354-2D03AD9F50A5}" srcOrd="2" destOrd="0" presId="urn:microsoft.com/office/officeart/2005/8/layout/pyramid2"/>
    <dgm:cxn modelId="{278D9603-9862-4AC2-8808-422E26268E3A}" type="presParOf" srcId="{FEA70EDA-7E26-498B-8EEF-0A3ADD564A15}" destId="{D7B45AD3-1E6C-4E7E-94BF-EAC520D22D37}" srcOrd="3" destOrd="0" presId="urn:microsoft.com/office/officeart/2005/8/layout/pyramid2"/>
    <dgm:cxn modelId="{4396CE98-7B2A-419F-AAFA-06287E918685}" type="presParOf" srcId="{FEA70EDA-7E26-498B-8EEF-0A3ADD564A15}" destId="{853F6DC1-277C-433F-818A-1B977A10682F}" srcOrd="4" destOrd="0" presId="urn:microsoft.com/office/officeart/2005/8/layout/pyramid2"/>
    <dgm:cxn modelId="{95D03CE9-6781-480F-BC7E-67768D5F46B5}" type="presParOf" srcId="{FEA70EDA-7E26-498B-8EEF-0A3ADD564A15}" destId="{AFBFBC18-1DD6-4C27-B2A9-D233411E0898}" srcOrd="5" destOrd="0" presId="urn:microsoft.com/office/officeart/2005/8/layout/pyramid2"/>
    <dgm:cxn modelId="{856DED4B-0771-409E-A12A-56E613B1BE62}" type="presParOf" srcId="{FEA70EDA-7E26-498B-8EEF-0A3ADD564A15}" destId="{E5206CDD-EAB0-47D0-A35B-9994A380AE3F}" srcOrd="6" destOrd="0" presId="urn:microsoft.com/office/officeart/2005/8/layout/pyramid2"/>
    <dgm:cxn modelId="{97ADE20B-355D-4363-8D1D-EC6F9B0BAE99}" type="presParOf" srcId="{FEA70EDA-7E26-498B-8EEF-0A3ADD564A15}" destId="{30FA8F74-7664-4AE8-9F4F-1FF0E2EF801B}"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83A362A-F64A-4E4D-817A-480E93A1B6EE}" type="doc">
      <dgm:prSet loTypeId="urn:microsoft.com/office/officeart/2005/8/layout/pyramid2" loCatId="pyramid" qsTypeId="urn:microsoft.com/office/officeart/2005/8/quickstyle/simple1" qsCatId="simple" csTypeId="urn:microsoft.com/office/officeart/2005/8/colors/accent0_3" csCatId="mainScheme" phldr="1"/>
      <dgm:spPr/>
      <dgm:t>
        <a:bodyPr/>
        <a:lstStyle/>
        <a:p>
          <a:endParaRPr lang="en-US"/>
        </a:p>
      </dgm:t>
    </dgm:pt>
    <dgm:pt modelId="{7FF66146-5736-40BA-9B5E-8991EAF01FEB}">
      <dgm:prSet phldrT="[Text]" custT="1"/>
      <dgm:spPr>
        <a:xfrm>
          <a:off x="3819426" y="793993"/>
          <a:ext cx="5104159" cy="653385"/>
        </a:xfrm>
        <a:prstGeom prst="roundRect">
          <a:avLst/>
        </a:prstGeom>
      </dgm:spPr>
      <dgm:t>
        <a:bodyPr/>
        <a:lstStyle/>
        <a:p>
          <a:pPr>
            <a:buNone/>
          </a:pPr>
          <a:r>
            <a:rPr lang="en-US" sz="2400" baseline="0">
              <a:latin typeface="Segoe UI"/>
              <a:ea typeface="+mn-ea"/>
              <a:cs typeface="+mn-cs"/>
            </a:rPr>
            <a:t>Same local stored certificate.</a:t>
          </a:r>
          <a:endParaRPr lang="en-US" sz="2400">
            <a:latin typeface="Segoe UI"/>
            <a:ea typeface="+mn-ea"/>
            <a:cs typeface="+mn-cs"/>
          </a:endParaRPr>
        </a:p>
      </dgm:t>
    </dgm:pt>
    <dgm:pt modelId="{6F447D13-2B3C-440F-8A59-29B3B6FA6B0A}" type="parTrans" cxnId="{0A54312F-B68D-4BF8-BCB0-5D0C74A2818B}">
      <dgm:prSet/>
      <dgm:spPr/>
      <dgm:t>
        <a:bodyPr/>
        <a:lstStyle/>
        <a:p>
          <a:endParaRPr lang="en-US"/>
        </a:p>
      </dgm:t>
    </dgm:pt>
    <dgm:pt modelId="{69DD0783-E8DE-48A6-ADF8-991C457D5C39}" type="sibTrans" cxnId="{0A54312F-B68D-4BF8-BCB0-5D0C74A2818B}">
      <dgm:prSet/>
      <dgm:spPr/>
      <dgm:t>
        <a:bodyPr/>
        <a:lstStyle/>
        <a:p>
          <a:endParaRPr lang="en-US"/>
        </a:p>
      </dgm:t>
    </dgm:pt>
    <dgm:pt modelId="{0CE89435-DFD7-4FE1-9C95-D8712EC59EBF}">
      <dgm:prSet phldrT="[Text]" custT="1"/>
      <dgm:spPr>
        <a:xfrm>
          <a:off x="3833445" y="1954257"/>
          <a:ext cx="5005153" cy="653385"/>
        </a:xfrm>
        <a:prstGeom prst="roundRect">
          <a:avLst/>
        </a:prstGeom>
      </dgm:spPr>
      <dgm:t>
        <a:bodyPr/>
        <a:lstStyle/>
        <a:p>
          <a:pPr>
            <a:buNone/>
          </a:pPr>
          <a:r>
            <a:rPr lang="en-US" sz="2400" baseline="0">
              <a:latin typeface="Segoe UI"/>
              <a:ea typeface="+mn-ea"/>
              <a:cs typeface="+mn-cs"/>
            </a:rPr>
            <a:t>“Column Encryption Setting=Enabled;”</a:t>
          </a:r>
        </a:p>
        <a:p>
          <a:pPr>
            <a:buNone/>
          </a:pPr>
          <a:r>
            <a:rPr lang="en-US" sz="2400" baseline="0">
              <a:latin typeface="Segoe UI"/>
              <a:ea typeface="+mn-ea"/>
              <a:cs typeface="+mn-cs"/>
            </a:rPr>
            <a:t> in connection string.</a:t>
          </a:r>
          <a:endParaRPr lang="en-US" sz="2400">
            <a:latin typeface="Segoe UI"/>
            <a:ea typeface="+mn-ea"/>
            <a:cs typeface="+mn-cs"/>
          </a:endParaRPr>
        </a:p>
      </dgm:t>
    </dgm:pt>
    <dgm:pt modelId="{7DB65C69-5E0F-4886-8F44-62F6CB4AA123}" type="parTrans" cxnId="{A4CE5F6E-B009-4746-ADDB-4C7011263FE6}">
      <dgm:prSet/>
      <dgm:spPr/>
      <dgm:t>
        <a:bodyPr/>
        <a:lstStyle/>
        <a:p>
          <a:endParaRPr lang="en-US"/>
        </a:p>
      </dgm:t>
    </dgm:pt>
    <dgm:pt modelId="{BFEE452E-A227-42C1-B0C1-941C9DFD72DE}" type="sibTrans" cxnId="{A4CE5F6E-B009-4746-ADDB-4C7011263FE6}">
      <dgm:prSet/>
      <dgm:spPr/>
      <dgm:t>
        <a:bodyPr/>
        <a:lstStyle/>
        <a:p>
          <a:endParaRPr lang="en-US"/>
        </a:p>
      </dgm:t>
    </dgm:pt>
    <dgm:pt modelId="{D7797199-A889-4B2E-A723-14698B9732BE}">
      <dgm:prSet phldrT="[Text]" custT="1"/>
      <dgm:spPr>
        <a:xfrm>
          <a:off x="3910821" y="3114521"/>
          <a:ext cx="4864831" cy="653385"/>
        </a:xfrm>
        <a:prstGeom prst="roundRect">
          <a:avLst/>
        </a:prstGeom>
      </dgm:spPr>
      <dgm:t>
        <a:bodyPr/>
        <a:lstStyle/>
        <a:p>
          <a:pPr>
            <a:buNone/>
          </a:pPr>
          <a:r>
            <a:rPr lang="es-ES" sz="2400" baseline="0">
              <a:latin typeface="Segoe UI"/>
              <a:ea typeface="+mn-ea"/>
              <a:cs typeface="+mn-cs"/>
            </a:rPr>
            <a:t>Make sure you use the correct driver.</a:t>
          </a:r>
          <a:endParaRPr lang="en-US" sz="2400">
            <a:latin typeface="Segoe UI"/>
            <a:ea typeface="+mn-ea"/>
            <a:cs typeface="+mn-cs"/>
          </a:endParaRPr>
        </a:p>
      </dgm:t>
    </dgm:pt>
    <dgm:pt modelId="{5A3DC430-AC85-467A-AE59-EEE09607527C}" type="parTrans" cxnId="{D7064A40-C91E-4E17-8FF5-CE4CBFE4BE79}">
      <dgm:prSet/>
      <dgm:spPr/>
      <dgm:t>
        <a:bodyPr/>
        <a:lstStyle/>
        <a:p>
          <a:endParaRPr lang="en-US"/>
        </a:p>
      </dgm:t>
    </dgm:pt>
    <dgm:pt modelId="{389772E5-58E1-4153-B9B0-8A18B9A6D35A}" type="sibTrans" cxnId="{D7064A40-C91E-4E17-8FF5-CE4CBFE4BE79}">
      <dgm:prSet/>
      <dgm:spPr/>
      <dgm:t>
        <a:bodyPr/>
        <a:lstStyle/>
        <a:p>
          <a:endParaRPr lang="en-US"/>
        </a:p>
      </dgm:t>
    </dgm:pt>
    <dgm:pt modelId="{B2C06886-1625-4D06-A25C-5CEBD8D4E8CE}" type="pres">
      <dgm:prSet presAssocID="{783A362A-F64A-4E4D-817A-480E93A1B6EE}" presName="compositeShape" presStyleCnt="0">
        <dgm:presLayoutVars>
          <dgm:dir/>
          <dgm:resizeHandles/>
        </dgm:presLayoutVars>
      </dgm:prSet>
      <dgm:spPr/>
    </dgm:pt>
    <dgm:pt modelId="{37ECADA0-EE6B-4F89-8178-7E8409DA9165}" type="pres">
      <dgm:prSet presAssocID="{783A362A-F64A-4E4D-817A-480E93A1B6EE}" presName="pyramid" presStyleLbl="node1" presStyleIdx="0" presStyleCnt="1" custLinFactNeighborX="-23179" custLinFactNeighborY="-9383"/>
      <dgm:spPr>
        <a:xfrm>
          <a:off x="325618" y="0"/>
          <a:ext cx="5068779" cy="5068779"/>
        </a:xfrm>
        <a:prstGeom prst="triangle">
          <a:avLst/>
        </a:prstGeom>
        <a:solidFill>
          <a:schemeClr val="accent1"/>
        </a:solidFill>
      </dgm:spPr>
    </dgm:pt>
    <dgm:pt modelId="{FEA70EDA-7E26-498B-8EEF-0A3ADD564A15}" type="pres">
      <dgm:prSet presAssocID="{783A362A-F64A-4E4D-817A-480E93A1B6EE}" presName="theList" presStyleCnt="0"/>
      <dgm:spPr/>
    </dgm:pt>
    <dgm:pt modelId="{A5AD2F24-BCD7-4868-B029-FDA12ECF486C}" type="pres">
      <dgm:prSet presAssocID="{7FF66146-5736-40BA-9B5E-8991EAF01FEB}" presName="aNode" presStyleLbl="fgAcc1" presStyleIdx="0" presStyleCnt="3" custScaleX="187005" custScaleY="50834" custLinFactY="-8747" custLinFactNeighborX="68433" custLinFactNeighborY="-100000">
        <dgm:presLayoutVars>
          <dgm:bulletEnabled val="1"/>
        </dgm:presLayoutVars>
      </dgm:prSet>
      <dgm:spPr/>
    </dgm:pt>
    <dgm:pt modelId="{DDBC37F6-5B86-4AFF-B038-C40C05EE40AD}" type="pres">
      <dgm:prSet presAssocID="{7FF66146-5736-40BA-9B5E-8991EAF01FEB}" presName="aSpace" presStyleCnt="0"/>
      <dgm:spPr/>
    </dgm:pt>
    <dgm:pt modelId="{1BA684CE-0BF2-4FA3-9354-2D03AD9F50A5}" type="pres">
      <dgm:prSet presAssocID="{0CE89435-DFD7-4FE1-9C95-D8712EC59EBF}" presName="aNode" presStyleLbl="fgAcc1" presStyleIdx="1" presStyleCnt="3" custScaleX="187491" custScaleY="67708" custLinFactNeighborX="63325" custLinFactNeighborY="-19115">
        <dgm:presLayoutVars>
          <dgm:bulletEnabled val="1"/>
        </dgm:presLayoutVars>
      </dgm:prSet>
      <dgm:spPr/>
    </dgm:pt>
    <dgm:pt modelId="{D7B45AD3-1E6C-4E7E-94BF-EAC520D22D37}" type="pres">
      <dgm:prSet presAssocID="{0CE89435-DFD7-4FE1-9C95-D8712EC59EBF}" presName="aSpace" presStyleCnt="0"/>
      <dgm:spPr/>
    </dgm:pt>
    <dgm:pt modelId="{853F6DC1-277C-433F-818A-1B977A10682F}" type="pres">
      <dgm:prSet presAssocID="{D7797199-A889-4B2E-A723-14698B9732BE}" presName="aNode" presStyleLbl="fgAcc1" presStyleIdx="2" presStyleCnt="3" custScaleX="185971" custScaleY="50834" custLinFactY="12575" custLinFactNeighborX="64235" custLinFactNeighborY="100000">
        <dgm:presLayoutVars>
          <dgm:bulletEnabled val="1"/>
        </dgm:presLayoutVars>
      </dgm:prSet>
      <dgm:spPr/>
    </dgm:pt>
    <dgm:pt modelId="{AFBFBC18-1DD6-4C27-B2A9-D233411E0898}" type="pres">
      <dgm:prSet presAssocID="{D7797199-A889-4B2E-A723-14698B9732BE}" presName="aSpace" presStyleCnt="0"/>
      <dgm:spPr/>
    </dgm:pt>
  </dgm:ptLst>
  <dgm:cxnLst>
    <dgm:cxn modelId="{A16A2408-3ED2-4A36-B8FD-4F1D7A1C3DF8}" type="presOf" srcId="{7FF66146-5736-40BA-9B5E-8991EAF01FEB}" destId="{A5AD2F24-BCD7-4868-B029-FDA12ECF486C}" srcOrd="0" destOrd="0" presId="urn:microsoft.com/office/officeart/2005/8/layout/pyramid2"/>
    <dgm:cxn modelId="{0A54312F-B68D-4BF8-BCB0-5D0C74A2818B}" srcId="{783A362A-F64A-4E4D-817A-480E93A1B6EE}" destId="{7FF66146-5736-40BA-9B5E-8991EAF01FEB}" srcOrd="0" destOrd="0" parTransId="{6F447D13-2B3C-440F-8A59-29B3B6FA6B0A}" sibTransId="{69DD0783-E8DE-48A6-ADF8-991C457D5C39}"/>
    <dgm:cxn modelId="{25C6A035-B8FF-4877-B789-6B2C6576A877}" type="presOf" srcId="{D7797199-A889-4B2E-A723-14698B9732BE}" destId="{853F6DC1-277C-433F-818A-1B977A10682F}" srcOrd="0" destOrd="0" presId="urn:microsoft.com/office/officeart/2005/8/layout/pyramid2"/>
    <dgm:cxn modelId="{D7064A40-C91E-4E17-8FF5-CE4CBFE4BE79}" srcId="{783A362A-F64A-4E4D-817A-480E93A1B6EE}" destId="{D7797199-A889-4B2E-A723-14698B9732BE}" srcOrd="2" destOrd="0" parTransId="{5A3DC430-AC85-467A-AE59-EEE09607527C}" sibTransId="{389772E5-58E1-4153-B9B0-8A18B9A6D35A}"/>
    <dgm:cxn modelId="{A4CE5F6E-B009-4746-ADDB-4C7011263FE6}" srcId="{783A362A-F64A-4E4D-817A-480E93A1B6EE}" destId="{0CE89435-DFD7-4FE1-9C95-D8712EC59EBF}" srcOrd="1" destOrd="0" parTransId="{7DB65C69-5E0F-4886-8F44-62F6CB4AA123}" sibTransId="{BFEE452E-A227-42C1-B0C1-941C9DFD72DE}"/>
    <dgm:cxn modelId="{4F83A8A7-6156-4A83-B764-9D4FEBF3DA93}" type="presOf" srcId="{0CE89435-DFD7-4FE1-9C95-D8712EC59EBF}" destId="{1BA684CE-0BF2-4FA3-9354-2D03AD9F50A5}" srcOrd="0" destOrd="0" presId="urn:microsoft.com/office/officeart/2005/8/layout/pyramid2"/>
    <dgm:cxn modelId="{C02C3DDA-EB69-474B-B245-DDAF3CD84970}" type="presOf" srcId="{783A362A-F64A-4E4D-817A-480E93A1B6EE}" destId="{B2C06886-1625-4D06-A25C-5CEBD8D4E8CE}" srcOrd="0" destOrd="0" presId="urn:microsoft.com/office/officeart/2005/8/layout/pyramid2"/>
    <dgm:cxn modelId="{5794CDA9-7F3D-4397-81F6-D1AA8F05BC5F}" type="presParOf" srcId="{B2C06886-1625-4D06-A25C-5CEBD8D4E8CE}" destId="{37ECADA0-EE6B-4F89-8178-7E8409DA9165}" srcOrd="0" destOrd="0" presId="urn:microsoft.com/office/officeart/2005/8/layout/pyramid2"/>
    <dgm:cxn modelId="{E3D5BC2E-DE06-4BC1-9CD6-1F8496502E36}" type="presParOf" srcId="{B2C06886-1625-4D06-A25C-5CEBD8D4E8CE}" destId="{FEA70EDA-7E26-498B-8EEF-0A3ADD564A15}" srcOrd="1" destOrd="0" presId="urn:microsoft.com/office/officeart/2005/8/layout/pyramid2"/>
    <dgm:cxn modelId="{EE27E6B1-89C2-4ACE-9E57-EFC800FD9972}" type="presParOf" srcId="{FEA70EDA-7E26-498B-8EEF-0A3ADD564A15}" destId="{A5AD2F24-BCD7-4868-B029-FDA12ECF486C}" srcOrd="0" destOrd="0" presId="urn:microsoft.com/office/officeart/2005/8/layout/pyramid2"/>
    <dgm:cxn modelId="{398E6974-5EFE-4B50-9103-F1E74DA6B20B}" type="presParOf" srcId="{FEA70EDA-7E26-498B-8EEF-0A3ADD564A15}" destId="{DDBC37F6-5B86-4AFF-B038-C40C05EE40AD}" srcOrd="1" destOrd="0" presId="urn:microsoft.com/office/officeart/2005/8/layout/pyramid2"/>
    <dgm:cxn modelId="{6F3C1054-7E85-4B55-8A2D-3A196763502A}" type="presParOf" srcId="{FEA70EDA-7E26-498B-8EEF-0A3ADD564A15}" destId="{1BA684CE-0BF2-4FA3-9354-2D03AD9F50A5}" srcOrd="2" destOrd="0" presId="urn:microsoft.com/office/officeart/2005/8/layout/pyramid2"/>
    <dgm:cxn modelId="{ABB94578-F28C-4263-81CA-58F7777A8DE0}" type="presParOf" srcId="{FEA70EDA-7E26-498B-8EEF-0A3ADD564A15}" destId="{D7B45AD3-1E6C-4E7E-94BF-EAC520D22D37}" srcOrd="3" destOrd="0" presId="urn:microsoft.com/office/officeart/2005/8/layout/pyramid2"/>
    <dgm:cxn modelId="{D23B6D05-D819-4A3B-B2BB-20760E0540CC}" type="presParOf" srcId="{FEA70EDA-7E26-498B-8EEF-0A3ADD564A15}" destId="{853F6DC1-277C-433F-818A-1B977A10682F}" srcOrd="4" destOrd="0" presId="urn:microsoft.com/office/officeart/2005/8/layout/pyramid2"/>
    <dgm:cxn modelId="{60A42620-279C-45EF-9D78-F231B5C8723D}" type="presParOf" srcId="{FEA70EDA-7E26-498B-8EEF-0A3ADD564A15}" destId="{AFBFBC18-1DD6-4C27-B2A9-D233411E0898}"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11F12EF-3164-47E4-B1C8-D545A3A05141}" type="doc">
      <dgm:prSet loTypeId="urn:microsoft.com/office/officeart/2005/8/layout/pyramid2" loCatId="pyramid" qsTypeId="urn:microsoft.com/office/officeart/2005/8/quickstyle/simple1" qsCatId="simple" csTypeId="urn:microsoft.com/office/officeart/2005/8/colors/accent1_2" csCatId="accent1"/>
      <dgm:spPr/>
      <dgm:t>
        <a:bodyPr/>
        <a:lstStyle/>
        <a:p>
          <a:endParaRPr lang="en-US"/>
        </a:p>
      </dgm:t>
    </dgm:pt>
    <dgm:pt modelId="{0C5C158A-CBC6-410E-A26B-0B30F76ED75A}">
      <dgm:prSet/>
      <dgm:spPr/>
      <dgm:t>
        <a:bodyPr/>
        <a:lstStyle/>
        <a:p>
          <a:r>
            <a:rPr lang="en-US" baseline="0"/>
            <a:t>Active Directory Integrated Authentication.</a:t>
          </a:r>
          <a:endParaRPr lang="en-US"/>
        </a:p>
      </dgm:t>
    </dgm:pt>
    <dgm:pt modelId="{69D8F51C-1658-4992-A331-0435EB266CC0}" type="parTrans" cxnId="{8F7D2BD8-6995-4D2C-80BE-42D7F18DDADE}">
      <dgm:prSet/>
      <dgm:spPr/>
      <dgm:t>
        <a:bodyPr/>
        <a:lstStyle/>
        <a:p>
          <a:endParaRPr lang="en-US"/>
        </a:p>
      </dgm:t>
    </dgm:pt>
    <dgm:pt modelId="{60001E1D-CC30-426C-994C-0AB44791BF4F}" type="sibTrans" cxnId="{8F7D2BD8-6995-4D2C-80BE-42D7F18DDADE}">
      <dgm:prSet/>
      <dgm:spPr/>
      <dgm:t>
        <a:bodyPr/>
        <a:lstStyle/>
        <a:p>
          <a:endParaRPr lang="en-US"/>
        </a:p>
      </dgm:t>
    </dgm:pt>
    <dgm:pt modelId="{4E55B13B-968D-4603-B228-20B38F11AF8A}">
      <dgm:prSet/>
      <dgm:spPr/>
      <dgm:t>
        <a:bodyPr/>
        <a:lstStyle/>
        <a:p>
          <a:r>
            <a:rPr lang="en-US" baseline="0"/>
            <a:t>Active Directory Password Authentication.</a:t>
          </a:r>
          <a:endParaRPr lang="en-US"/>
        </a:p>
      </dgm:t>
    </dgm:pt>
    <dgm:pt modelId="{D42AF768-B0BC-4FF2-AEE9-39AE6A17F4A8}" type="parTrans" cxnId="{5DE4E2E8-A9FD-4DD0-A748-F2FC30AAFB9E}">
      <dgm:prSet/>
      <dgm:spPr/>
      <dgm:t>
        <a:bodyPr/>
        <a:lstStyle/>
        <a:p>
          <a:endParaRPr lang="en-US"/>
        </a:p>
      </dgm:t>
    </dgm:pt>
    <dgm:pt modelId="{D2D3F69D-8586-4ED8-813C-EC217EF06300}" type="sibTrans" cxnId="{5DE4E2E8-A9FD-4DD0-A748-F2FC30AAFB9E}">
      <dgm:prSet/>
      <dgm:spPr/>
      <dgm:t>
        <a:bodyPr/>
        <a:lstStyle/>
        <a:p>
          <a:endParaRPr lang="en-US"/>
        </a:p>
      </dgm:t>
    </dgm:pt>
    <dgm:pt modelId="{D59C2A8C-EA2D-4AA6-8869-C89FE6323CB5}">
      <dgm:prSet/>
      <dgm:spPr/>
      <dgm:t>
        <a:bodyPr/>
        <a:lstStyle/>
        <a:p>
          <a:r>
            <a:rPr lang="en-US" baseline="0"/>
            <a:t>Active Directory Universal with MFA Authentication.</a:t>
          </a:r>
          <a:endParaRPr lang="en-US"/>
        </a:p>
      </dgm:t>
    </dgm:pt>
    <dgm:pt modelId="{5F3BAEBB-6ADB-4336-BD46-E794CA60F47A}" type="parTrans" cxnId="{C57E6683-09CE-46D3-84B8-4F80C9D387D4}">
      <dgm:prSet/>
      <dgm:spPr/>
      <dgm:t>
        <a:bodyPr/>
        <a:lstStyle/>
        <a:p>
          <a:endParaRPr lang="en-US"/>
        </a:p>
      </dgm:t>
    </dgm:pt>
    <dgm:pt modelId="{00782E5F-F051-4558-A280-FB9A9DB56AA9}" type="sibTrans" cxnId="{C57E6683-09CE-46D3-84B8-4F80C9D387D4}">
      <dgm:prSet/>
      <dgm:spPr/>
      <dgm:t>
        <a:bodyPr/>
        <a:lstStyle/>
        <a:p>
          <a:endParaRPr lang="en-US"/>
        </a:p>
      </dgm:t>
    </dgm:pt>
    <dgm:pt modelId="{357FBF84-9EEA-4588-969E-0B06E2C85E2A}" type="pres">
      <dgm:prSet presAssocID="{511F12EF-3164-47E4-B1C8-D545A3A05141}" presName="compositeShape" presStyleCnt="0">
        <dgm:presLayoutVars>
          <dgm:dir/>
          <dgm:resizeHandles/>
        </dgm:presLayoutVars>
      </dgm:prSet>
      <dgm:spPr/>
    </dgm:pt>
    <dgm:pt modelId="{603D9876-0FA8-4321-BD52-3712BBDB0D29}" type="pres">
      <dgm:prSet presAssocID="{511F12EF-3164-47E4-B1C8-D545A3A05141}" presName="pyramid" presStyleLbl="node1" presStyleIdx="0" presStyleCnt="1"/>
      <dgm:spPr/>
    </dgm:pt>
    <dgm:pt modelId="{FB89E733-0F62-4090-9A5E-17199E381A6C}" type="pres">
      <dgm:prSet presAssocID="{511F12EF-3164-47E4-B1C8-D545A3A05141}" presName="theList" presStyleCnt="0"/>
      <dgm:spPr/>
    </dgm:pt>
    <dgm:pt modelId="{1ECEAA4D-B60B-45E9-9C33-AEBE15E02E85}" type="pres">
      <dgm:prSet presAssocID="{0C5C158A-CBC6-410E-A26B-0B30F76ED75A}" presName="aNode" presStyleLbl="fgAcc1" presStyleIdx="0" presStyleCnt="3">
        <dgm:presLayoutVars>
          <dgm:bulletEnabled val="1"/>
        </dgm:presLayoutVars>
      </dgm:prSet>
      <dgm:spPr/>
    </dgm:pt>
    <dgm:pt modelId="{BA446BC4-E788-4ED4-9947-26A8051A64A4}" type="pres">
      <dgm:prSet presAssocID="{0C5C158A-CBC6-410E-A26B-0B30F76ED75A}" presName="aSpace" presStyleCnt="0"/>
      <dgm:spPr/>
    </dgm:pt>
    <dgm:pt modelId="{76156E29-A3D7-47C7-83A2-253B3AC18956}" type="pres">
      <dgm:prSet presAssocID="{4E55B13B-968D-4603-B228-20B38F11AF8A}" presName="aNode" presStyleLbl="fgAcc1" presStyleIdx="1" presStyleCnt="3">
        <dgm:presLayoutVars>
          <dgm:bulletEnabled val="1"/>
        </dgm:presLayoutVars>
      </dgm:prSet>
      <dgm:spPr/>
    </dgm:pt>
    <dgm:pt modelId="{DD48AF9A-1CA2-40E7-A908-30908909CF6E}" type="pres">
      <dgm:prSet presAssocID="{4E55B13B-968D-4603-B228-20B38F11AF8A}" presName="aSpace" presStyleCnt="0"/>
      <dgm:spPr/>
    </dgm:pt>
    <dgm:pt modelId="{5FB586C7-A31D-46D9-A7F1-08161E59EBB9}" type="pres">
      <dgm:prSet presAssocID="{D59C2A8C-EA2D-4AA6-8869-C89FE6323CB5}" presName="aNode" presStyleLbl="fgAcc1" presStyleIdx="2" presStyleCnt="3">
        <dgm:presLayoutVars>
          <dgm:bulletEnabled val="1"/>
        </dgm:presLayoutVars>
      </dgm:prSet>
      <dgm:spPr/>
    </dgm:pt>
    <dgm:pt modelId="{8EC0B82E-FE78-4B4D-B94C-B1379153B6AE}" type="pres">
      <dgm:prSet presAssocID="{D59C2A8C-EA2D-4AA6-8869-C89FE6323CB5}" presName="aSpace" presStyleCnt="0"/>
      <dgm:spPr/>
    </dgm:pt>
  </dgm:ptLst>
  <dgm:cxnLst>
    <dgm:cxn modelId="{73736E4C-5DC2-412B-979E-423DFFF06B36}" type="presOf" srcId="{D59C2A8C-EA2D-4AA6-8869-C89FE6323CB5}" destId="{5FB586C7-A31D-46D9-A7F1-08161E59EBB9}" srcOrd="0" destOrd="0" presId="urn:microsoft.com/office/officeart/2005/8/layout/pyramid2"/>
    <dgm:cxn modelId="{C57E6683-09CE-46D3-84B8-4F80C9D387D4}" srcId="{511F12EF-3164-47E4-B1C8-D545A3A05141}" destId="{D59C2A8C-EA2D-4AA6-8869-C89FE6323CB5}" srcOrd="2" destOrd="0" parTransId="{5F3BAEBB-6ADB-4336-BD46-E794CA60F47A}" sibTransId="{00782E5F-F051-4558-A280-FB9A9DB56AA9}"/>
    <dgm:cxn modelId="{BEF6F89B-161D-4618-876D-E246FBBBFC6B}" type="presOf" srcId="{4E55B13B-968D-4603-B228-20B38F11AF8A}" destId="{76156E29-A3D7-47C7-83A2-253B3AC18956}" srcOrd="0" destOrd="0" presId="urn:microsoft.com/office/officeart/2005/8/layout/pyramid2"/>
    <dgm:cxn modelId="{8F7D2BD8-6995-4D2C-80BE-42D7F18DDADE}" srcId="{511F12EF-3164-47E4-B1C8-D545A3A05141}" destId="{0C5C158A-CBC6-410E-A26B-0B30F76ED75A}" srcOrd="0" destOrd="0" parTransId="{69D8F51C-1658-4992-A331-0435EB266CC0}" sibTransId="{60001E1D-CC30-426C-994C-0AB44791BF4F}"/>
    <dgm:cxn modelId="{D19031DC-B54F-4D05-A4B9-631F747BB13D}" type="presOf" srcId="{511F12EF-3164-47E4-B1C8-D545A3A05141}" destId="{357FBF84-9EEA-4588-969E-0B06E2C85E2A}" srcOrd="0" destOrd="0" presId="urn:microsoft.com/office/officeart/2005/8/layout/pyramid2"/>
    <dgm:cxn modelId="{5DE4E2E8-A9FD-4DD0-A748-F2FC30AAFB9E}" srcId="{511F12EF-3164-47E4-B1C8-D545A3A05141}" destId="{4E55B13B-968D-4603-B228-20B38F11AF8A}" srcOrd="1" destOrd="0" parTransId="{D42AF768-B0BC-4FF2-AEE9-39AE6A17F4A8}" sibTransId="{D2D3F69D-8586-4ED8-813C-EC217EF06300}"/>
    <dgm:cxn modelId="{D3EBF4FE-2195-4413-8E23-7FE83173145F}" type="presOf" srcId="{0C5C158A-CBC6-410E-A26B-0B30F76ED75A}" destId="{1ECEAA4D-B60B-45E9-9C33-AEBE15E02E85}" srcOrd="0" destOrd="0" presId="urn:microsoft.com/office/officeart/2005/8/layout/pyramid2"/>
    <dgm:cxn modelId="{443FE460-5B12-49D7-9D8F-F8C27735FEC2}" type="presParOf" srcId="{357FBF84-9EEA-4588-969E-0B06E2C85E2A}" destId="{603D9876-0FA8-4321-BD52-3712BBDB0D29}" srcOrd="0" destOrd="0" presId="urn:microsoft.com/office/officeart/2005/8/layout/pyramid2"/>
    <dgm:cxn modelId="{EAEAD895-375A-445D-8F65-EF883DD5FA12}" type="presParOf" srcId="{357FBF84-9EEA-4588-969E-0B06E2C85E2A}" destId="{FB89E733-0F62-4090-9A5E-17199E381A6C}" srcOrd="1" destOrd="0" presId="urn:microsoft.com/office/officeart/2005/8/layout/pyramid2"/>
    <dgm:cxn modelId="{2832F284-EEA4-4714-B977-CFEC862A253F}" type="presParOf" srcId="{FB89E733-0F62-4090-9A5E-17199E381A6C}" destId="{1ECEAA4D-B60B-45E9-9C33-AEBE15E02E85}" srcOrd="0" destOrd="0" presId="urn:microsoft.com/office/officeart/2005/8/layout/pyramid2"/>
    <dgm:cxn modelId="{45E67EF6-9AAC-43D1-BEB5-711B4E866F7A}" type="presParOf" srcId="{FB89E733-0F62-4090-9A5E-17199E381A6C}" destId="{BA446BC4-E788-4ED4-9947-26A8051A64A4}" srcOrd="1" destOrd="0" presId="urn:microsoft.com/office/officeart/2005/8/layout/pyramid2"/>
    <dgm:cxn modelId="{787D3A9F-E4AB-4CE5-A58D-A66D4DF54524}" type="presParOf" srcId="{FB89E733-0F62-4090-9A5E-17199E381A6C}" destId="{76156E29-A3D7-47C7-83A2-253B3AC18956}" srcOrd="2" destOrd="0" presId="urn:microsoft.com/office/officeart/2005/8/layout/pyramid2"/>
    <dgm:cxn modelId="{C6CF596F-CD0D-49B8-A9E6-0B7406138BDC}" type="presParOf" srcId="{FB89E733-0F62-4090-9A5E-17199E381A6C}" destId="{DD48AF9A-1CA2-40E7-A908-30908909CF6E}" srcOrd="3" destOrd="0" presId="urn:microsoft.com/office/officeart/2005/8/layout/pyramid2"/>
    <dgm:cxn modelId="{02D646C2-1257-44BF-9D02-38C87F975BCB}" type="presParOf" srcId="{FB89E733-0F62-4090-9A5E-17199E381A6C}" destId="{5FB586C7-A31D-46D9-A7F1-08161E59EBB9}" srcOrd="4" destOrd="0" presId="urn:microsoft.com/office/officeart/2005/8/layout/pyramid2"/>
    <dgm:cxn modelId="{9C565D46-A505-4244-BA80-69F4F9FEE953}" type="presParOf" srcId="{FB89E733-0F62-4090-9A5E-17199E381A6C}" destId="{8EC0B82E-FE78-4B4D-B94C-B1379153B6AE}"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AADD2BA-9FE1-43F8-9CDF-BC42197EB237}" type="doc">
      <dgm:prSet loTypeId="urn:microsoft.com/office/officeart/2005/8/layout/vList2" loCatId="list" qsTypeId="urn:microsoft.com/office/officeart/2005/8/quickstyle/simple1" qsCatId="simple" csTypeId="urn:microsoft.com/office/officeart/2005/8/colors/accent3_1" csCatId="accent3" phldr="1"/>
      <dgm:spPr/>
    </dgm:pt>
    <dgm:pt modelId="{C82D5D9C-21CA-49EF-99DC-A32600701925}">
      <dgm:prSet phldrT="[Text]" custT="1"/>
      <dgm:spPr>
        <a:xfrm>
          <a:off x="0" y="1154871"/>
          <a:ext cx="9285466" cy="1216800"/>
        </a:xfrm>
        <a:prstGeom prst="round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a:buNone/>
          </a:pPr>
          <a:r>
            <a:rPr lang="en-US" sz="2400">
              <a:solidFill>
                <a:srgbClr val="505050">
                  <a:hueOff val="0"/>
                  <a:satOff val="0"/>
                  <a:lumOff val="0"/>
                  <a:alphaOff val="0"/>
                </a:srgbClr>
              </a:solidFill>
              <a:latin typeface="Segoe UI"/>
              <a:ea typeface="+mn-ea"/>
              <a:cs typeface="+mn-cs"/>
            </a:rPr>
            <a:t>Many applications require support for queries that do more than equality comparison.</a:t>
          </a:r>
        </a:p>
      </dgm:t>
    </dgm:pt>
    <dgm:pt modelId="{66F2F28D-05D2-4E54-AE84-87D5710B5CFA}" type="parTrans" cxnId="{B4FBC07C-F245-47D6-81CD-E25AF8F6C8FF}">
      <dgm:prSet/>
      <dgm:spPr/>
      <dgm:t>
        <a:bodyPr/>
        <a:lstStyle/>
        <a:p>
          <a:endParaRPr lang="en-US"/>
        </a:p>
      </dgm:t>
    </dgm:pt>
    <dgm:pt modelId="{F4D789F8-D835-4EB8-B6A6-28BD3641B985}" type="sibTrans" cxnId="{B4FBC07C-F245-47D6-81CD-E25AF8F6C8FF}">
      <dgm:prSet/>
      <dgm:spPr/>
      <dgm:t>
        <a:bodyPr/>
        <a:lstStyle/>
        <a:p>
          <a:endParaRPr lang="en-US"/>
        </a:p>
      </dgm:t>
    </dgm:pt>
    <dgm:pt modelId="{9C96CB83-B4C8-4F72-9F9F-AF71F8553328}">
      <dgm:prSet phldrT="[Text]" custT="1"/>
      <dgm:spPr>
        <a:xfrm>
          <a:off x="0" y="2558871"/>
          <a:ext cx="9285466" cy="1216800"/>
        </a:xfrm>
        <a:prstGeom prst="round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ln>
        <a:effectLst/>
      </dgm:spPr>
      <dgm:t>
        <a:bodyPr/>
        <a:lstStyle/>
        <a:p>
          <a:pPr>
            <a:buClr>
              <a:srgbClr val="1A1A1A"/>
            </a:buClr>
            <a:buNone/>
          </a:pPr>
          <a:r>
            <a:rPr lang="en-US" sz="2400">
              <a:solidFill>
                <a:srgbClr val="505050">
                  <a:hueOff val="0"/>
                  <a:satOff val="0"/>
                  <a:lumOff val="0"/>
                  <a:alphaOff val="0"/>
                </a:srgbClr>
              </a:solidFill>
              <a:latin typeface="Segoe UI"/>
              <a:ea typeface="+mn-ea"/>
              <a:cs typeface="Segoe UI Semilight" panose="020B0402040204020203" pitchFamily="34" charset="0"/>
            </a:rPr>
            <a:t>Data needs to be moved out of the database for initial encryption and key rotation.</a:t>
          </a:r>
          <a:endParaRPr lang="en-US" sz="2400">
            <a:solidFill>
              <a:srgbClr val="505050">
                <a:hueOff val="0"/>
                <a:satOff val="0"/>
                <a:lumOff val="0"/>
                <a:alphaOff val="0"/>
              </a:srgbClr>
            </a:solidFill>
            <a:latin typeface="Segoe UI"/>
            <a:ea typeface="+mn-ea"/>
            <a:cs typeface="+mn-cs"/>
          </a:endParaRPr>
        </a:p>
      </dgm:t>
    </dgm:pt>
    <dgm:pt modelId="{5DCDF4E9-5A52-4F2E-9202-35C99FFDBFD2}" type="parTrans" cxnId="{02C090EA-2337-4CB5-A04B-D9667A8A622D}">
      <dgm:prSet/>
      <dgm:spPr/>
      <dgm:t>
        <a:bodyPr/>
        <a:lstStyle/>
        <a:p>
          <a:endParaRPr lang="en-US"/>
        </a:p>
      </dgm:t>
    </dgm:pt>
    <dgm:pt modelId="{25A3C591-DE9C-4D2B-A784-580E63F8BE22}" type="sibTrans" cxnId="{02C090EA-2337-4CB5-A04B-D9667A8A622D}">
      <dgm:prSet/>
      <dgm:spPr/>
      <dgm:t>
        <a:bodyPr/>
        <a:lstStyle/>
        <a:p>
          <a:endParaRPr lang="en-US"/>
        </a:p>
      </dgm:t>
    </dgm:pt>
    <dgm:pt modelId="{09B83EA4-B310-46C4-9E27-61AD50BFF3F0}" type="pres">
      <dgm:prSet presAssocID="{CAADD2BA-9FE1-43F8-9CDF-BC42197EB237}" presName="linear" presStyleCnt="0">
        <dgm:presLayoutVars>
          <dgm:animLvl val="lvl"/>
          <dgm:resizeHandles val="exact"/>
        </dgm:presLayoutVars>
      </dgm:prSet>
      <dgm:spPr/>
    </dgm:pt>
    <dgm:pt modelId="{1455F804-2844-492A-A667-E26FE8E01293}" type="pres">
      <dgm:prSet presAssocID="{C82D5D9C-21CA-49EF-99DC-A32600701925}" presName="parentText" presStyleLbl="node1" presStyleIdx="0" presStyleCnt="2" custLinFactY="-5834" custLinFactNeighborX="12485" custLinFactNeighborY="-100000">
        <dgm:presLayoutVars>
          <dgm:chMax val="0"/>
          <dgm:bulletEnabled val="1"/>
        </dgm:presLayoutVars>
      </dgm:prSet>
      <dgm:spPr/>
    </dgm:pt>
    <dgm:pt modelId="{99CB4E5D-49CC-43D9-AB72-C0F7F0CF2A2C}" type="pres">
      <dgm:prSet presAssocID="{F4D789F8-D835-4EB8-B6A6-28BD3641B985}" presName="spacer" presStyleCnt="0"/>
      <dgm:spPr/>
    </dgm:pt>
    <dgm:pt modelId="{78FDA1F8-3837-40EE-9C5D-E483FEB37D9D}" type="pres">
      <dgm:prSet presAssocID="{9C96CB83-B4C8-4F72-9F9F-AF71F8553328}" presName="parentText" presStyleLbl="node1" presStyleIdx="1" presStyleCnt="2" custLinFactY="-5834" custLinFactNeighborX="12485" custLinFactNeighborY="-100000">
        <dgm:presLayoutVars>
          <dgm:chMax val="0"/>
          <dgm:bulletEnabled val="1"/>
        </dgm:presLayoutVars>
      </dgm:prSet>
      <dgm:spPr/>
    </dgm:pt>
  </dgm:ptLst>
  <dgm:cxnLst>
    <dgm:cxn modelId="{34ACCD69-8E4F-4677-A17F-4FB5C21CC399}" type="presOf" srcId="{C82D5D9C-21CA-49EF-99DC-A32600701925}" destId="{1455F804-2844-492A-A667-E26FE8E01293}" srcOrd="0" destOrd="0" presId="urn:microsoft.com/office/officeart/2005/8/layout/vList2"/>
    <dgm:cxn modelId="{B95D9E54-0170-4B57-BEDE-BFFCE7C05F17}" type="presOf" srcId="{CAADD2BA-9FE1-43F8-9CDF-BC42197EB237}" destId="{09B83EA4-B310-46C4-9E27-61AD50BFF3F0}" srcOrd="0" destOrd="0" presId="urn:microsoft.com/office/officeart/2005/8/layout/vList2"/>
    <dgm:cxn modelId="{B4FBC07C-F245-47D6-81CD-E25AF8F6C8FF}" srcId="{CAADD2BA-9FE1-43F8-9CDF-BC42197EB237}" destId="{C82D5D9C-21CA-49EF-99DC-A32600701925}" srcOrd="0" destOrd="0" parTransId="{66F2F28D-05D2-4E54-AE84-87D5710B5CFA}" sibTransId="{F4D789F8-D835-4EB8-B6A6-28BD3641B985}"/>
    <dgm:cxn modelId="{F750D7A9-0D50-450F-989A-731D5FDAF31A}" type="presOf" srcId="{9C96CB83-B4C8-4F72-9F9F-AF71F8553328}" destId="{78FDA1F8-3837-40EE-9C5D-E483FEB37D9D}" srcOrd="0" destOrd="0" presId="urn:microsoft.com/office/officeart/2005/8/layout/vList2"/>
    <dgm:cxn modelId="{02C090EA-2337-4CB5-A04B-D9667A8A622D}" srcId="{CAADD2BA-9FE1-43F8-9CDF-BC42197EB237}" destId="{9C96CB83-B4C8-4F72-9F9F-AF71F8553328}" srcOrd="1" destOrd="0" parTransId="{5DCDF4E9-5A52-4F2E-9202-35C99FFDBFD2}" sibTransId="{25A3C591-DE9C-4D2B-A784-580E63F8BE22}"/>
    <dgm:cxn modelId="{1EC9B15A-BB56-455C-A0F2-945672F2F94A}" type="presParOf" srcId="{09B83EA4-B310-46C4-9E27-61AD50BFF3F0}" destId="{1455F804-2844-492A-A667-E26FE8E01293}" srcOrd="0" destOrd="0" presId="urn:microsoft.com/office/officeart/2005/8/layout/vList2"/>
    <dgm:cxn modelId="{16E32DD2-A2F6-4811-B83A-8D585A235044}" type="presParOf" srcId="{09B83EA4-B310-46C4-9E27-61AD50BFF3F0}" destId="{99CB4E5D-49CC-43D9-AB72-C0F7F0CF2A2C}" srcOrd="1" destOrd="0" presId="urn:microsoft.com/office/officeart/2005/8/layout/vList2"/>
    <dgm:cxn modelId="{D7336ED6-5D81-40BA-9A71-111D7D7AD986}" type="presParOf" srcId="{09B83EA4-B310-46C4-9E27-61AD50BFF3F0}" destId="{78FDA1F8-3837-40EE-9C5D-E483FEB37D9D}"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solidFill>
                <a:srgbClr val="FFFFFF"/>
              </a:solidFill>
            </a:rPr>
            <a:t>Can a DBA see Always Encrypted data?</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custT="1"/>
      <dgm:spPr/>
      <dgm:t>
        <a:bodyPr/>
        <a:lstStyle/>
        <a:p>
          <a:r>
            <a:rPr lang="en-US" sz="2400">
              <a:solidFill>
                <a:srgbClr val="FFFFFF"/>
              </a:solidFill>
            </a:rPr>
            <a:t>What are the 4 steps that you need to perform to enable Always Encrypted?</a:t>
          </a:r>
          <a:endParaRPr lang="en-US" sz="2400"/>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2">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6B8C6028-A402-4D37-B41D-652AD42E31B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9514FB5-9A0E-4868-9D42-1588C47AED01}">
      <dgm:prSet/>
      <dgm:spPr/>
      <dgm:t>
        <a:bodyPr/>
        <a:lstStyle/>
        <a:p>
          <a:r>
            <a:rPr lang="en-US" baseline="0"/>
            <a:t>Fine-grained access control over specific rows in a database table.</a:t>
          </a:r>
          <a:endParaRPr lang="en-US"/>
        </a:p>
      </dgm:t>
    </dgm:pt>
    <dgm:pt modelId="{C09CF90A-E30B-4500-9DF5-EEEB2B4E2906}" type="parTrans" cxnId="{196E32CA-D252-4B7F-93F8-B9D2B0FA46C1}">
      <dgm:prSet/>
      <dgm:spPr/>
      <dgm:t>
        <a:bodyPr/>
        <a:lstStyle/>
        <a:p>
          <a:endParaRPr lang="en-US"/>
        </a:p>
      </dgm:t>
    </dgm:pt>
    <dgm:pt modelId="{1BEDBDFE-6EB6-4CAD-A498-F697CBCE5260}" type="sibTrans" cxnId="{196E32CA-D252-4B7F-93F8-B9D2B0FA46C1}">
      <dgm:prSet/>
      <dgm:spPr/>
      <dgm:t>
        <a:bodyPr/>
        <a:lstStyle/>
        <a:p>
          <a:endParaRPr lang="en-US"/>
        </a:p>
      </dgm:t>
    </dgm:pt>
    <dgm:pt modelId="{5480706B-A92F-4332-8431-D805ECD673D4}">
      <dgm:prSet/>
      <dgm:spPr/>
      <dgm:t>
        <a:bodyPr/>
        <a:lstStyle/>
        <a:p>
          <a:r>
            <a:rPr lang="en-US" baseline="0" dirty="0"/>
            <a:t>Helps to prevent unauthorized access when multiple users share the same tables, or to implement connection filtering in multitenant applications.</a:t>
          </a:r>
          <a:endParaRPr lang="en-US" dirty="0"/>
        </a:p>
      </dgm:t>
    </dgm:pt>
    <dgm:pt modelId="{46893C98-7ABC-4E16-997E-A55CB85FE270}" type="parTrans" cxnId="{F175F902-2A4C-42DE-BD60-5AEF8259E515}">
      <dgm:prSet/>
      <dgm:spPr/>
      <dgm:t>
        <a:bodyPr/>
        <a:lstStyle/>
        <a:p>
          <a:endParaRPr lang="en-US"/>
        </a:p>
      </dgm:t>
    </dgm:pt>
    <dgm:pt modelId="{05BD6A5A-D62E-4A08-B709-63ADAB6F9BE4}" type="sibTrans" cxnId="{F175F902-2A4C-42DE-BD60-5AEF8259E515}">
      <dgm:prSet/>
      <dgm:spPr/>
      <dgm:t>
        <a:bodyPr/>
        <a:lstStyle/>
        <a:p>
          <a:endParaRPr lang="en-US"/>
        </a:p>
      </dgm:t>
    </dgm:pt>
    <dgm:pt modelId="{B7232C42-F19F-4349-82A4-6A83FE399ED2}">
      <dgm:prSet/>
      <dgm:spPr/>
      <dgm:t>
        <a:bodyPr/>
        <a:lstStyle/>
        <a:p>
          <a:r>
            <a:rPr lang="en-US" baseline="0"/>
            <a:t>Enforcement logic inside the database and schema is bound to the table.</a:t>
          </a:r>
          <a:endParaRPr lang="en-US"/>
        </a:p>
      </dgm:t>
    </dgm:pt>
    <dgm:pt modelId="{62F39214-256D-46EA-A92B-F85A060A97EB}" type="parTrans" cxnId="{BCF0B506-B15A-4379-AE88-D6ECAAC0F167}">
      <dgm:prSet/>
      <dgm:spPr/>
      <dgm:t>
        <a:bodyPr/>
        <a:lstStyle/>
        <a:p>
          <a:endParaRPr lang="en-US"/>
        </a:p>
      </dgm:t>
    </dgm:pt>
    <dgm:pt modelId="{D9E6C441-DF6E-4BE4-8ECE-E80D4F1F3AFC}" type="sibTrans" cxnId="{BCF0B506-B15A-4379-AE88-D6ECAAC0F167}">
      <dgm:prSet/>
      <dgm:spPr/>
      <dgm:t>
        <a:bodyPr/>
        <a:lstStyle/>
        <a:p>
          <a:endParaRPr lang="en-US"/>
        </a:p>
      </dgm:t>
    </dgm:pt>
    <dgm:pt modelId="{DCDCDA18-032B-4707-A5C7-ADAB33EDDBF9}" type="pres">
      <dgm:prSet presAssocID="{6B8C6028-A402-4D37-B41D-652AD42E31B0}" presName="linear" presStyleCnt="0">
        <dgm:presLayoutVars>
          <dgm:animLvl val="lvl"/>
          <dgm:resizeHandles val="exact"/>
        </dgm:presLayoutVars>
      </dgm:prSet>
      <dgm:spPr/>
    </dgm:pt>
    <dgm:pt modelId="{5F80DD04-C835-469E-A9CF-B2F7FD93DB93}" type="pres">
      <dgm:prSet presAssocID="{49514FB5-9A0E-4868-9D42-1588C47AED01}" presName="parentText" presStyleLbl="node1" presStyleIdx="0" presStyleCnt="3">
        <dgm:presLayoutVars>
          <dgm:chMax val="0"/>
          <dgm:bulletEnabled val="1"/>
        </dgm:presLayoutVars>
      </dgm:prSet>
      <dgm:spPr/>
    </dgm:pt>
    <dgm:pt modelId="{03DCC53A-3FB8-4AC3-858A-31EB71C9749B}" type="pres">
      <dgm:prSet presAssocID="{1BEDBDFE-6EB6-4CAD-A498-F697CBCE5260}" presName="spacer" presStyleCnt="0"/>
      <dgm:spPr/>
    </dgm:pt>
    <dgm:pt modelId="{E6925E3C-6A33-4D79-A39D-42C442E85B2D}" type="pres">
      <dgm:prSet presAssocID="{5480706B-A92F-4332-8431-D805ECD673D4}" presName="parentText" presStyleLbl="node1" presStyleIdx="1" presStyleCnt="3">
        <dgm:presLayoutVars>
          <dgm:chMax val="0"/>
          <dgm:bulletEnabled val="1"/>
        </dgm:presLayoutVars>
      </dgm:prSet>
      <dgm:spPr/>
    </dgm:pt>
    <dgm:pt modelId="{A6208282-4ECB-4D8B-A262-2F8DFC43F2F3}" type="pres">
      <dgm:prSet presAssocID="{05BD6A5A-D62E-4A08-B709-63ADAB6F9BE4}" presName="spacer" presStyleCnt="0"/>
      <dgm:spPr/>
    </dgm:pt>
    <dgm:pt modelId="{76EBF8C6-8738-4567-A4AA-362EFFBA39AF}" type="pres">
      <dgm:prSet presAssocID="{B7232C42-F19F-4349-82A4-6A83FE399ED2}" presName="parentText" presStyleLbl="node1" presStyleIdx="2" presStyleCnt="3">
        <dgm:presLayoutVars>
          <dgm:chMax val="0"/>
          <dgm:bulletEnabled val="1"/>
        </dgm:presLayoutVars>
      </dgm:prSet>
      <dgm:spPr/>
    </dgm:pt>
  </dgm:ptLst>
  <dgm:cxnLst>
    <dgm:cxn modelId="{F175F902-2A4C-42DE-BD60-5AEF8259E515}" srcId="{6B8C6028-A402-4D37-B41D-652AD42E31B0}" destId="{5480706B-A92F-4332-8431-D805ECD673D4}" srcOrd="1" destOrd="0" parTransId="{46893C98-7ABC-4E16-997E-A55CB85FE270}" sibTransId="{05BD6A5A-D62E-4A08-B709-63ADAB6F9BE4}"/>
    <dgm:cxn modelId="{BCF0B506-B15A-4379-AE88-D6ECAAC0F167}" srcId="{6B8C6028-A402-4D37-B41D-652AD42E31B0}" destId="{B7232C42-F19F-4349-82A4-6A83FE399ED2}" srcOrd="2" destOrd="0" parTransId="{62F39214-256D-46EA-A92B-F85A060A97EB}" sibTransId="{D9E6C441-DF6E-4BE4-8ECE-E80D4F1F3AFC}"/>
    <dgm:cxn modelId="{DBFBA30B-A6DF-4FBB-8AC7-584A32E25C28}" type="presOf" srcId="{5480706B-A92F-4332-8431-D805ECD673D4}" destId="{E6925E3C-6A33-4D79-A39D-42C442E85B2D}" srcOrd="0" destOrd="0" presId="urn:microsoft.com/office/officeart/2005/8/layout/vList2"/>
    <dgm:cxn modelId="{77BFFC6D-BA80-4A02-A53F-80B3C9BC4249}" type="presOf" srcId="{6B8C6028-A402-4D37-B41D-652AD42E31B0}" destId="{DCDCDA18-032B-4707-A5C7-ADAB33EDDBF9}" srcOrd="0" destOrd="0" presId="urn:microsoft.com/office/officeart/2005/8/layout/vList2"/>
    <dgm:cxn modelId="{B3060BB1-3AEC-4533-BC1B-07273C38A7F0}" type="presOf" srcId="{B7232C42-F19F-4349-82A4-6A83FE399ED2}" destId="{76EBF8C6-8738-4567-A4AA-362EFFBA39AF}" srcOrd="0" destOrd="0" presId="urn:microsoft.com/office/officeart/2005/8/layout/vList2"/>
    <dgm:cxn modelId="{196E32CA-D252-4B7F-93F8-B9D2B0FA46C1}" srcId="{6B8C6028-A402-4D37-B41D-652AD42E31B0}" destId="{49514FB5-9A0E-4868-9D42-1588C47AED01}" srcOrd="0" destOrd="0" parTransId="{C09CF90A-E30B-4500-9DF5-EEEB2B4E2906}" sibTransId="{1BEDBDFE-6EB6-4CAD-A498-F697CBCE5260}"/>
    <dgm:cxn modelId="{7B2AB5CE-69CB-47F5-B2A6-43D207A9921C}" type="presOf" srcId="{49514FB5-9A0E-4868-9D42-1588C47AED01}" destId="{5F80DD04-C835-469E-A9CF-B2F7FD93DB93}" srcOrd="0" destOrd="0" presId="urn:microsoft.com/office/officeart/2005/8/layout/vList2"/>
    <dgm:cxn modelId="{AF645211-3277-4126-8B39-F60F950A4D84}" type="presParOf" srcId="{DCDCDA18-032B-4707-A5C7-ADAB33EDDBF9}" destId="{5F80DD04-C835-469E-A9CF-B2F7FD93DB93}" srcOrd="0" destOrd="0" presId="urn:microsoft.com/office/officeart/2005/8/layout/vList2"/>
    <dgm:cxn modelId="{A823B6E2-D59A-45F4-A387-3932AE466E74}" type="presParOf" srcId="{DCDCDA18-032B-4707-A5C7-ADAB33EDDBF9}" destId="{03DCC53A-3FB8-4AC3-858A-31EB71C9749B}" srcOrd="1" destOrd="0" presId="urn:microsoft.com/office/officeart/2005/8/layout/vList2"/>
    <dgm:cxn modelId="{0173E8DF-6377-448A-91C9-AF530841AC36}" type="presParOf" srcId="{DCDCDA18-032B-4707-A5C7-ADAB33EDDBF9}" destId="{E6925E3C-6A33-4D79-A39D-42C442E85B2D}" srcOrd="2" destOrd="0" presId="urn:microsoft.com/office/officeart/2005/8/layout/vList2"/>
    <dgm:cxn modelId="{1DCD8E34-6CE5-4B37-A75E-BB83ED9AE8E8}" type="presParOf" srcId="{DCDCDA18-032B-4707-A5C7-ADAB33EDDBF9}" destId="{A6208282-4ECB-4D8B-A262-2F8DFC43F2F3}" srcOrd="3" destOrd="0" presId="urn:microsoft.com/office/officeart/2005/8/layout/vList2"/>
    <dgm:cxn modelId="{1C59D2C3-132E-4DF4-AAD6-4A89795D631A}" type="presParOf" srcId="{DCDCDA18-032B-4707-A5C7-ADAB33EDDBF9}" destId="{76EBF8C6-8738-4567-A4AA-362EFFBA39AF}"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DDC8743F-81A0-43AA-92D3-73FE2BD22872}" type="doc">
      <dgm:prSet loTypeId="urn:microsoft.com/office/officeart/2005/8/layout/lProcess3" loCatId="process" qsTypeId="urn:microsoft.com/office/officeart/2005/8/quickstyle/simple1" qsCatId="simple" csTypeId="urn:microsoft.com/office/officeart/2005/8/colors/accent0_3" csCatId="mainScheme"/>
      <dgm:spPr/>
      <dgm:t>
        <a:bodyPr/>
        <a:lstStyle/>
        <a:p>
          <a:endParaRPr lang="en-US"/>
        </a:p>
      </dgm:t>
    </dgm:pt>
    <dgm:pt modelId="{510F8BE5-8E75-4ACA-A736-8EE125999E9F}">
      <dgm:prSet custT="1"/>
      <dgm:spPr/>
      <dgm:t>
        <a:bodyPr/>
        <a:lstStyle/>
        <a:p>
          <a:r>
            <a:rPr lang="en-US" sz="2400" baseline="0" dirty="0"/>
            <a:t>Predicate function</a:t>
          </a:r>
          <a:endParaRPr lang="en-US" sz="2400" dirty="0"/>
        </a:p>
      </dgm:t>
    </dgm:pt>
    <dgm:pt modelId="{4A3A42ED-2F59-4666-8205-7FD87BBEEAD3}" type="parTrans" cxnId="{DDF55D41-494A-40F2-BF4A-EA67B5A7648E}">
      <dgm:prSet/>
      <dgm:spPr/>
      <dgm:t>
        <a:bodyPr/>
        <a:lstStyle/>
        <a:p>
          <a:endParaRPr lang="en-US"/>
        </a:p>
      </dgm:t>
    </dgm:pt>
    <dgm:pt modelId="{7C03D727-8619-4621-96B5-F8DEC52AB522}" type="sibTrans" cxnId="{DDF55D41-494A-40F2-BF4A-EA67B5A7648E}">
      <dgm:prSet/>
      <dgm:spPr/>
      <dgm:t>
        <a:bodyPr/>
        <a:lstStyle/>
        <a:p>
          <a:endParaRPr lang="en-US"/>
        </a:p>
      </dgm:t>
    </dgm:pt>
    <dgm:pt modelId="{E82773A9-C707-4A68-ACBA-A87B92EB1F27}">
      <dgm:prSet/>
      <dgm:spPr/>
      <dgm:t>
        <a:bodyPr/>
        <a:lstStyle/>
        <a:p>
          <a:r>
            <a:rPr lang="en-US" baseline="0"/>
            <a:t>User-defined inline table-valued function (</a:t>
          </a:r>
          <a:r>
            <a:rPr lang="en-US" baseline="0" err="1"/>
            <a:t>iTVF</a:t>
          </a:r>
          <a:r>
            <a:rPr lang="en-US" baseline="0"/>
            <a:t>) implementing security logic</a:t>
          </a:r>
          <a:endParaRPr lang="en-US"/>
        </a:p>
      </dgm:t>
    </dgm:pt>
    <dgm:pt modelId="{0D86B2C3-08E4-4CF2-879B-25A8168F00D9}" type="parTrans" cxnId="{2451C5DE-72EE-4A5A-9F7B-07EEFB12CE0E}">
      <dgm:prSet/>
      <dgm:spPr/>
      <dgm:t>
        <a:bodyPr/>
        <a:lstStyle/>
        <a:p>
          <a:endParaRPr lang="en-US"/>
        </a:p>
      </dgm:t>
    </dgm:pt>
    <dgm:pt modelId="{656771AE-E69C-471D-80AA-AE4E23C84F16}" type="sibTrans" cxnId="{2451C5DE-72EE-4A5A-9F7B-07EEFB12CE0E}">
      <dgm:prSet/>
      <dgm:spPr/>
      <dgm:t>
        <a:bodyPr/>
        <a:lstStyle/>
        <a:p>
          <a:endParaRPr lang="en-US"/>
        </a:p>
      </dgm:t>
    </dgm:pt>
    <dgm:pt modelId="{2B595E80-C30B-441A-9945-201580410BBD}">
      <dgm:prSet/>
      <dgm:spPr/>
      <dgm:t>
        <a:bodyPr/>
        <a:lstStyle/>
        <a:p>
          <a:r>
            <a:rPr lang="en-US" baseline="0"/>
            <a:t>Can be arbitrarily complicated, containing joins with other tables.</a:t>
          </a:r>
          <a:endParaRPr lang="en-US"/>
        </a:p>
      </dgm:t>
    </dgm:pt>
    <dgm:pt modelId="{900E023C-C5DA-48FD-A554-507A2F7DD9C1}" type="parTrans" cxnId="{00D0A6EE-E369-4D68-9BAD-4526A891AFE2}">
      <dgm:prSet/>
      <dgm:spPr/>
      <dgm:t>
        <a:bodyPr/>
        <a:lstStyle/>
        <a:p>
          <a:endParaRPr lang="en-US"/>
        </a:p>
      </dgm:t>
    </dgm:pt>
    <dgm:pt modelId="{BA5757AF-B613-4339-AE23-9CC54DD13775}" type="sibTrans" cxnId="{00D0A6EE-E369-4D68-9BAD-4526A891AFE2}">
      <dgm:prSet/>
      <dgm:spPr/>
      <dgm:t>
        <a:bodyPr/>
        <a:lstStyle/>
        <a:p>
          <a:endParaRPr lang="en-US"/>
        </a:p>
      </dgm:t>
    </dgm:pt>
    <dgm:pt modelId="{B4EBF9F7-0B23-4998-ACAC-1E2B43CC48D0}">
      <dgm:prSet custT="1"/>
      <dgm:spPr/>
      <dgm:t>
        <a:bodyPr/>
        <a:lstStyle/>
        <a:p>
          <a:r>
            <a:rPr lang="en-US" sz="2400" baseline="0"/>
            <a:t>Security predicate</a:t>
          </a:r>
          <a:endParaRPr lang="en-US" sz="2400"/>
        </a:p>
      </dgm:t>
    </dgm:pt>
    <dgm:pt modelId="{3B304DC2-50B1-4773-B8F2-624A1938084A}" type="parTrans" cxnId="{017B85F5-F885-4EE7-9F6B-D7B46A550D53}">
      <dgm:prSet/>
      <dgm:spPr/>
      <dgm:t>
        <a:bodyPr/>
        <a:lstStyle/>
        <a:p>
          <a:endParaRPr lang="en-US"/>
        </a:p>
      </dgm:t>
    </dgm:pt>
    <dgm:pt modelId="{93E2B9A2-9B71-414B-A511-FC4D68EA1DDD}" type="sibTrans" cxnId="{017B85F5-F885-4EE7-9F6B-D7B46A550D53}">
      <dgm:prSet/>
      <dgm:spPr/>
      <dgm:t>
        <a:bodyPr/>
        <a:lstStyle/>
        <a:p>
          <a:endParaRPr lang="en-US"/>
        </a:p>
      </dgm:t>
    </dgm:pt>
    <dgm:pt modelId="{4E8806D4-1DED-4FF1-AF7F-B7E3318FB499}">
      <dgm:prSet/>
      <dgm:spPr/>
      <dgm:t>
        <a:bodyPr/>
        <a:lstStyle/>
        <a:p>
          <a:r>
            <a:rPr lang="en-US" baseline="0"/>
            <a:t>Binds a predicate function to a particular table, applying it for all queries.</a:t>
          </a:r>
          <a:endParaRPr lang="en-US"/>
        </a:p>
      </dgm:t>
    </dgm:pt>
    <dgm:pt modelId="{0E640D19-DFDA-4FAE-AE25-C1B10F571595}" type="parTrans" cxnId="{09BFFF37-750D-49BD-B092-877C2CB812ED}">
      <dgm:prSet/>
      <dgm:spPr/>
      <dgm:t>
        <a:bodyPr/>
        <a:lstStyle/>
        <a:p>
          <a:endParaRPr lang="en-US"/>
        </a:p>
      </dgm:t>
    </dgm:pt>
    <dgm:pt modelId="{3FC2A8B0-1EFE-4B84-A30E-9976C3C98EED}" type="sibTrans" cxnId="{09BFFF37-750D-49BD-B092-877C2CB812ED}">
      <dgm:prSet/>
      <dgm:spPr/>
      <dgm:t>
        <a:bodyPr/>
        <a:lstStyle/>
        <a:p>
          <a:endParaRPr lang="en-US"/>
        </a:p>
      </dgm:t>
    </dgm:pt>
    <dgm:pt modelId="{51721682-83AB-4CD8-8A41-95820A23D120}">
      <dgm:prSet/>
      <dgm:spPr/>
      <dgm:t>
        <a:bodyPr/>
        <a:lstStyle/>
        <a:p>
          <a:r>
            <a:rPr lang="en-US" baseline="0"/>
            <a:t>Two types: filter predicates and blocking predicates.</a:t>
          </a:r>
          <a:endParaRPr lang="en-US"/>
        </a:p>
      </dgm:t>
    </dgm:pt>
    <dgm:pt modelId="{72A5BC94-6BDF-45B3-8E9C-A21139C7642B}" type="parTrans" cxnId="{7B829C66-3438-4AF2-BB8E-83CCA63AD19A}">
      <dgm:prSet/>
      <dgm:spPr/>
      <dgm:t>
        <a:bodyPr/>
        <a:lstStyle/>
        <a:p>
          <a:endParaRPr lang="en-US"/>
        </a:p>
      </dgm:t>
    </dgm:pt>
    <dgm:pt modelId="{4E75C3E7-27EF-4992-9E16-4EE68C977A00}" type="sibTrans" cxnId="{7B829C66-3438-4AF2-BB8E-83CCA63AD19A}">
      <dgm:prSet/>
      <dgm:spPr/>
      <dgm:t>
        <a:bodyPr/>
        <a:lstStyle/>
        <a:p>
          <a:endParaRPr lang="en-US"/>
        </a:p>
      </dgm:t>
    </dgm:pt>
    <dgm:pt modelId="{F26F372F-FEAE-4497-B96D-47BCF2F9EC2C}">
      <dgm:prSet custT="1"/>
      <dgm:spPr/>
      <dgm:t>
        <a:bodyPr/>
        <a:lstStyle/>
        <a:p>
          <a:r>
            <a:rPr lang="en-US" sz="2400" baseline="0"/>
            <a:t>Security policy</a:t>
          </a:r>
          <a:endParaRPr lang="en-US" sz="2400"/>
        </a:p>
      </dgm:t>
    </dgm:pt>
    <dgm:pt modelId="{9142482C-28E1-4C14-AD70-C75F64417B99}" type="parTrans" cxnId="{2F3611A7-6574-4176-BF61-8ED3321093D9}">
      <dgm:prSet/>
      <dgm:spPr/>
      <dgm:t>
        <a:bodyPr/>
        <a:lstStyle/>
        <a:p>
          <a:endParaRPr lang="en-US"/>
        </a:p>
      </dgm:t>
    </dgm:pt>
    <dgm:pt modelId="{F55AAB8A-B0A1-4319-866F-E9B60AAD000F}" type="sibTrans" cxnId="{2F3611A7-6574-4176-BF61-8ED3321093D9}">
      <dgm:prSet/>
      <dgm:spPr/>
      <dgm:t>
        <a:bodyPr/>
        <a:lstStyle/>
        <a:p>
          <a:endParaRPr lang="en-US"/>
        </a:p>
      </dgm:t>
    </dgm:pt>
    <dgm:pt modelId="{F392BC5B-0067-4895-8D4C-B3E161348339}">
      <dgm:prSet/>
      <dgm:spPr/>
      <dgm:t>
        <a:bodyPr/>
        <a:lstStyle/>
        <a:p>
          <a:r>
            <a:rPr lang="en-US" baseline="0"/>
            <a:t>Collection of security predicates for managing security across multiple tables.</a:t>
          </a:r>
          <a:endParaRPr lang="en-US"/>
        </a:p>
      </dgm:t>
    </dgm:pt>
    <dgm:pt modelId="{83F8E701-9D45-4B49-BF1B-6A0CFACB5BC3}" type="parTrans" cxnId="{8591AA48-5D71-4282-9ED6-24343932E540}">
      <dgm:prSet/>
      <dgm:spPr/>
      <dgm:t>
        <a:bodyPr/>
        <a:lstStyle/>
        <a:p>
          <a:endParaRPr lang="en-US"/>
        </a:p>
      </dgm:t>
    </dgm:pt>
    <dgm:pt modelId="{9798B858-1475-4F8B-961B-E7A0C04D16DD}" type="sibTrans" cxnId="{8591AA48-5D71-4282-9ED6-24343932E540}">
      <dgm:prSet/>
      <dgm:spPr/>
      <dgm:t>
        <a:bodyPr/>
        <a:lstStyle/>
        <a:p>
          <a:endParaRPr lang="en-US"/>
        </a:p>
      </dgm:t>
    </dgm:pt>
    <dgm:pt modelId="{0378CFE5-8451-44C4-B1F7-0A70F7A24A74}" type="pres">
      <dgm:prSet presAssocID="{DDC8743F-81A0-43AA-92D3-73FE2BD22872}" presName="Name0" presStyleCnt="0">
        <dgm:presLayoutVars>
          <dgm:chPref val="3"/>
          <dgm:dir/>
          <dgm:animLvl val="lvl"/>
          <dgm:resizeHandles/>
        </dgm:presLayoutVars>
      </dgm:prSet>
      <dgm:spPr/>
    </dgm:pt>
    <dgm:pt modelId="{A3F35A34-99BF-4A27-9556-6BEF5C81CCAF}" type="pres">
      <dgm:prSet presAssocID="{510F8BE5-8E75-4ACA-A736-8EE125999E9F}" presName="horFlow" presStyleCnt="0"/>
      <dgm:spPr/>
    </dgm:pt>
    <dgm:pt modelId="{E434DA73-879A-47E7-B72E-0D86FF520103}" type="pres">
      <dgm:prSet presAssocID="{510F8BE5-8E75-4ACA-A736-8EE125999E9F}" presName="bigChev" presStyleLbl="node1" presStyleIdx="0" presStyleCnt="3"/>
      <dgm:spPr/>
    </dgm:pt>
    <dgm:pt modelId="{F68F5ADB-C4D3-497D-ACA9-734187B57E4B}" type="pres">
      <dgm:prSet presAssocID="{0D86B2C3-08E4-4CF2-879B-25A8168F00D9}" presName="parTrans" presStyleCnt="0"/>
      <dgm:spPr/>
    </dgm:pt>
    <dgm:pt modelId="{F1FE137E-F4F1-4538-9C79-7963955D4876}" type="pres">
      <dgm:prSet presAssocID="{E82773A9-C707-4A68-ACBA-A87B92EB1F27}" presName="node" presStyleLbl="alignAccFollowNode1" presStyleIdx="0" presStyleCnt="5">
        <dgm:presLayoutVars>
          <dgm:bulletEnabled val="1"/>
        </dgm:presLayoutVars>
      </dgm:prSet>
      <dgm:spPr/>
    </dgm:pt>
    <dgm:pt modelId="{CC0F2F6A-A86E-4A5B-BD19-662B56667DB6}" type="pres">
      <dgm:prSet presAssocID="{656771AE-E69C-471D-80AA-AE4E23C84F16}" presName="sibTrans" presStyleCnt="0"/>
      <dgm:spPr/>
    </dgm:pt>
    <dgm:pt modelId="{8A91BF67-7EA2-40DB-B185-71A4910FFBDD}" type="pres">
      <dgm:prSet presAssocID="{2B595E80-C30B-441A-9945-201580410BBD}" presName="node" presStyleLbl="alignAccFollowNode1" presStyleIdx="1" presStyleCnt="5">
        <dgm:presLayoutVars>
          <dgm:bulletEnabled val="1"/>
        </dgm:presLayoutVars>
      </dgm:prSet>
      <dgm:spPr/>
    </dgm:pt>
    <dgm:pt modelId="{0A6524CD-34D0-464A-98F9-943127AC7549}" type="pres">
      <dgm:prSet presAssocID="{510F8BE5-8E75-4ACA-A736-8EE125999E9F}" presName="vSp" presStyleCnt="0"/>
      <dgm:spPr/>
    </dgm:pt>
    <dgm:pt modelId="{2E990BE3-5FD4-44F7-A56D-454C003D3C47}" type="pres">
      <dgm:prSet presAssocID="{B4EBF9F7-0B23-4998-ACAC-1E2B43CC48D0}" presName="horFlow" presStyleCnt="0"/>
      <dgm:spPr/>
    </dgm:pt>
    <dgm:pt modelId="{A401CDA6-E326-4140-A798-7EAC3C3E06D7}" type="pres">
      <dgm:prSet presAssocID="{B4EBF9F7-0B23-4998-ACAC-1E2B43CC48D0}" presName="bigChev" presStyleLbl="node1" presStyleIdx="1" presStyleCnt="3"/>
      <dgm:spPr/>
    </dgm:pt>
    <dgm:pt modelId="{5CAE502B-B719-41A3-9BAD-AF0F257D3D53}" type="pres">
      <dgm:prSet presAssocID="{0E640D19-DFDA-4FAE-AE25-C1B10F571595}" presName="parTrans" presStyleCnt="0"/>
      <dgm:spPr/>
    </dgm:pt>
    <dgm:pt modelId="{515BA803-8CFF-4AA3-887B-366689AC66A0}" type="pres">
      <dgm:prSet presAssocID="{4E8806D4-1DED-4FF1-AF7F-B7E3318FB499}" presName="node" presStyleLbl="alignAccFollowNode1" presStyleIdx="2" presStyleCnt="5">
        <dgm:presLayoutVars>
          <dgm:bulletEnabled val="1"/>
        </dgm:presLayoutVars>
      </dgm:prSet>
      <dgm:spPr/>
    </dgm:pt>
    <dgm:pt modelId="{0259FB7C-EB81-4811-AFB9-B6B75C52B91D}" type="pres">
      <dgm:prSet presAssocID="{3FC2A8B0-1EFE-4B84-A30E-9976C3C98EED}" presName="sibTrans" presStyleCnt="0"/>
      <dgm:spPr/>
    </dgm:pt>
    <dgm:pt modelId="{ECDF9AE4-3513-4B15-AFD0-07F006BDE908}" type="pres">
      <dgm:prSet presAssocID="{51721682-83AB-4CD8-8A41-95820A23D120}" presName="node" presStyleLbl="alignAccFollowNode1" presStyleIdx="3" presStyleCnt="5">
        <dgm:presLayoutVars>
          <dgm:bulletEnabled val="1"/>
        </dgm:presLayoutVars>
      </dgm:prSet>
      <dgm:spPr/>
    </dgm:pt>
    <dgm:pt modelId="{F2AB7912-2D2D-42AA-88DC-E57BE3280BD8}" type="pres">
      <dgm:prSet presAssocID="{B4EBF9F7-0B23-4998-ACAC-1E2B43CC48D0}" presName="vSp" presStyleCnt="0"/>
      <dgm:spPr/>
    </dgm:pt>
    <dgm:pt modelId="{8E94C322-186C-4EC7-9EE8-6D934B83E197}" type="pres">
      <dgm:prSet presAssocID="{F26F372F-FEAE-4497-B96D-47BCF2F9EC2C}" presName="horFlow" presStyleCnt="0"/>
      <dgm:spPr/>
    </dgm:pt>
    <dgm:pt modelId="{725A2067-EC95-4D0C-BBFE-BEC8BF75C960}" type="pres">
      <dgm:prSet presAssocID="{F26F372F-FEAE-4497-B96D-47BCF2F9EC2C}" presName="bigChev" presStyleLbl="node1" presStyleIdx="2" presStyleCnt="3"/>
      <dgm:spPr/>
    </dgm:pt>
    <dgm:pt modelId="{48C5A7C2-DB38-4798-A363-75CD3A069A26}" type="pres">
      <dgm:prSet presAssocID="{83F8E701-9D45-4B49-BF1B-6A0CFACB5BC3}" presName="parTrans" presStyleCnt="0"/>
      <dgm:spPr/>
    </dgm:pt>
    <dgm:pt modelId="{FD040542-D408-436C-97BE-A7E3FF155FC2}" type="pres">
      <dgm:prSet presAssocID="{F392BC5B-0067-4895-8D4C-B3E161348339}" presName="node" presStyleLbl="alignAccFollowNode1" presStyleIdx="4" presStyleCnt="5">
        <dgm:presLayoutVars>
          <dgm:bulletEnabled val="1"/>
        </dgm:presLayoutVars>
      </dgm:prSet>
      <dgm:spPr/>
    </dgm:pt>
  </dgm:ptLst>
  <dgm:cxnLst>
    <dgm:cxn modelId="{95886A0D-9BE4-4A0F-81E1-016A32B65941}" type="presOf" srcId="{4E8806D4-1DED-4FF1-AF7F-B7E3318FB499}" destId="{515BA803-8CFF-4AA3-887B-366689AC66A0}" srcOrd="0" destOrd="0" presId="urn:microsoft.com/office/officeart/2005/8/layout/lProcess3"/>
    <dgm:cxn modelId="{FA0FA80F-E5D2-4E8D-82B6-05A8A29D383D}" type="presOf" srcId="{DDC8743F-81A0-43AA-92D3-73FE2BD22872}" destId="{0378CFE5-8451-44C4-B1F7-0A70F7A24A74}" srcOrd="0" destOrd="0" presId="urn:microsoft.com/office/officeart/2005/8/layout/lProcess3"/>
    <dgm:cxn modelId="{09BFFF37-750D-49BD-B092-877C2CB812ED}" srcId="{B4EBF9F7-0B23-4998-ACAC-1E2B43CC48D0}" destId="{4E8806D4-1DED-4FF1-AF7F-B7E3318FB499}" srcOrd="0" destOrd="0" parTransId="{0E640D19-DFDA-4FAE-AE25-C1B10F571595}" sibTransId="{3FC2A8B0-1EFE-4B84-A30E-9976C3C98EED}"/>
    <dgm:cxn modelId="{7282CE38-AB71-4A07-939D-421EDBCB61BD}" type="presOf" srcId="{B4EBF9F7-0B23-4998-ACAC-1E2B43CC48D0}" destId="{A401CDA6-E326-4140-A798-7EAC3C3E06D7}" srcOrd="0" destOrd="0" presId="urn:microsoft.com/office/officeart/2005/8/layout/lProcess3"/>
    <dgm:cxn modelId="{7DFC9F5C-966F-476E-8EE5-3DCADB16DEBB}" type="presOf" srcId="{51721682-83AB-4CD8-8A41-95820A23D120}" destId="{ECDF9AE4-3513-4B15-AFD0-07F006BDE908}" srcOrd="0" destOrd="0" presId="urn:microsoft.com/office/officeart/2005/8/layout/lProcess3"/>
    <dgm:cxn modelId="{DDF55D41-494A-40F2-BF4A-EA67B5A7648E}" srcId="{DDC8743F-81A0-43AA-92D3-73FE2BD22872}" destId="{510F8BE5-8E75-4ACA-A736-8EE125999E9F}" srcOrd="0" destOrd="0" parTransId="{4A3A42ED-2F59-4666-8205-7FD87BBEEAD3}" sibTransId="{7C03D727-8619-4621-96B5-F8DEC52AB522}"/>
    <dgm:cxn modelId="{7B829C66-3438-4AF2-BB8E-83CCA63AD19A}" srcId="{B4EBF9F7-0B23-4998-ACAC-1E2B43CC48D0}" destId="{51721682-83AB-4CD8-8A41-95820A23D120}" srcOrd="1" destOrd="0" parTransId="{72A5BC94-6BDF-45B3-8E9C-A21139C7642B}" sibTransId="{4E75C3E7-27EF-4992-9E16-4EE68C977A00}"/>
    <dgm:cxn modelId="{8591AA48-5D71-4282-9ED6-24343932E540}" srcId="{F26F372F-FEAE-4497-B96D-47BCF2F9EC2C}" destId="{F392BC5B-0067-4895-8D4C-B3E161348339}" srcOrd="0" destOrd="0" parTransId="{83F8E701-9D45-4B49-BF1B-6A0CFACB5BC3}" sibTransId="{9798B858-1475-4F8B-961B-E7A0C04D16DD}"/>
    <dgm:cxn modelId="{CE90674D-CE89-410D-8A38-7BCA734BD244}" type="presOf" srcId="{510F8BE5-8E75-4ACA-A736-8EE125999E9F}" destId="{E434DA73-879A-47E7-B72E-0D86FF520103}" srcOrd="0" destOrd="0" presId="urn:microsoft.com/office/officeart/2005/8/layout/lProcess3"/>
    <dgm:cxn modelId="{F5D2C672-42CB-4E9A-ACCF-DF88889E59C6}" type="presOf" srcId="{E82773A9-C707-4A68-ACBA-A87B92EB1F27}" destId="{F1FE137E-F4F1-4538-9C79-7963955D4876}" srcOrd="0" destOrd="0" presId="urn:microsoft.com/office/officeart/2005/8/layout/lProcess3"/>
    <dgm:cxn modelId="{A19C2689-128B-4305-81AA-B8FE838564C5}" type="presOf" srcId="{F392BC5B-0067-4895-8D4C-B3E161348339}" destId="{FD040542-D408-436C-97BE-A7E3FF155FC2}" srcOrd="0" destOrd="0" presId="urn:microsoft.com/office/officeart/2005/8/layout/lProcess3"/>
    <dgm:cxn modelId="{9E7A1A8F-6B61-4D95-BD2C-BF566D7EE120}" type="presOf" srcId="{F26F372F-FEAE-4497-B96D-47BCF2F9EC2C}" destId="{725A2067-EC95-4D0C-BBFE-BEC8BF75C960}" srcOrd="0" destOrd="0" presId="urn:microsoft.com/office/officeart/2005/8/layout/lProcess3"/>
    <dgm:cxn modelId="{2F3611A7-6574-4176-BF61-8ED3321093D9}" srcId="{DDC8743F-81A0-43AA-92D3-73FE2BD22872}" destId="{F26F372F-FEAE-4497-B96D-47BCF2F9EC2C}" srcOrd="2" destOrd="0" parTransId="{9142482C-28E1-4C14-AD70-C75F64417B99}" sibTransId="{F55AAB8A-B0A1-4319-866F-E9B60AAD000F}"/>
    <dgm:cxn modelId="{57C8B8BC-317E-49A8-B6A5-5016A46460D8}" type="presOf" srcId="{2B595E80-C30B-441A-9945-201580410BBD}" destId="{8A91BF67-7EA2-40DB-B185-71A4910FFBDD}" srcOrd="0" destOrd="0" presId="urn:microsoft.com/office/officeart/2005/8/layout/lProcess3"/>
    <dgm:cxn modelId="{2451C5DE-72EE-4A5A-9F7B-07EEFB12CE0E}" srcId="{510F8BE5-8E75-4ACA-A736-8EE125999E9F}" destId="{E82773A9-C707-4A68-ACBA-A87B92EB1F27}" srcOrd="0" destOrd="0" parTransId="{0D86B2C3-08E4-4CF2-879B-25A8168F00D9}" sibTransId="{656771AE-E69C-471D-80AA-AE4E23C84F16}"/>
    <dgm:cxn modelId="{00D0A6EE-E369-4D68-9BAD-4526A891AFE2}" srcId="{510F8BE5-8E75-4ACA-A736-8EE125999E9F}" destId="{2B595E80-C30B-441A-9945-201580410BBD}" srcOrd="1" destOrd="0" parTransId="{900E023C-C5DA-48FD-A554-507A2F7DD9C1}" sibTransId="{BA5757AF-B613-4339-AE23-9CC54DD13775}"/>
    <dgm:cxn modelId="{017B85F5-F885-4EE7-9F6B-D7B46A550D53}" srcId="{DDC8743F-81A0-43AA-92D3-73FE2BD22872}" destId="{B4EBF9F7-0B23-4998-ACAC-1E2B43CC48D0}" srcOrd="1" destOrd="0" parTransId="{3B304DC2-50B1-4773-B8F2-624A1938084A}" sibTransId="{93E2B9A2-9B71-414B-A511-FC4D68EA1DDD}"/>
    <dgm:cxn modelId="{5C59E4EF-4A14-49C7-ACB6-DE3774C9588B}" type="presParOf" srcId="{0378CFE5-8451-44C4-B1F7-0A70F7A24A74}" destId="{A3F35A34-99BF-4A27-9556-6BEF5C81CCAF}" srcOrd="0" destOrd="0" presId="urn:microsoft.com/office/officeart/2005/8/layout/lProcess3"/>
    <dgm:cxn modelId="{A5EFDF68-CBA1-4FD9-9F43-71FB48B571D7}" type="presParOf" srcId="{A3F35A34-99BF-4A27-9556-6BEF5C81CCAF}" destId="{E434DA73-879A-47E7-B72E-0D86FF520103}" srcOrd="0" destOrd="0" presId="urn:microsoft.com/office/officeart/2005/8/layout/lProcess3"/>
    <dgm:cxn modelId="{2A7B688C-0D8D-438D-85A3-3A5A4BDEB099}" type="presParOf" srcId="{A3F35A34-99BF-4A27-9556-6BEF5C81CCAF}" destId="{F68F5ADB-C4D3-497D-ACA9-734187B57E4B}" srcOrd="1" destOrd="0" presId="urn:microsoft.com/office/officeart/2005/8/layout/lProcess3"/>
    <dgm:cxn modelId="{8BFEBB6F-AAA3-4A7B-9015-C7C9FC26C785}" type="presParOf" srcId="{A3F35A34-99BF-4A27-9556-6BEF5C81CCAF}" destId="{F1FE137E-F4F1-4538-9C79-7963955D4876}" srcOrd="2" destOrd="0" presId="urn:microsoft.com/office/officeart/2005/8/layout/lProcess3"/>
    <dgm:cxn modelId="{FB31458A-FFE5-42B9-B848-40AD5E61F55F}" type="presParOf" srcId="{A3F35A34-99BF-4A27-9556-6BEF5C81CCAF}" destId="{CC0F2F6A-A86E-4A5B-BD19-662B56667DB6}" srcOrd="3" destOrd="0" presId="urn:microsoft.com/office/officeart/2005/8/layout/lProcess3"/>
    <dgm:cxn modelId="{E9C51D4D-781A-48B8-B269-DB724B49EBB6}" type="presParOf" srcId="{A3F35A34-99BF-4A27-9556-6BEF5C81CCAF}" destId="{8A91BF67-7EA2-40DB-B185-71A4910FFBDD}" srcOrd="4" destOrd="0" presId="urn:microsoft.com/office/officeart/2005/8/layout/lProcess3"/>
    <dgm:cxn modelId="{FFD554D5-22AA-40AA-B3E7-42BEA4907269}" type="presParOf" srcId="{0378CFE5-8451-44C4-B1F7-0A70F7A24A74}" destId="{0A6524CD-34D0-464A-98F9-943127AC7549}" srcOrd="1" destOrd="0" presId="urn:microsoft.com/office/officeart/2005/8/layout/lProcess3"/>
    <dgm:cxn modelId="{6D8BF34D-6FDA-4A60-83EF-460594B7DCDC}" type="presParOf" srcId="{0378CFE5-8451-44C4-B1F7-0A70F7A24A74}" destId="{2E990BE3-5FD4-44F7-A56D-454C003D3C47}" srcOrd="2" destOrd="0" presId="urn:microsoft.com/office/officeart/2005/8/layout/lProcess3"/>
    <dgm:cxn modelId="{573A6D45-7E6C-4E29-867B-6994195D27F5}" type="presParOf" srcId="{2E990BE3-5FD4-44F7-A56D-454C003D3C47}" destId="{A401CDA6-E326-4140-A798-7EAC3C3E06D7}" srcOrd="0" destOrd="0" presId="urn:microsoft.com/office/officeart/2005/8/layout/lProcess3"/>
    <dgm:cxn modelId="{4D0B4FDF-83CA-44D8-AB4E-57908E1BC0A9}" type="presParOf" srcId="{2E990BE3-5FD4-44F7-A56D-454C003D3C47}" destId="{5CAE502B-B719-41A3-9BAD-AF0F257D3D53}" srcOrd="1" destOrd="0" presId="urn:microsoft.com/office/officeart/2005/8/layout/lProcess3"/>
    <dgm:cxn modelId="{187B9431-58D8-4D9C-8654-8E2C6F9C6C8B}" type="presParOf" srcId="{2E990BE3-5FD4-44F7-A56D-454C003D3C47}" destId="{515BA803-8CFF-4AA3-887B-366689AC66A0}" srcOrd="2" destOrd="0" presId="urn:microsoft.com/office/officeart/2005/8/layout/lProcess3"/>
    <dgm:cxn modelId="{C60E3CDF-51F6-4312-980A-A13F7D43878A}" type="presParOf" srcId="{2E990BE3-5FD4-44F7-A56D-454C003D3C47}" destId="{0259FB7C-EB81-4811-AFB9-B6B75C52B91D}" srcOrd="3" destOrd="0" presId="urn:microsoft.com/office/officeart/2005/8/layout/lProcess3"/>
    <dgm:cxn modelId="{2C0713E6-BDAC-451A-BC58-0B137B1661C7}" type="presParOf" srcId="{2E990BE3-5FD4-44F7-A56D-454C003D3C47}" destId="{ECDF9AE4-3513-4B15-AFD0-07F006BDE908}" srcOrd="4" destOrd="0" presId="urn:microsoft.com/office/officeart/2005/8/layout/lProcess3"/>
    <dgm:cxn modelId="{DF469A88-B1F1-40FC-A495-6B913EED8FDC}" type="presParOf" srcId="{0378CFE5-8451-44C4-B1F7-0A70F7A24A74}" destId="{F2AB7912-2D2D-42AA-88DC-E57BE3280BD8}" srcOrd="3" destOrd="0" presId="urn:microsoft.com/office/officeart/2005/8/layout/lProcess3"/>
    <dgm:cxn modelId="{EF3D2FF7-8BA8-4609-93D3-8A2EE16C1CE0}" type="presParOf" srcId="{0378CFE5-8451-44C4-B1F7-0A70F7A24A74}" destId="{8E94C322-186C-4EC7-9EE8-6D934B83E197}" srcOrd="4" destOrd="0" presId="urn:microsoft.com/office/officeart/2005/8/layout/lProcess3"/>
    <dgm:cxn modelId="{5F3D3310-BF28-449A-A26A-701A840A55C4}" type="presParOf" srcId="{8E94C322-186C-4EC7-9EE8-6D934B83E197}" destId="{725A2067-EC95-4D0C-BBFE-BEC8BF75C960}" srcOrd="0" destOrd="0" presId="urn:microsoft.com/office/officeart/2005/8/layout/lProcess3"/>
    <dgm:cxn modelId="{782090D9-6041-4B61-85CD-6AB94E2D3B3D}" type="presParOf" srcId="{8E94C322-186C-4EC7-9EE8-6D934B83E197}" destId="{48C5A7C2-DB38-4798-A363-75CD3A069A26}" srcOrd="1" destOrd="0" presId="urn:microsoft.com/office/officeart/2005/8/layout/lProcess3"/>
    <dgm:cxn modelId="{421E8BFC-E4E3-4F4E-BAA0-4805D72D3526}" type="presParOf" srcId="{8E94C322-186C-4EC7-9EE8-6D934B83E197}" destId="{FD040542-D408-436C-97BE-A7E3FF155FC2}" srcOrd="2"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What is the purpose of the predicate function?</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a:solidFill>
                <a:srgbClr val="FFFFFF"/>
              </a:solidFill>
            </a:rPr>
            <a:t>Why do we need row level security (RLS)?</a:t>
          </a:r>
          <a:endParaRPr lang="en-US"/>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2">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6C6A0CFD-BA89-4708-9278-C358C7398036}"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19A3FC87-E15E-4253-84DD-07C31F189418}">
      <dgm:prSet phldrT="[Text]"/>
      <dgm:spPr>
        <a:xfrm>
          <a:off x="515134" y="342220"/>
          <a:ext cx="5972442" cy="684879"/>
        </a:xfrm>
        <a:prstGeom prst="rect">
          <a:avLst/>
        </a:prstGeom>
      </dgm:spPr>
      <dgm:t>
        <a:bodyPr/>
        <a:lstStyle/>
        <a:p>
          <a:pPr>
            <a:buClr>
              <a:srgbClr val="0078D7"/>
            </a:buClr>
            <a:buSzPct val="90000"/>
            <a:buFont typeface="Wingdings" pitchFamily="2" charset="2"/>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Prevent abuse of sensitive data by hiding it from users.</a:t>
          </a:r>
          <a:endParaRPr lang="en-US">
            <a:latin typeface="Segoe UI"/>
            <a:ea typeface="+mn-ea"/>
            <a:cs typeface="+mn-cs"/>
          </a:endParaRPr>
        </a:p>
      </dgm:t>
    </dgm:pt>
    <dgm:pt modelId="{2C0F7F03-6CA4-48F6-956A-0EEAEDD76309}" type="parTrans" cxnId="{15668C54-57E3-4AF4-A0D8-690039400DBB}">
      <dgm:prSet/>
      <dgm:spPr/>
      <dgm:t>
        <a:bodyPr/>
        <a:lstStyle/>
        <a:p>
          <a:endParaRPr lang="en-US"/>
        </a:p>
      </dgm:t>
    </dgm:pt>
    <dgm:pt modelId="{D829BBC5-B978-406B-8F80-02DB8DD2DD1E}" type="sibTrans" cxnId="{15668C54-57E3-4AF4-A0D8-690039400DBB}">
      <dgm:prSet/>
      <dgm:spPr>
        <a:xfrm>
          <a:off x="-6193300" y="-947493"/>
          <a:ext cx="7372271" cy="7372271"/>
        </a:xfrm>
        <a:prstGeom prst="blockArc">
          <a:avLst>
            <a:gd name="adj1" fmla="val 18900000"/>
            <a:gd name="adj2" fmla="val 2700000"/>
            <a:gd name="adj3" fmla="val 293"/>
          </a:avLst>
        </a:prstGeom>
      </dgm:spPr>
      <dgm:t>
        <a:bodyPr/>
        <a:lstStyle/>
        <a:p>
          <a:endParaRPr lang="en-US"/>
        </a:p>
      </dgm:t>
    </dgm:pt>
    <dgm:pt modelId="{6789C202-1057-4242-8A74-0BA8D6C45C89}">
      <dgm:prSet/>
      <dgm:spPr>
        <a:xfrm>
          <a:off x="1005899" y="1369211"/>
          <a:ext cx="5481678" cy="684879"/>
        </a:xfrm>
        <a:prstGeom prst="rect">
          <a:avLst/>
        </a:prstGeo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Easy configuration in new Azure Portal.</a:t>
          </a:r>
        </a:p>
      </dgm:t>
    </dgm:pt>
    <dgm:pt modelId="{EC5FE21C-4CC5-4CFD-8A2B-2D803B36BF6E}" type="parTrans" cxnId="{620C9218-2483-449F-A4C9-CC4FE1BBDD66}">
      <dgm:prSet/>
      <dgm:spPr/>
      <dgm:t>
        <a:bodyPr/>
        <a:lstStyle/>
        <a:p>
          <a:endParaRPr lang="en-US"/>
        </a:p>
      </dgm:t>
    </dgm:pt>
    <dgm:pt modelId="{0C961BAA-370D-494B-8E7F-E89D37C8D4B0}" type="sibTrans" cxnId="{620C9218-2483-449F-A4C9-CC4FE1BBDD66}">
      <dgm:prSet/>
      <dgm:spPr/>
      <dgm:t>
        <a:bodyPr/>
        <a:lstStyle/>
        <a:p>
          <a:endParaRPr lang="en-US"/>
        </a:p>
      </dgm:t>
    </dgm:pt>
    <dgm:pt modelId="{F6E33BCA-1A01-492F-97C4-15848758B9CD}">
      <dgm:prSet/>
      <dgm:spPr>
        <a:xfrm>
          <a:off x="1156524" y="2396202"/>
          <a:ext cx="5331052" cy="684879"/>
        </a:xfrm>
        <a:prstGeom prst="rect">
          <a:avLst/>
        </a:prstGeo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Policy-driven at table and column level, for a defined set of users.</a:t>
          </a:r>
        </a:p>
      </dgm:t>
    </dgm:pt>
    <dgm:pt modelId="{687EF6A4-E776-4659-BE3E-83C7B4D25BD6}" type="parTrans" cxnId="{478F70D0-60CB-41DD-B2A3-8C911E9E5B0D}">
      <dgm:prSet/>
      <dgm:spPr/>
      <dgm:t>
        <a:bodyPr/>
        <a:lstStyle/>
        <a:p>
          <a:endParaRPr lang="en-US"/>
        </a:p>
      </dgm:t>
    </dgm:pt>
    <dgm:pt modelId="{D659FF2E-16E7-4907-AA4E-814D7B083492}" type="sibTrans" cxnId="{478F70D0-60CB-41DD-B2A3-8C911E9E5B0D}">
      <dgm:prSet/>
      <dgm:spPr/>
      <dgm:t>
        <a:bodyPr/>
        <a:lstStyle/>
        <a:p>
          <a:endParaRPr lang="en-US"/>
        </a:p>
      </dgm:t>
    </dgm:pt>
    <dgm:pt modelId="{7C4CBDEA-4BAB-436D-839B-C111BB012E1D}">
      <dgm:prSet/>
      <dgm:spPr>
        <a:xfrm>
          <a:off x="1005899" y="3423193"/>
          <a:ext cx="5481678" cy="684879"/>
        </a:xfrm>
        <a:prstGeom prst="rect">
          <a:avLst/>
        </a:prstGeo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Data masking applied in real-time to query results based on policy.</a:t>
          </a:r>
        </a:p>
      </dgm:t>
    </dgm:pt>
    <dgm:pt modelId="{3C3ED2C0-BFDB-4B48-AB48-97873F366BD6}" type="parTrans" cxnId="{2058C726-3D2B-4697-884A-2D9A7E4FC31A}">
      <dgm:prSet/>
      <dgm:spPr/>
      <dgm:t>
        <a:bodyPr/>
        <a:lstStyle/>
        <a:p>
          <a:endParaRPr lang="en-US"/>
        </a:p>
      </dgm:t>
    </dgm:pt>
    <dgm:pt modelId="{6CAD9DD3-52FF-4598-903B-2CFBEBDB77B5}" type="sibTrans" cxnId="{2058C726-3D2B-4697-884A-2D9A7E4FC31A}">
      <dgm:prSet/>
      <dgm:spPr/>
      <dgm:t>
        <a:bodyPr/>
        <a:lstStyle/>
        <a:p>
          <a:endParaRPr lang="en-US"/>
        </a:p>
      </dgm:t>
    </dgm:pt>
    <dgm:pt modelId="{6D30B936-7D7F-4165-B658-DB26DE603ED6}">
      <dgm:prSet/>
      <dgm:spPr>
        <a:xfrm>
          <a:off x="515134" y="4450184"/>
          <a:ext cx="5972442" cy="684879"/>
        </a:xfrm>
        <a:prstGeom prst="rect">
          <a:avLst/>
        </a:prstGeo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Multiple masking functions available, such as full or partial, for various sensitive data categories (credit card numbers, SSN, etc.).</a:t>
          </a:r>
        </a:p>
      </dgm:t>
    </dgm:pt>
    <dgm:pt modelId="{E7715A6C-2F75-49E8-92CA-45B2CE5ADF41}" type="parTrans" cxnId="{AE8C87AB-B834-42AD-81B6-6EEFB8B3B4AC}">
      <dgm:prSet/>
      <dgm:spPr/>
      <dgm:t>
        <a:bodyPr/>
        <a:lstStyle/>
        <a:p>
          <a:endParaRPr lang="en-US"/>
        </a:p>
      </dgm:t>
    </dgm:pt>
    <dgm:pt modelId="{1C48AB70-10AE-4887-87AD-B11FD4A8A538}" type="sibTrans" cxnId="{AE8C87AB-B834-42AD-81B6-6EEFB8B3B4AC}">
      <dgm:prSet/>
      <dgm:spPr/>
      <dgm:t>
        <a:bodyPr/>
        <a:lstStyle/>
        <a:p>
          <a:endParaRPr lang="en-US"/>
        </a:p>
      </dgm:t>
    </dgm:pt>
    <dgm:pt modelId="{13705D2F-B597-4D10-A09C-2CBD495620D7}" type="pres">
      <dgm:prSet presAssocID="{6C6A0CFD-BA89-4708-9278-C358C7398036}" presName="Name0" presStyleCnt="0">
        <dgm:presLayoutVars>
          <dgm:chMax val="7"/>
          <dgm:chPref val="7"/>
          <dgm:dir/>
        </dgm:presLayoutVars>
      </dgm:prSet>
      <dgm:spPr/>
    </dgm:pt>
    <dgm:pt modelId="{61066EB2-B02E-4496-9E6E-343CECAC4CEC}" type="pres">
      <dgm:prSet presAssocID="{6C6A0CFD-BA89-4708-9278-C358C7398036}" presName="Name1" presStyleCnt="0"/>
      <dgm:spPr/>
    </dgm:pt>
    <dgm:pt modelId="{25100AD3-397D-4EDA-8742-7D8074074936}" type="pres">
      <dgm:prSet presAssocID="{6C6A0CFD-BA89-4708-9278-C358C7398036}" presName="cycle" presStyleCnt="0"/>
      <dgm:spPr/>
    </dgm:pt>
    <dgm:pt modelId="{FD7F7809-2ACC-45AD-8C8C-2C8AB07F6FC9}" type="pres">
      <dgm:prSet presAssocID="{6C6A0CFD-BA89-4708-9278-C358C7398036}" presName="srcNode" presStyleLbl="node1" presStyleIdx="0" presStyleCnt="5"/>
      <dgm:spPr/>
    </dgm:pt>
    <dgm:pt modelId="{CF4A1DF6-E2B7-4FE4-BCB6-D864A6725124}" type="pres">
      <dgm:prSet presAssocID="{6C6A0CFD-BA89-4708-9278-C358C7398036}" presName="conn" presStyleLbl="parChTrans1D2" presStyleIdx="0" presStyleCnt="1"/>
      <dgm:spPr/>
    </dgm:pt>
    <dgm:pt modelId="{33B58039-1427-4F34-9F92-19FFFAF5C2DE}" type="pres">
      <dgm:prSet presAssocID="{6C6A0CFD-BA89-4708-9278-C358C7398036}" presName="extraNode" presStyleLbl="node1" presStyleIdx="0" presStyleCnt="5"/>
      <dgm:spPr/>
    </dgm:pt>
    <dgm:pt modelId="{1861EEB5-D659-41E6-9BA7-ECA25E9715ED}" type="pres">
      <dgm:prSet presAssocID="{6C6A0CFD-BA89-4708-9278-C358C7398036}" presName="dstNode" presStyleLbl="node1" presStyleIdx="0" presStyleCnt="5"/>
      <dgm:spPr/>
    </dgm:pt>
    <dgm:pt modelId="{D714046D-10B8-4AB5-B8A9-C1A5D49C1869}" type="pres">
      <dgm:prSet presAssocID="{19A3FC87-E15E-4253-84DD-07C31F189418}" presName="text_1" presStyleLbl="node1" presStyleIdx="0" presStyleCnt="5">
        <dgm:presLayoutVars>
          <dgm:bulletEnabled val="1"/>
        </dgm:presLayoutVars>
      </dgm:prSet>
      <dgm:spPr/>
    </dgm:pt>
    <dgm:pt modelId="{1E74B724-B7DA-43C6-A97A-B3C3E6071C1F}" type="pres">
      <dgm:prSet presAssocID="{19A3FC87-E15E-4253-84DD-07C31F189418}" presName="accent_1" presStyleCnt="0"/>
      <dgm:spPr/>
    </dgm:pt>
    <dgm:pt modelId="{1DC287DD-DF47-4D98-A0CA-750EB6785B40}" type="pres">
      <dgm:prSet presAssocID="{19A3FC87-E15E-4253-84DD-07C31F189418}" presName="accentRepeatNode" presStyleLbl="solidFgAcc1" presStyleIdx="0" presStyleCnt="5"/>
      <dgm:spPr>
        <a:xfrm>
          <a:off x="87084" y="256610"/>
          <a:ext cx="856099" cy="856099"/>
        </a:xfrm>
        <a:prstGeom prst="ellipse">
          <a:avLst/>
        </a:prstGeom>
      </dgm:spPr>
    </dgm:pt>
    <dgm:pt modelId="{6D56F947-43EE-403E-8C4B-BFAA188644D1}" type="pres">
      <dgm:prSet presAssocID="{6789C202-1057-4242-8A74-0BA8D6C45C89}" presName="text_2" presStyleLbl="node1" presStyleIdx="1" presStyleCnt="5">
        <dgm:presLayoutVars>
          <dgm:bulletEnabled val="1"/>
        </dgm:presLayoutVars>
      </dgm:prSet>
      <dgm:spPr/>
    </dgm:pt>
    <dgm:pt modelId="{0FDD571B-003F-4236-9716-FFA54F4798D2}" type="pres">
      <dgm:prSet presAssocID="{6789C202-1057-4242-8A74-0BA8D6C45C89}" presName="accent_2" presStyleCnt="0"/>
      <dgm:spPr/>
    </dgm:pt>
    <dgm:pt modelId="{626D7748-7541-4DDD-BA65-3DA536D2B71E}" type="pres">
      <dgm:prSet presAssocID="{6789C202-1057-4242-8A74-0BA8D6C45C89}" presName="accentRepeatNode" presStyleLbl="solidFgAcc1" presStyleIdx="1" presStyleCnt="5"/>
      <dgm:spPr>
        <a:xfrm>
          <a:off x="577849" y="1283601"/>
          <a:ext cx="856099" cy="856099"/>
        </a:xfrm>
        <a:prstGeom prst="ellipse">
          <a:avLst/>
        </a:prstGeom>
      </dgm:spPr>
    </dgm:pt>
    <dgm:pt modelId="{4319A94D-E201-47AC-AB12-32EC26C0187A}" type="pres">
      <dgm:prSet presAssocID="{F6E33BCA-1A01-492F-97C4-15848758B9CD}" presName="text_3" presStyleLbl="node1" presStyleIdx="2" presStyleCnt="5">
        <dgm:presLayoutVars>
          <dgm:bulletEnabled val="1"/>
        </dgm:presLayoutVars>
      </dgm:prSet>
      <dgm:spPr/>
    </dgm:pt>
    <dgm:pt modelId="{4ADD5FB2-0622-49CB-8BC6-94DABEAA6D31}" type="pres">
      <dgm:prSet presAssocID="{F6E33BCA-1A01-492F-97C4-15848758B9CD}" presName="accent_3" presStyleCnt="0"/>
      <dgm:spPr/>
    </dgm:pt>
    <dgm:pt modelId="{972248A9-818B-4BD5-9F0E-BA667CCB231D}" type="pres">
      <dgm:prSet presAssocID="{F6E33BCA-1A01-492F-97C4-15848758B9CD}" presName="accentRepeatNode" presStyleLbl="solidFgAcc1" presStyleIdx="2" presStyleCnt="5"/>
      <dgm:spPr>
        <a:xfrm>
          <a:off x="728474" y="2310592"/>
          <a:ext cx="856099" cy="856099"/>
        </a:xfrm>
        <a:prstGeom prst="ellipse">
          <a:avLst/>
        </a:prstGeom>
      </dgm:spPr>
    </dgm:pt>
    <dgm:pt modelId="{0ADDAE33-6705-494C-A593-3EAAD2438B70}" type="pres">
      <dgm:prSet presAssocID="{7C4CBDEA-4BAB-436D-839B-C111BB012E1D}" presName="text_4" presStyleLbl="node1" presStyleIdx="3" presStyleCnt="5">
        <dgm:presLayoutVars>
          <dgm:bulletEnabled val="1"/>
        </dgm:presLayoutVars>
      </dgm:prSet>
      <dgm:spPr/>
    </dgm:pt>
    <dgm:pt modelId="{F527DC3F-72B1-4B7D-ACD3-30E8DB907E7D}" type="pres">
      <dgm:prSet presAssocID="{7C4CBDEA-4BAB-436D-839B-C111BB012E1D}" presName="accent_4" presStyleCnt="0"/>
      <dgm:spPr/>
    </dgm:pt>
    <dgm:pt modelId="{2B507C96-C917-4C3D-A7ED-A908FFFD18BC}" type="pres">
      <dgm:prSet presAssocID="{7C4CBDEA-4BAB-436D-839B-C111BB012E1D}" presName="accentRepeatNode" presStyleLbl="solidFgAcc1" presStyleIdx="3" presStyleCnt="5"/>
      <dgm:spPr>
        <a:xfrm>
          <a:off x="577849" y="3337583"/>
          <a:ext cx="856099" cy="856099"/>
        </a:xfrm>
        <a:prstGeom prst="ellipse">
          <a:avLst/>
        </a:prstGeom>
      </dgm:spPr>
    </dgm:pt>
    <dgm:pt modelId="{F6E71032-AA2B-4FDD-AFB5-E24ECD7A6CF0}" type="pres">
      <dgm:prSet presAssocID="{6D30B936-7D7F-4165-B658-DB26DE603ED6}" presName="text_5" presStyleLbl="node1" presStyleIdx="4" presStyleCnt="5">
        <dgm:presLayoutVars>
          <dgm:bulletEnabled val="1"/>
        </dgm:presLayoutVars>
      </dgm:prSet>
      <dgm:spPr/>
    </dgm:pt>
    <dgm:pt modelId="{10D58799-BE4F-463D-ADD2-0E59861855F7}" type="pres">
      <dgm:prSet presAssocID="{6D30B936-7D7F-4165-B658-DB26DE603ED6}" presName="accent_5" presStyleCnt="0"/>
      <dgm:spPr/>
    </dgm:pt>
    <dgm:pt modelId="{22FBF4C8-3727-48B1-AEDA-923CA83DA545}" type="pres">
      <dgm:prSet presAssocID="{6D30B936-7D7F-4165-B658-DB26DE603ED6}" presName="accentRepeatNode" presStyleLbl="solidFgAcc1" presStyleIdx="4" presStyleCnt="5"/>
      <dgm:spPr>
        <a:xfrm>
          <a:off x="87084" y="4364574"/>
          <a:ext cx="856099" cy="856099"/>
        </a:xfrm>
        <a:prstGeom prst="ellipse">
          <a:avLst/>
        </a:prstGeom>
      </dgm:spPr>
    </dgm:pt>
  </dgm:ptLst>
  <dgm:cxnLst>
    <dgm:cxn modelId="{620C9218-2483-449F-A4C9-CC4FE1BBDD66}" srcId="{6C6A0CFD-BA89-4708-9278-C358C7398036}" destId="{6789C202-1057-4242-8A74-0BA8D6C45C89}" srcOrd="1" destOrd="0" parTransId="{EC5FE21C-4CC5-4CFD-8A2B-2D803B36BF6E}" sibTransId="{0C961BAA-370D-494B-8E7F-E89D37C8D4B0}"/>
    <dgm:cxn modelId="{E5D8A719-D22E-4C41-8C5F-472ACA9FF478}" type="presOf" srcId="{6D30B936-7D7F-4165-B658-DB26DE603ED6}" destId="{F6E71032-AA2B-4FDD-AFB5-E24ECD7A6CF0}" srcOrd="0" destOrd="0" presId="urn:microsoft.com/office/officeart/2008/layout/VerticalCurvedList"/>
    <dgm:cxn modelId="{2058C726-3D2B-4697-884A-2D9A7E4FC31A}" srcId="{6C6A0CFD-BA89-4708-9278-C358C7398036}" destId="{7C4CBDEA-4BAB-436D-839B-C111BB012E1D}" srcOrd="3" destOrd="0" parTransId="{3C3ED2C0-BFDB-4B48-AB48-97873F366BD6}" sibTransId="{6CAD9DD3-52FF-4598-903B-2CFBEBDB77B5}"/>
    <dgm:cxn modelId="{6AA4C327-277C-4F0B-9C7E-1A4FC7CC5D5F}" type="presOf" srcId="{7C4CBDEA-4BAB-436D-839B-C111BB012E1D}" destId="{0ADDAE33-6705-494C-A593-3EAAD2438B70}" srcOrd="0" destOrd="0" presId="urn:microsoft.com/office/officeart/2008/layout/VerticalCurvedList"/>
    <dgm:cxn modelId="{B607983A-7DFC-485A-AB3C-FF0578B3CF26}" type="presOf" srcId="{D829BBC5-B978-406B-8F80-02DB8DD2DD1E}" destId="{CF4A1DF6-E2B7-4FE4-BCB6-D864A6725124}" srcOrd="0" destOrd="0" presId="urn:microsoft.com/office/officeart/2008/layout/VerticalCurvedList"/>
    <dgm:cxn modelId="{F6C41746-F6FD-4241-9F46-1CA0E0BD7DC1}" type="presOf" srcId="{F6E33BCA-1A01-492F-97C4-15848758B9CD}" destId="{4319A94D-E201-47AC-AB12-32EC26C0187A}" srcOrd="0" destOrd="0" presId="urn:microsoft.com/office/officeart/2008/layout/VerticalCurvedList"/>
    <dgm:cxn modelId="{15668C54-57E3-4AF4-A0D8-690039400DBB}" srcId="{6C6A0CFD-BA89-4708-9278-C358C7398036}" destId="{19A3FC87-E15E-4253-84DD-07C31F189418}" srcOrd="0" destOrd="0" parTransId="{2C0F7F03-6CA4-48F6-956A-0EEAEDD76309}" sibTransId="{D829BBC5-B978-406B-8F80-02DB8DD2DD1E}"/>
    <dgm:cxn modelId="{2F2B68A3-F408-421F-9E8E-C5A783D7C742}" type="presOf" srcId="{19A3FC87-E15E-4253-84DD-07C31F189418}" destId="{D714046D-10B8-4AB5-B8A9-C1A5D49C1869}" srcOrd="0" destOrd="0" presId="urn:microsoft.com/office/officeart/2008/layout/VerticalCurvedList"/>
    <dgm:cxn modelId="{AE8C87AB-B834-42AD-81B6-6EEFB8B3B4AC}" srcId="{6C6A0CFD-BA89-4708-9278-C358C7398036}" destId="{6D30B936-7D7F-4165-B658-DB26DE603ED6}" srcOrd="4" destOrd="0" parTransId="{E7715A6C-2F75-49E8-92CA-45B2CE5ADF41}" sibTransId="{1C48AB70-10AE-4887-87AD-B11FD4A8A538}"/>
    <dgm:cxn modelId="{B149E2B7-33BC-439A-8C0B-2B1C09B87ECB}" type="presOf" srcId="{6789C202-1057-4242-8A74-0BA8D6C45C89}" destId="{6D56F947-43EE-403E-8C4B-BFAA188644D1}" srcOrd="0" destOrd="0" presId="urn:microsoft.com/office/officeart/2008/layout/VerticalCurvedList"/>
    <dgm:cxn modelId="{478F70D0-60CB-41DD-B2A3-8C911E9E5B0D}" srcId="{6C6A0CFD-BA89-4708-9278-C358C7398036}" destId="{F6E33BCA-1A01-492F-97C4-15848758B9CD}" srcOrd="2" destOrd="0" parTransId="{687EF6A4-E776-4659-BE3E-83C7B4D25BD6}" sibTransId="{D659FF2E-16E7-4907-AA4E-814D7B083492}"/>
    <dgm:cxn modelId="{97D21CEB-BE64-44FE-BA59-B2E975B0AF38}" type="presOf" srcId="{6C6A0CFD-BA89-4708-9278-C358C7398036}" destId="{13705D2F-B597-4D10-A09C-2CBD495620D7}" srcOrd="0" destOrd="0" presId="urn:microsoft.com/office/officeart/2008/layout/VerticalCurvedList"/>
    <dgm:cxn modelId="{42161130-1DF8-4438-BB2A-DB78CEC94CB3}" type="presParOf" srcId="{13705D2F-B597-4D10-A09C-2CBD495620D7}" destId="{61066EB2-B02E-4496-9E6E-343CECAC4CEC}" srcOrd="0" destOrd="0" presId="urn:microsoft.com/office/officeart/2008/layout/VerticalCurvedList"/>
    <dgm:cxn modelId="{B529ABE5-0D0F-4B4F-B4EB-59D60A904399}" type="presParOf" srcId="{61066EB2-B02E-4496-9E6E-343CECAC4CEC}" destId="{25100AD3-397D-4EDA-8742-7D8074074936}" srcOrd="0" destOrd="0" presId="urn:microsoft.com/office/officeart/2008/layout/VerticalCurvedList"/>
    <dgm:cxn modelId="{DEB1A0B2-AD0E-4CE2-BEFA-6BAA96004C84}" type="presParOf" srcId="{25100AD3-397D-4EDA-8742-7D8074074936}" destId="{FD7F7809-2ACC-45AD-8C8C-2C8AB07F6FC9}" srcOrd="0" destOrd="0" presId="urn:microsoft.com/office/officeart/2008/layout/VerticalCurvedList"/>
    <dgm:cxn modelId="{5EEA4BD2-3CCC-459C-B8A5-1B2418E6CCE4}" type="presParOf" srcId="{25100AD3-397D-4EDA-8742-7D8074074936}" destId="{CF4A1DF6-E2B7-4FE4-BCB6-D864A6725124}" srcOrd="1" destOrd="0" presId="urn:microsoft.com/office/officeart/2008/layout/VerticalCurvedList"/>
    <dgm:cxn modelId="{A721D2AD-1719-4138-B36E-3E93E13F27AE}" type="presParOf" srcId="{25100AD3-397D-4EDA-8742-7D8074074936}" destId="{33B58039-1427-4F34-9F92-19FFFAF5C2DE}" srcOrd="2" destOrd="0" presId="urn:microsoft.com/office/officeart/2008/layout/VerticalCurvedList"/>
    <dgm:cxn modelId="{1B312E00-B63C-45AB-8024-017432B8D099}" type="presParOf" srcId="{25100AD3-397D-4EDA-8742-7D8074074936}" destId="{1861EEB5-D659-41E6-9BA7-ECA25E9715ED}" srcOrd="3" destOrd="0" presId="urn:microsoft.com/office/officeart/2008/layout/VerticalCurvedList"/>
    <dgm:cxn modelId="{7568E68B-4AE3-4B65-8DBA-DB6F3E07EC4E}" type="presParOf" srcId="{61066EB2-B02E-4496-9E6E-343CECAC4CEC}" destId="{D714046D-10B8-4AB5-B8A9-C1A5D49C1869}" srcOrd="1" destOrd="0" presId="urn:microsoft.com/office/officeart/2008/layout/VerticalCurvedList"/>
    <dgm:cxn modelId="{74DE9F5C-FCAE-48D4-BD7C-06D8613C239A}" type="presParOf" srcId="{61066EB2-B02E-4496-9E6E-343CECAC4CEC}" destId="{1E74B724-B7DA-43C6-A97A-B3C3E6071C1F}" srcOrd="2" destOrd="0" presId="urn:microsoft.com/office/officeart/2008/layout/VerticalCurvedList"/>
    <dgm:cxn modelId="{4AC66ECC-2857-4518-B074-8E7E20D43BC8}" type="presParOf" srcId="{1E74B724-B7DA-43C6-A97A-B3C3E6071C1F}" destId="{1DC287DD-DF47-4D98-A0CA-750EB6785B40}" srcOrd="0" destOrd="0" presId="urn:microsoft.com/office/officeart/2008/layout/VerticalCurvedList"/>
    <dgm:cxn modelId="{B16F7062-28FC-40B5-887A-C29D4B018408}" type="presParOf" srcId="{61066EB2-B02E-4496-9E6E-343CECAC4CEC}" destId="{6D56F947-43EE-403E-8C4B-BFAA188644D1}" srcOrd="3" destOrd="0" presId="urn:microsoft.com/office/officeart/2008/layout/VerticalCurvedList"/>
    <dgm:cxn modelId="{13BD8F96-58A5-40C8-935F-14E07619895B}" type="presParOf" srcId="{61066EB2-B02E-4496-9E6E-343CECAC4CEC}" destId="{0FDD571B-003F-4236-9716-FFA54F4798D2}" srcOrd="4" destOrd="0" presId="urn:microsoft.com/office/officeart/2008/layout/VerticalCurvedList"/>
    <dgm:cxn modelId="{C2B17823-29C7-440D-B14D-F695BD26B80D}" type="presParOf" srcId="{0FDD571B-003F-4236-9716-FFA54F4798D2}" destId="{626D7748-7541-4DDD-BA65-3DA536D2B71E}" srcOrd="0" destOrd="0" presId="urn:microsoft.com/office/officeart/2008/layout/VerticalCurvedList"/>
    <dgm:cxn modelId="{4E79D1EE-965E-4C0E-BDE7-4E66CEFD1D09}" type="presParOf" srcId="{61066EB2-B02E-4496-9E6E-343CECAC4CEC}" destId="{4319A94D-E201-47AC-AB12-32EC26C0187A}" srcOrd="5" destOrd="0" presId="urn:microsoft.com/office/officeart/2008/layout/VerticalCurvedList"/>
    <dgm:cxn modelId="{6EEF557D-2AE7-4857-BAC5-AED724A6308C}" type="presParOf" srcId="{61066EB2-B02E-4496-9E6E-343CECAC4CEC}" destId="{4ADD5FB2-0622-49CB-8BC6-94DABEAA6D31}" srcOrd="6" destOrd="0" presId="urn:microsoft.com/office/officeart/2008/layout/VerticalCurvedList"/>
    <dgm:cxn modelId="{01D227DA-FDB3-49D7-A7D0-AE7A56B9E14C}" type="presParOf" srcId="{4ADD5FB2-0622-49CB-8BC6-94DABEAA6D31}" destId="{972248A9-818B-4BD5-9F0E-BA667CCB231D}" srcOrd="0" destOrd="0" presId="urn:microsoft.com/office/officeart/2008/layout/VerticalCurvedList"/>
    <dgm:cxn modelId="{C0ACF7DA-979B-48DA-8005-DCA3E5D9E94F}" type="presParOf" srcId="{61066EB2-B02E-4496-9E6E-343CECAC4CEC}" destId="{0ADDAE33-6705-494C-A593-3EAAD2438B70}" srcOrd="7" destOrd="0" presId="urn:microsoft.com/office/officeart/2008/layout/VerticalCurvedList"/>
    <dgm:cxn modelId="{787AA7E8-CDC8-43D1-85C3-D5B6C2462F6E}" type="presParOf" srcId="{61066EB2-B02E-4496-9E6E-343CECAC4CEC}" destId="{F527DC3F-72B1-4B7D-ACD3-30E8DB907E7D}" srcOrd="8" destOrd="0" presId="urn:microsoft.com/office/officeart/2008/layout/VerticalCurvedList"/>
    <dgm:cxn modelId="{70B83BB3-6911-41FE-9077-6D9A7425CE42}" type="presParOf" srcId="{F527DC3F-72B1-4B7D-ACD3-30E8DB907E7D}" destId="{2B507C96-C917-4C3D-A7ED-A908FFFD18BC}" srcOrd="0" destOrd="0" presId="urn:microsoft.com/office/officeart/2008/layout/VerticalCurvedList"/>
    <dgm:cxn modelId="{9C596775-1562-4738-8C5F-CEE76A83FC27}" type="presParOf" srcId="{61066EB2-B02E-4496-9E6E-343CECAC4CEC}" destId="{F6E71032-AA2B-4FDD-AFB5-E24ECD7A6CF0}" srcOrd="9" destOrd="0" presId="urn:microsoft.com/office/officeart/2008/layout/VerticalCurvedList"/>
    <dgm:cxn modelId="{C6571FED-0043-4E6F-B166-391416254A76}" type="presParOf" srcId="{61066EB2-B02E-4496-9E6E-343CECAC4CEC}" destId="{10D58799-BE4F-463D-ADD2-0E59861855F7}" srcOrd="10" destOrd="0" presId="urn:microsoft.com/office/officeart/2008/layout/VerticalCurvedList"/>
    <dgm:cxn modelId="{02C318F2-73BA-4324-B5EA-0C89C55FD0E9}" type="presParOf" srcId="{10D58799-BE4F-463D-ADD2-0E59861855F7}" destId="{22FBF4C8-3727-48B1-AEDA-923CA83DA54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solidFill>
                <a:srgbClr val="FFFFFF"/>
              </a:solidFill>
            </a:rPr>
            <a:t>What’s the purpose of Dynamic Data Masking?</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7E2C6145-F52A-4F3C-BE1A-A724C46420C8}">
      <dgm:prSet custT="1"/>
      <dgm:spPr/>
      <dgm:t>
        <a:bodyPr/>
        <a:lstStyle/>
        <a:p>
          <a:pPr>
            <a:buFont typeface="Arial" panose="020B0604020202020204" pitchFamily="34" charset="0"/>
            <a:buChar char="•"/>
          </a:pPr>
          <a:r>
            <a:rPr lang="en-US" sz="2400">
              <a:solidFill>
                <a:srgbClr val="FFFFFF"/>
              </a:solidFill>
            </a:rPr>
            <a:t>List two different masking rules in Dynamic Data Masking?</a:t>
          </a:r>
          <a:endParaRPr lang="en-US" sz="2400"/>
        </a:p>
      </dgm:t>
    </dgm:pt>
    <dgm:pt modelId="{3A041B61-EFDF-49A1-AFCB-63469AD07A2F}" type="parTrans" cxnId="{6B454224-76A0-4AB2-A222-308D2BB90DEC}">
      <dgm:prSet/>
      <dgm:spPr/>
      <dgm:t>
        <a:bodyPr/>
        <a:lstStyle/>
        <a:p>
          <a:endParaRPr lang="en-US"/>
        </a:p>
      </dgm:t>
    </dgm:pt>
    <dgm:pt modelId="{E70285FE-F132-4F8A-B134-A652FBC24215}" type="sibTrans" cxnId="{6B454224-76A0-4AB2-A222-308D2BB90DE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F7803301-4B8A-414E-B237-047FD7C4006D}" type="pres">
      <dgm:prSet presAssocID="{CAE4D9F8-FDBB-4525-9125-6BAF56328FCE}" presName="spacer" presStyleCnt="0"/>
      <dgm:spPr/>
    </dgm:pt>
    <dgm:pt modelId="{A8D5DCD8-4D9F-45BD-9BC9-1D9A2A16691B}" type="pres">
      <dgm:prSet presAssocID="{7E2C6145-F52A-4F3C-BE1A-A724C46420C8}"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B454224-76A0-4AB2-A222-308D2BB90DEC}" srcId="{15A7774C-B622-4F48-8F7B-AF1AAB74E997}" destId="{7E2C6145-F52A-4F3C-BE1A-A724C46420C8}" srcOrd="1" destOrd="0" parTransId="{3A041B61-EFDF-49A1-AFCB-63469AD07A2F}" sibTransId="{E70285FE-F132-4F8A-B134-A652FBC24215}"/>
    <dgm:cxn modelId="{DB4DCB27-91BA-426C-890A-8F10ABBFDD83}" type="presOf" srcId="{CDCA19B1-3B45-4B24-8F19-085A650701BC}" destId="{86989247-99F6-4AF2-B76D-35A7CDAFD370}" srcOrd="0" destOrd="0" presId="urn:microsoft.com/office/officeart/2005/8/layout/vList2"/>
    <dgm:cxn modelId="{73CA73AF-7780-4FCC-B05D-2C6CFAC5524D}" type="presOf" srcId="{7E2C6145-F52A-4F3C-BE1A-A724C46420C8}" destId="{A8D5DCD8-4D9F-45BD-9BC9-1D9A2A16691B}"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769DBE42-D554-443C-BACC-68349F53FA7D}" type="presParOf" srcId="{97400BD5-14CE-4761-8A6A-64BC46D23158}" destId="{F7803301-4B8A-414E-B237-047FD7C4006D}" srcOrd="1" destOrd="0" presId="urn:microsoft.com/office/officeart/2005/8/layout/vList2"/>
    <dgm:cxn modelId="{FBDCD6C9-9264-483C-9E1E-0CB52E08F276}" type="presParOf" srcId="{97400BD5-14CE-4761-8A6A-64BC46D23158}" destId="{A8D5DCD8-4D9F-45BD-9BC9-1D9A2A16691B}"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1D7AFC8B-226A-468D-AA69-EF9516FC969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A116DDB-0EED-4AB3-B203-A155B2B3BB41}">
      <dgm:prSet custT="1"/>
      <dgm:spPr/>
      <dgm:t>
        <a:bodyPr/>
        <a:lstStyle/>
        <a:p>
          <a:r>
            <a:rPr lang="en-US" sz="2400" baseline="0"/>
            <a:t>SQL Auditing tracks database events and writes them to an audit log in your Azure storage account, Log Analytics workspace or Event Hubs. </a:t>
          </a:r>
          <a:endParaRPr lang="en-US" sz="2400"/>
        </a:p>
      </dgm:t>
    </dgm:pt>
    <dgm:pt modelId="{9065DD3B-3D35-41F0-BF71-FDAD18FE95DB}" type="parTrans" cxnId="{0A7AE2AA-EA9E-453E-BB94-ADFBEFE516BB}">
      <dgm:prSet/>
      <dgm:spPr/>
      <dgm:t>
        <a:bodyPr/>
        <a:lstStyle/>
        <a:p>
          <a:endParaRPr lang="en-US"/>
        </a:p>
      </dgm:t>
    </dgm:pt>
    <dgm:pt modelId="{7159B815-1123-4504-9316-1156AE54F5A8}" type="sibTrans" cxnId="{0A7AE2AA-EA9E-453E-BB94-ADFBEFE516BB}">
      <dgm:prSet/>
      <dgm:spPr/>
      <dgm:t>
        <a:bodyPr/>
        <a:lstStyle/>
        <a:p>
          <a:endParaRPr lang="en-US"/>
        </a:p>
      </dgm:t>
    </dgm:pt>
    <dgm:pt modelId="{FC706A59-63A8-44D4-8B38-7CBD2B06619D}">
      <dgm:prSet custT="1"/>
      <dgm:spPr/>
      <dgm:t>
        <a:bodyPr/>
        <a:lstStyle/>
        <a:p>
          <a:r>
            <a:rPr lang="en-US" sz="2400" baseline="0"/>
            <a:t>Helps you maintain regulatory compliance, understand database activity, and gain insight into discrepancies and anomalies that could indicate business concerns or suspected security violations.</a:t>
          </a:r>
          <a:endParaRPr lang="en-US" sz="2400"/>
        </a:p>
      </dgm:t>
    </dgm:pt>
    <dgm:pt modelId="{5B656DF6-632D-4004-98F4-D3C618538BE9}" type="parTrans" cxnId="{F5C91C08-F1D6-4BB2-8745-32520518D80C}">
      <dgm:prSet/>
      <dgm:spPr/>
      <dgm:t>
        <a:bodyPr/>
        <a:lstStyle/>
        <a:p>
          <a:endParaRPr lang="en-US"/>
        </a:p>
      </dgm:t>
    </dgm:pt>
    <dgm:pt modelId="{C170839D-5266-4CF7-81CF-BE9E879DB523}" type="sibTrans" cxnId="{F5C91C08-F1D6-4BB2-8745-32520518D80C}">
      <dgm:prSet/>
      <dgm:spPr/>
      <dgm:t>
        <a:bodyPr/>
        <a:lstStyle/>
        <a:p>
          <a:endParaRPr lang="en-US"/>
        </a:p>
      </dgm:t>
    </dgm:pt>
    <dgm:pt modelId="{A0608EDB-6ABE-492E-8C1D-1203EBDBE392}">
      <dgm:prSet custT="1"/>
      <dgm:spPr/>
      <dgm:t>
        <a:bodyPr/>
        <a:lstStyle/>
        <a:p>
          <a:r>
            <a:rPr lang="en-US" sz="2400" baseline="0"/>
            <a:t>Enables and facilitates adherence to compliance standards, although it doesn't guarantee compliance.</a:t>
          </a:r>
          <a:endParaRPr lang="en-US" sz="2400"/>
        </a:p>
      </dgm:t>
    </dgm:pt>
    <dgm:pt modelId="{22337DCB-BAE6-4D16-86E5-BCDAC00C6809}" type="parTrans" cxnId="{02697454-3AD2-4135-875F-8CDEE1871985}">
      <dgm:prSet/>
      <dgm:spPr/>
      <dgm:t>
        <a:bodyPr/>
        <a:lstStyle/>
        <a:p>
          <a:endParaRPr lang="en-US"/>
        </a:p>
      </dgm:t>
    </dgm:pt>
    <dgm:pt modelId="{961922A2-C4BD-4943-9833-5976E816E390}" type="sibTrans" cxnId="{02697454-3AD2-4135-875F-8CDEE1871985}">
      <dgm:prSet/>
      <dgm:spPr/>
      <dgm:t>
        <a:bodyPr/>
        <a:lstStyle/>
        <a:p>
          <a:endParaRPr lang="en-US"/>
        </a:p>
      </dgm:t>
    </dgm:pt>
    <dgm:pt modelId="{2D46AF74-96BC-4481-8BFA-E955E64B86E6}" type="pres">
      <dgm:prSet presAssocID="{1D7AFC8B-226A-468D-AA69-EF9516FC969A}" presName="linear" presStyleCnt="0">
        <dgm:presLayoutVars>
          <dgm:animLvl val="lvl"/>
          <dgm:resizeHandles val="exact"/>
        </dgm:presLayoutVars>
      </dgm:prSet>
      <dgm:spPr/>
    </dgm:pt>
    <dgm:pt modelId="{973A9B01-5687-4BDF-ACEF-B99D56A6C625}" type="pres">
      <dgm:prSet presAssocID="{4A116DDB-0EED-4AB3-B203-A155B2B3BB41}" presName="parentText" presStyleLbl="node1" presStyleIdx="0" presStyleCnt="3">
        <dgm:presLayoutVars>
          <dgm:chMax val="0"/>
          <dgm:bulletEnabled val="1"/>
        </dgm:presLayoutVars>
      </dgm:prSet>
      <dgm:spPr/>
    </dgm:pt>
    <dgm:pt modelId="{95F75829-EF61-4446-B472-A71983F45DA5}" type="pres">
      <dgm:prSet presAssocID="{7159B815-1123-4504-9316-1156AE54F5A8}" presName="spacer" presStyleCnt="0"/>
      <dgm:spPr/>
    </dgm:pt>
    <dgm:pt modelId="{5F5DA72A-9759-40C0-BFFB-5004DD84EB8D}" type="pres">
      <dgm:prSet presAssocID="{FC706A59-63A8-44D4-8B38-7CBD2B06619D}" presName="parentText" presStyleLbl="node1" presStyleIdx="1" presStyleCnt="3">
        <dgm:presLayoutVars>
          <dgm:chMax val="0"/>
          <dgm:bulletEnabled val="1"/>
        </dgm:presLayoutVars>
      </dgm:prSet>
      <dgm:spPr/>
    </dgm:pt>
    <dgm:pt modelId="{9DC70258-B9BD-4202-9340-5A3F7627E44D}" type="pres">
      <dgm:prSet presAssocID="{C170839D-5266-4CF7-81CF-BE9E879DB523}" presName="spacer" presStyleCnt="0"/>
      <dgm:spPr/>
    </dgm:pt>
    <dgm:pt modelId="{1FB44F38-3C75-4114-A095-4802598DF037}" type="pres">
      <dgm:prSet presAssocID="{A0608EDB-6ABE-492E-8C1D-1203EBDBE392}" presName="parentText" presStyleLbl="node1" presStyleIdx="2" presStyleCnt="3">
        <dgm:presLayoutVars>
          <dgm:chMax val="0"/>
          <dgm:bulletEnabled val="1"/>
        </dgm:presLayoutVars>
      </dgm:prSet>
      <dgm:spPr/>
    </dgm:pt>
  </dgm:ptLst>
  <dgm:cxnLst>
    <dgm:cxn modelId="{F5C91C08-F1D6-4BB2-8745-32520518D80C}" srcId="{1D7AFC8B-226A-468D-AA69-EF9516FC969A}" destId="{FC706A59-63A8-44D4-8B38-7CBD2B06619D}" srcOrd="1" destOrd="0" parTransId="{5B656DF6-632D-4004-98F4-D3C618538BE9}" sibTransId="{C170839D-5266-4CF7-81CF-BE9E879DB523}"/>
    <dgm:cxn modelId="{CC063F6A-01FD-4F8A-9EAE-40AEC9FF5E7A}" type="presOf" srcId="{FC706A59-63A8-44D4-8B38-7CBD2B06619D}" destId="{5F5DA72A-9759-40C0-BFFB-5004DD84EB8D}" srcOrd="0" destOrd="0" presId="urn:microsoft.com/office/officeart/2005/8/layout/vList2"/>
    <dgm:cxn modelId="{EBD50354-05D8-4FA4-837A-2FB7225C5138}" type="presOf" srcId="{A0608EDB-6ABE-492E-8C1D-1203EBDBE392}" destId="{1FB44F38-3C75-4114-A095-4802598DF037}" srcOrd="0" destOrd="0" presId="urn:microsoft.com/office/officeart/2005/8/layout/vList2"/>
    <dgm:cxn modelId="{02697454-3AD2-4135-875F-8CDEE1871985}" srcId="{1D7AFC8B-226A-468D-AA69-EF9516FC969A}" destId="{A0608EDB-6ABE-492E-8C1D-1203EBDBE392}" srcOrd="2" destOrd="0" parTransId="{22337DCB-BAE6-4D16-86E5-BCDAC00C6809}" sibTransId="{961922A2-C4BD-4943-9833-5976E816E390}"/>
    <dgm:cxn modelId="{EADD527A-786F-4C80-A071-08588D3AB83A}" type="presOf" srcId="{1D7AFC8B-226A-468D-AA69-EF9516FC969A}" destId="{2D46AF74-96BC-4481-8BFA-E955E64B86E6}" srcOrd="0" destOrd="0" presId="urn:microsoft.com/office/officeart/2005/8/layout/vList2"/>
    <dgm:cxn modelId="{0A7AE2AA-EA9E-453E-BB94-ADFBEFE516BB}" srcId="{1D7AFC8B-226A-468D-AA69-EF9516FC969A}" destId="{4A116DDB-0EED-4AB3-B203-A155B2B3BB41}" srcOrd="0" destOrd="0" parTransId="{9065DD3B-3D35-41F0-BF71-FDAD18FE95DB}" sibTransId="{7159B815-1123-4504-9316-1156AE54F5A8}"/>
    <dgm:cxn modelId="{627E2CC8-3D51-4676-93DA-3DDA2C348DF0}" type="presOf" srcId="{4A116DDB-0EED-4AB3-B203-A155B2B3BB41}" destId="{973A9B01-5687-4BDF-ACEF-B99D56A6C625}" srcOrd="0" destOrd="0" presId="urn:microsoft.com/office/officeart/2005/8/layout/vList2"/>
    <dgm:cxn modelId="{9570D0DF-6FDA-4DBD-9A42-44942A6DBCCD}" type="presParOf" srcId="{2D46AF74-96BC-4481-8BFA-E955E64B86E6}" destId="{973A9B01-5687-4BDF-ACEF-B99D56A6C625}" srcOrd="0" destOrd="0" presId="urn:microsoft.com/office/officeart/2005/8/layout/vList2"/>
    <dgm:cxn modelId="{DD0829FA-AF0C-4086-B239-3FE031CA13EA}" type="presParOf" srcId="{2D46AF74-96BC-4481-8BFA-E955E64B86E6}" destId="{95F75829-EF61-4446-B472-A71983F45DA5}" srcOrd="1" destOrd="0" presId="urn:microsoft.com/office/officeart/2005/8/layout/vList2"/>
    <dgm:cxn modelId="{ED706E38-FAFD-463E-9E3D-224C06367F8A}" type="presParOf" srcId="{2D46AF74-96BC-4481-8BFA-E955E64B86E6}" destId="{5F5DA72A-9759-40C0-BFFB-5004DD84EB8D}" srcOrd="2" destOrd="0" presId="urn:microsoft.com/office/officeart/2005/8/layout/vList2"/>
    <dgm:cxn modelId="{18239A8B-D46E-4910-A158-8EC58332748D}" type="presParOf" srcId="{2D46AF74-96BC-4481-8BFA-E955E64B86E6}" destId="{9DC70258-B9BD-4202-9340-5A3F7627E44D}" srcOrd="3" destOrd="0" presId="urn:microsoft.com/office/officeart/2005/8/layout/vList2"/>
    <dgm:cxn modelId="{0F1EDA89-2DEB-482A-A035-0B70FAE43086}" type="presParOf" srcId="{2D46AF74-96BC-4481-8BFA-E955E64B86E6}" destId="{1FB44F38-3C75-4114-A095-4802598DF03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BFE07287-F6E6-440E-ABA9-D4472BEDA82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D7C5EE0-E57C-4E97-A496-0E7AC2D70FE4}">
      <dgm:prSet phldrT="[Text]" custT="1"/>
      <dgm:spPr>
        <a:xfrm>
          <a:off x="333966" y="157466"/>
          <a:ext cx="5843529" cy="540818"/>
        </a:xfrm>
        <a:prstGeom prst="roundRect">
          <a:avLst/>
        </a:prstGeom>
      </dgm:spPr>
      <dgm:t>
        <a:bodyPr/>
        <a:lstStyle/>
        <a:p>
          <a:pPr>
            <a:buClr>
              <a:srgbClr val="FFFFFF"/>
            </a:buClr>
            <a:buSzPct val="101000"/>
            <a:buFont typeface="Wingdings" pitchFamily="2" charset="2"/>
            <a:buNone/>
          </a:pPr>
          <a:r>
            <a:rPr kumimoji="0" lang="nl-BE" sz="14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Gain insight into database events and streamline compliance-related tasks.</a:t>
          </a:r>
          <a:endParaRPr lang="en-US" sz="1400" dirty="0">
            <a:latin typeface="Segoe UI"/>
            <a:ea typeface="+mn-ea"/>
            <a:cs typeface="+mn-cs"/>
          </a:endParaRPr>
        </a:p>
      </dgm:t>
    </dgm:pt>
    <dgm:pt modelId="{E5B931A0-D4E0-4AC2-886C-99ED2A772D96}" type="parTrans" cxnId="{4B5907B6-1A83-4D1F-AB6C-E88B8924F55B}">
      <dgm:prSet/>
      <dgm:spPr/>
      <dgm:t>
        <a:bodyPr/>
        <a:lstStyle/>
        <a:p>
          <a:endParaRPr lang="en-US"/>
        </a:p>
      </dgm:t>
    </dgm:pt>
    <dgm:pt modelId="{E919EED3-94AC-4100-A4E3-43F0EC9BAACF}" type="sibTrans" cxnId="{4B5907B6-1A83-4D1F-AB6C-E88B8924F55B}">
      <dgm:prSet/>
      <dgm:spPr/>
      <dgm:t>
        <a:bodyPr/>
        <a:lstStyle/>
        <a:p>
          <a:endParaRPr lang="en-US"/>
        </a:p>
      </dgm:t>
    </dgm:pt>
    <dgm:pt modelId="{35B344F7-1CEA-4FDC-815E-1C52B3071930}">
      <dgm:prSet custT="1"/>
      <dgm:spPr>
        <a:xfrm>
          <a:off x="333966" y="920044"/>
          <a:ext cx="5843529" cy="540818"/>
        </a:xfrm>
        <a:prstGeom prst="roundRect">
          <a:avLst/>
        </a:prstGeom>
      </dgm:spPr>
      <dgm:t>
        <a:bodyPr/>
        <a:lstStyle/>
        <a:p>
          <a:pPr>
            <a:buNone/>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Configurable to track and log database activity.</a:t>
          </a:r>
        </a:p>
      </dgm:t>
    </dgm:pt>
    <dgm:pt modelId="{9261381F-3114-4B84-A015-43F4EA28CC2E}" type="parTrans" cxnId="{52F0F9D0-D207-47B4-86EF-C436CB12D0A4}">
      <dgm:prSet/>
      <dgm:spPr/>
      <dgm:t>
        <a:bodyPr/>
        <a:lstStyle/>
        <a:p>
          <a:endParaRPr lang="en-US"/>
        </a:p>
      </dgm:t>
    </dgm:pt>
    <dgm:pt modelId="{90FD8ECD-9111-46AB-B725-F47763F34D21}" type="sibTrans" cxnId="{52F0F9D0-D207-47B4-86EF-C436CB12D0A4}">
      <dgm:prSet/>
      <dgm:spPr/>
      <dgm:t>
        <a:bodyPr/>
        <a:lstStyle/>
        <a:p>
          <a:endParaRPr lang="en-US"/>
        </a:p>
      </dgm:t>
    </dgm:pt>
    <dgm:pt modelId="{EEEA09D4-0EC4-4AE6-B30A-DE7809B35F37}">
      <dgm:prSet custT="1"/>
      <dgm:spPr>
        <a:xfrm>
          <a:off x="333966" y="1682622"/>
          <a:ext cx="5843529" cy="540818"/>
        </a:xfrm>
        <a:prstGeom prst="roundRect">
          <a:avLst/>
        </a:prstGeom>
      </dgm:spPr>
      <dgm:t>
        <a:bodyPr/>
        <a:lstStyle/>
        <a:p>
          <a:pPr>
            <a:buNone/>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Dashboard views in portal for at-a-glance insights.</a:t>
          </a:r>
        </a:p>
      </dgm:t>
    </dgm:pt>
    <dgm:pt modelId="{3E6CFB59-4522-43F9-A2EC-BA370BC09690}" type="parTrans" cxnId="{9A0EAC7C-33DB-4C23-A728-AB69CE807243}">
      <dgm:prSet/>
      <dgm:spPr/>
      <dgm:t>
        <a:bodyPr/>
        <a:lstStyle/>
        <a:p>
          <a:endParaRPr lang="en-US"/>
        </a:p>
      </dgm:t>
    </dgm:pt>
    <dgm:pt modelId="{5356F45A-E70B-4383-A996-9FD358877E12}" type="sibTrans" cxnId="{9A0EAC7C-33DB-4C23-A728-AB69CE807243}">
      <dgm:prSet/>
      <dgm:spPr/>
      <dgm:t>
        <a:bodyPr/>
        <a:lstStyle/>
        <a:p>
          <a:endParaRPr lang="en-US"/>
        </a:p>
      </dgm:t>
    </dgm:pt>
    <dgm:pt modelId="{AD4EA25B-88E7-493F-9B36-684458527450}">
      <dgm:prSet custT="1"/>
      <dgm:spPr>
        <a:xfrm>
          <a:off x="333966" y="2554075"/>
          <a:ext cx="5843529" cy="540818"/>
        </a:xfrm>
        <a:prstGeom prst="roundRect">
          <a:avLst/>
        </a:prstGeom>
      </dgm:spPr>
      <dgm:t>
        <a:bodyPr/>
        <a:lstStyle/>
        <a:p>
          <a:pPr>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Audit logs reside </a:t>
          </a:r>
          <a:r>
            <a:rPr kumimoji="0" lang="en-US" sz="1400" b="0" i="0" u="none" strike="noStrike" kern="1200" cap="none" spc="0" normalizeH="0" baseline="0">
              <a:ln/>
              <a:effectLst/>
              <a:uLnTx/>
              <a:uFillTx/>
              <a:latin typeface="Segoe UI Semilight" panose="020B0402040204020203" pitchFamily="34" charset="0"/>
              <a:ea typeface="+mn-ea"/>
              <a:cs typeface="Segoe UI Semilight" panose="020B0402040204020203" pitchFamily="34" charset="0"/>
            </a:rPr>
            <a:t>Azure Storage Account, Log Analytics or Event Hub.</a:t>
          </a:r>
          <a:endPar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endParaRPr>
        </a:p>
      </dgm:t>
    </dgm:pt>
    <dgm:pt modelId="{361EF5B3-B426-4E85-BBBB-F5AF8AB249AA}" type="parTrans" cxnId="{DB00ED5A-9AE9-4DC0-9E71-E4DBAACDB00D}">
      <dgm:prSet/>
      <dgm:spPr/>
      <dgm:t>
        <a:bodyPr/>
        <a:lstStyle/>
        <a:p>
          <a:endParaRPr lang="en-US"/>
        </a:p>
      </dgm:t>
    </dgm:pt>
    <dgm:pt modelId="{051FE3A6-129D-4BF1-BC28-FDF570D732A3}" type="sibTrans" cxnId="{DB00ED5A-9AE9-4DC0-9E71-E4DBAACDB00D}">
      <dgm:prSet/>
      <dgm:spPr/>
      <dgm:t>
        <a:bodyPr/>
        <a:lstStyle/>
        <a:p>
          <a:endParaRPr lang="en-US"/>
        </a:p>
      </dgm:t>
    </dgm:pt>
    <dgm:pt modelId="{D8AB4E5A-452D-4D0F-9DC5-1470470E057F}">
      <dgm:prSet custT="1"/>
      <dgm:spPr>
        <a:xfrm>
          <a:off x="333966" y="3316653"/>
          <a:ext cx="5843529" cy="540818"/>
        </a:xfrm>
        <a:prstGeom prst="roundRect">
          <a:avLst/>
        </a:prstGeom>
      </dgm:spPr>
      <dgm:t>
        <a:bodyPr/>
        <a:lstStyle/>
        <a:p>
          <a:pPr>
            <a:buNone/>
          </a:pPr>
          <a:r>
            <a:rPr kumimoji="0" lang="nl-BE" sz="14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Available in Basic, Standard, Premium and Managed Instance.</a:t>
          </a:r>
        </a:p>
      </dgm:t>
    </dgm:pt>
    <dgm:pt modelId="{E519AAE3-73D7-40C5-A9E6-A5D43E44BD4C}" type="parTrans" cxnId="{F95E64F7-45B3-4749-BC57-E1A7B194C49B}">
      <dgm:prSet/>
      <dgm:spPr/>
      <dgm:t>
        <a:bodyPr/>
        <a:lstStyle/>
        <a:p>
          <a:endParaRPr lang="en-US"/>
        </a:p>
      </dgm:t>
    </dgm:pt>
    <dgm:pt modelId="{3123121D-E841-4240-A9C0-A640F27DDD93}" type="sibTrans" cxnId="{F95E64F7-45B3-4749-BC57-E1A7B194C49B}">
      <dgm:prSet/>
      <dgm:spPr/>
      <dgm:t>
        <a:bodyPr/>
        <a:lstStyle/>
        <a:p>
          <a:endParaRPr lang="en-US"/>
        </a:p>
      </dgm:t>
    </dgm:pt>
    <dgm:pt modelId="{ACA2EA7D-48FB-452B-BDAC-9B157E4538E2}">
      <dgm:prSet custT="1"/>
      <dgm:spPr>
        <a:xfrm>
          <a:off x="333966" y="4079231"/>
          <a:ext cx="5843529" cy="540818"/>
        </a:xfrm>
        <a:prstGeom prst="roundRect">
          <a:avLst/>
        </a:prstGeom>
      </dgm:spPr>
      <dgm:t>
        <a:bodyPr/>
        <a:lstStyle/>
        <a:p>
          <a:pPr>
            <a:buNone/>
          </a:pPr>
          <a:r>
            <a:rPr lang="en-US" sz="1400">
              <a:latin typeface="Segoe UI"/>
              <a:ea typeface="+mn-ea"/>
              <a:cs typeface="+mn-cs"/>
            </a:rPr>
            <a:t>The default auditing policy includes:</a:t>
          </a:r>
        </a:p>
      </dgm:t>
    </dgm:pt>
    <dgm:pt modelId="{130449F3-322A-4C4B-BFA9-1E63375F78C5}" type="parTrans" cxnId="{1D9A20BC-C714-438F-AC20-05A67C2E5AA5}">
      <dgm:prSet/>
      <dgm:spPr/>
      <dgm:t>
        <a:bodyPr/>
        <a:lstStyle/>
        <a:p>
          <a:endParaRPr lang="en-US"/>
        </a:p>
      </dgm:t>
    </dgm:pt>
    <dgm:pt modelId="{D231F4B6-632F-4E1F-B348-1B4A162107DB}" type="sibTrans" cxnId="{1D9A20BC-C714-438F-AC20-05A67C2E5AA5}">
      <dgm:prSet/>
      <dgm:spPr/>
      <dgm:t>
        <a:bodyPr/>
        <a:lstStyle/>
        <a:p>
          <a:endParaRPr lang="en-US"/>
        </a:p>
      </dgm:t>
    </dgm:pt>
    <dgm:pt modelId="{2205EAC3-F467-4997-9786-E87ACFB23F26}">
      <dgm:prSet custT="1"/>
      <dgm:spPr>
        <a:xfrm>
          <a:off x="0" y="4413409"/>
          <a:ext cx="6679335" cy="1058400"/>
        </a:xfrm>
        <a:prstGeom prst="rect">
          <a:avLst/>
        </a:prstGeom>
      </dgm:spPr>
      <dgm:t>
        <a:bodyPr/>
        <a:lstStyle/>
        <a:p>
          <a:pPr>
            <a:buChar char="•"/>
          </a:pPr>
          <a:r>
            <a:rPr lang="en-US" sz="1300">
              <a:latin typeface="Segoe UI"/>
              <a:ea typeface="+mn-ea"/>
              <a:cs typeface="+mn-cs"/>
            </a:rPr>
            <a:t>BATCH_COMPLETED_GROUP</a:t>
          </a:r>
        </a:p>
      </dgm:t>
    </dgm:pt>
    <dgm:pt modelId="{0CB49AE5-5F17-48C6-8DF9-221209C69F28}" type="parTrans" cxnId="{1C702C0B-7B2D-4F74-8EDE-95CA79E45BBB}">
      <dgm:prSet/>
      <dgm:spPr/>
      <dgm:t>
        <a:bodyPr/>
        <a:lstStyle/>
        <a:p>
          <a:endParaRPr lang="en-US"/>
        </a:p>
      </dgm:t>
    </dgm:pt>
    <dgm:pt modelId="{3893643F-0F5A-4A9C-ABE4-0A0AC5F06854}" type="sibTrans" cxnId="{1C702C0B-7B2D-4F74-8EDE-95CA79E45BBB}">
      <dgm:prSet/>
      <dgm:spPr/>
      <dgm:t>
        <a:bodyPr/>
        <a:lstStyle/>
        <a:p>
          <a:endParaRPr lang="en-US"/>
        </a:p>
      </dgm:t>
    </dgm:pt>
    <dgm:pt modelId="{E92B3DEC-F58D-4FA1-AA57-F45C6687EF87}">
      <dgm:prSet custT="1"/>
      <dgm:spPr>
        <a:xfrm>
          <a:off x="0" y="4413409"/>
          <a:ext cx="6679335" cy="1058400"/>
        </a:xfrm>
        <a:prstGeom prst="rect">
          <a:avLst/>
        </a:prstGeom>
      </dgm:spPr>
      <dgm:t>
        <a:bodyPr/>
        <a:lstStyle/>
        <a:p>
          <a:pPr>
            <a:buChar char="•"/>
          </a:pPr>
          <a:r>
            <a:rPr lang="en-US" sz="1300">
              <a:latin typeface="Segoe UI"/>
              <a:ea typeface="+mn-ea"/>
              <a:cs typeface="+mn-cs"/>
            </a:rPr>
            <a:t>SUCCESSFUL_DATABASE_AUTHENTICATION_GROUP</a:t>
          </a:r>
        </a:p>
      </dgm:t>
    </dgm:pt>
    <dgm:pt modelId="{291DE175-5988-4507-8027-30677735FC9E}" type="parTrans" cxnId="{C900C9EE-2A5C-4FE2-8981-66BDA7C99DD0}">
      <dgm:prSet/>
      <dgm:spPr/>
      <dgm:t>
        <a:bodyPr/>
        <a:lstStyle/>
        <a:p>
          <a:endParaRPr lang="en-US"/>
        </a:p>
      </dgm:t>
    </dgm:pt>
    <dgm:pt modelId="{E42FB0A0-9C73-42C4-A3E9-055E1620C8E9}" type="sibTrans" cxnId="{C900C9EE-2A5C-4FE2-8981-66BDA7C99DD0}">
      <dgm:prSet/>
      <dgm:spPr/>
      <dgm:t>
        <a:bodyPr/>
        <a:lstStyle/>
        <a:p>
          <a:endParaRPr lang="en-US"/>
        </a:p>
      </dgm:t>
    </dgm:pt>
    <dgm:pt modelId="{E3CB1BE9-30A0-4777-9F4A-B99B2C5A1E52}">
      <dgm:prSet custT="1"/>
      <dgm:spPr>
        <a:xfrm>
          <a:off x="0" y="4413409"/>
          <a:ext cx="6679335" cy="1058400"/>
        </a:xfrm>
        <a:prstGeom prst="rect">
          <a:avLst/>
        </a:prstGeom>
      </dgm:spPr>
      <dgm:t>
        <a:bodyPr/>
        <a:lstStyle/>
        <a:p>
          <a:pPr>
            <a:buChar char="•"/>
          </a:pPr>
          <a:r>
            <a:rPr lang="en-US" sz="1300">
              <a:latin typeface="Segoe UI"/>
              <a:ea typeface="+mn-ea"/>
              <a:cs typeface="+mn-cs"/>
            </a:rPr>
            <a:t>FAILED_DATABASE_AUTHENTICATION_GROUP</a:t>
          </a:r>
          <a:endParaRPr lang="nl-BE" sz="1300">
            <a:latin typeface="Segoe UI Semilight" panose="020B0402040204020203" pitchFamily="34" charset="0"/>
            <a:ea typeface="+mn-ea"/>
            <a:cs typeface="Segoe UI Semilight" panose="020B0402040204020203" pitchFamily="34" charset="0"/>
          </a:endParaRPr>
        </a:p>
      </dgm:t>
    </dgm:pt>
    <dgm:pt modelId="{CD278D17-1F63-4CD0-A5E0-B3243155D86E}" type="parTrans" cxnId="{D8B9251E-7B94-4A4A-8794-3BC00985E08F}">
      <dgm:prSet/>
      <dgm:spPr/>
      <dgm:t>
        <a:bodyPr/>
        <a:lstStyle/>
        <a:p>
          <a:endParaRPr lang="en-US"/>
        </a:p>
      </dgm:t>
    </dgm:pt>
    <dgm:pt modelId="{3914E92B-98FB-4292-991F-5B97CD504505}" type="sibTrans" cxnId="{D8B9251E-7B94-4A4A-8794-3BC00985E08F}">
      <dgm:prSet/>
      <dgm:spPr/>
      <dgm:t>
        <a:bodyPr/>
        <a:lstStyle/>
        <a:p>
          <a:endParaRPr lang="en-US"/>
        </a:p>
      </dgm:t>
    </dgm:pt>
    <dgm:pt modelId="{F2319E56-B6BC-47F2-9CB8-95702E0A7EFA}" type="pres">
      <dgm:prSet presAssocID="{BFE07287-F6E6-440E-ABA9-D4472BEDA82A}" presName="linear" presStyleCnt="0">
        <dgm:presLayoutVars>
          <dgm:dir/>
          <dgm:animLvl val="lvl"/>
          <dgm:resizeHandles val="exact"/>
        </dgm:presLayoutVars>
      </dgm:prSet>
      <dgm:spPr/>
    </dgm:pt>
    <dgm:pt modelId="{865699F5-C302-4B65-A648-1C7C7EDA057C}" type="pres">
      <dgm:prSet presAssocID="{BD7C5EE0-E57C-4E97-A496-0E7AC2D70FE4}" presName="parentLin" presStyleCnt="0"/>
      <dgm:spPr/>
    </dgm:pt>
    <dgm:pt modelId="{3BB94B19-04D0-4BB5-BD80-2B020E27CFAC}" type="pres">
      <dgm:prSet presAssocID="{BD7C5EE0-E57C-4E97-A496-0E7AC2D70FE4}" presName="parentLeftMargin" presStyleLbl="node1" presStyleIdx="0" presStyleCnt="6"/>
      <dgm:spPr/>
    </dgm:pt>
    <dgm:pt modelId="{C3E3CCFF-C5C6-483C-9F7E-8BF07742EC0C}" type="pres">
      <dgm:prSet presAssocID="{BD7C5EE0-E57C-4E97-A496-0E7AC2D70FE4}" presName="parentText" presStyleLbl="node1" presStyleIdx="0" presStyleCnt="6" custScaleX="124981" custScaleY="130860">
        <dgm:presLayoutVars>
          <dgm:chMax val="0"/>
          <dgm:bulletEnabled val="1"/>
        </dgm:presLayoutVars>
      </dgm:prSet>
      <dgm:spPr/>
    </dgm:pt>
    <dgm:pt modelId="{AE32B78D-7305-437A-B24B-318B64DCC383}" type="pres">
      <dgm:prSet presAssocID="{BD7C5EE0-E57C-4E97-A496-0E7AC2D70FE4}" presName="negativeSpace" presStyleCnt="0"/>
      <dgm:spPr/>
    </dgm:pt>
    <dgm:pt modelId="{805C92F6-58CF-4500-A9B2-F5CFD21F56E5}" type="pres">
      <dgm:prSet presAssocID="{BD7C5EE0-E57C-4E97-A496-0E7AC2D70FE4}" presName="childText" presStyleLbl="conFgAcc1" presStyleIdx="0" presStyleCnt="6">
        <dgm:presLayoutVars>
          <dgm:bulletEnabled val="1"/>
        </dgm:presLayoutVars>
      </dgm:prSet>
      <dgm:spPr>
        <a:xfrm>
          <a:off x="0" y="491644"/>
          <a:ext cx="6679335" cy="352800"/>
        </a:xfrm>
        <a:prstGeom prst="rect">
          <a:avLst/>
        </a:prstGeom>
      </dgm:spPr>
    </dgm:pt>
    <dgm:pt modelId="{2E755A0A-BEAC-4B17-8784-40DC76D19857}" type="pres">
      <dgm:prSet presAssocID="{E919EED3-94AC-4100-A4E3-43F0EC9BAACF}" presName="spaceBetweenRectangles" presStyleCnt="0"/>
      <dgm:spPr/>
    </dgm:pt>
    <dgm:pt modelId="{76FB3AFA-421A-4EFD-BA0D-F078D5B4A81B}" type="pres">
      <dgm:prSet presAssocID="{35B344F7-1CEA-4FDC-815E-1C52B3071930}" presName="parentLin" presStyleCnt="0"/>
      <dgm:spPr/>
    </dgm:pt>
    <dgm:pt modelId="{201E62B5-F159-4C97-A8B2-3A56FC91A427}" type="pres">
      <dgm:prSet presAssocID="{35B344F7-1CEA-4FDC-815E-1C52B3071930}" presName="parentLeftMargin" presStyleLbl="node1" presStyleIdx="0" presStyleCnt="6"/>
      <dgm:spPr/>
    </dgm:pt>
    <dgm:pt modelId="{1CC27B5B-B892-4017-A72A-BD4D64F3651B}" type="pres">
      <dgm:prSet presAssocID="{35B344F7-1CEA-4FDC-815E-1C52B3071930}" presName="parentText" presStyleLbl="node1" presStyleIdx="1" presStyleCnt="6" custScaleX="124981" custScaleY="130860">
        <dgm:presLayoutVars>
          <dgm:chMax val="0"/>
          <dgm:bulletEnabled val="1"/>
        </dgm:presLayoutVars>
      </dgm:prSet>
      <dgm:spPr/>
    </dgm:pt>
    <dgm:pt modelId="{45016982-E926-43DB-ADBB-56D71C0317CD}" type="pres">
      <dgm:prSet presAssocID="{35B344F7-1CEA-4FDC-815E-1C52B3071930}" presName="negativeSpace" presStyleCnt="0"/>
      <dgm:spPr/>
    </dgm:pt>
    <dgm:pt modelId="{0DBB5B29-DEA1-4361-B0A9-892B87661E54}" type="pres">
      <dgm:prSet presAssocID="{35B344F7-1CEA-4FDC-815E-1C52B3071930}" presName="childText" presStyleLbl="conFgAcc1" presStyleIdx="1" presStyleCnt="6">
        <dgm:presLayoutVars>
          <dgm:bulletEnabled val="1"/>
        </dgm:presLayoutVars>
      </dgm:prSet>
      <dgm:spPr>
        <a:xfrm>
          <a:off x="0" y="1254222"/>
          <a:ext cx="6679335" cy="352800"/>
        </a:xfrm>
        <a:prstGeom prst="rect">
          <a:avLst/>
        </a:prstGeom>
      </dgm:spPr>
    </dgm:pt>
    <dgm:pt modelId="{6F8976C8-7A77-43CD-AEFB-500568256502}" type="pres">
      <dgm:prSet presAssocID="{90FD8ECD-9111-46AB-B725-F47763F34D21}" presName="spaceBetweenRectangles" presStyleCnt="0"/>
      <dgm:spPr/>
    </dgm:pt>
    <dgm:pt modelId="{5673DDEB-EFD3-4FD7-A0FB-E2AF8A0B61A0}" type="pres">
      <dgm:prSet presAssocID="{EEEA09D4-0EC4-4AE6-B30A-DE7809B35F37}" presName="parentLin" presStyleCnt="0"/>
      <dgm:spPr/>
    </dgm:pt>
    <dgm:pt modelId="{7A5F0983-F319-49CE-AEC0-548053BA9F06}" type="pres">
      <dgm:prSet presAssocID="{EEEA09D4-0EC4-4AE6-B30A-DE7809B35F37}" presName="parentLeftMargin" presStyleLbl="node1" presStyleIdx="1" presStyleCnt="6"/>
      <dgm:spPr/>
    </dgm:pt>
    <dgm:pt modelId="{60EB1B66-CC24-4A09-AD93-9F934B738976}" type="pres">
      <dgm:prSet presAssocID="{EEEA09D4-0EC4-4AE6-B30A-DE7809B35F37}" presName="parentText" presStyleLbl="node1" presStyleIdx="2" presStyleCnt="6" custScaleX="124981" custScaleY="130860">
        <dgm:presLayoutVars>
          <dgm:chMax val="0"/>
          <dgm:bulletEnabled val="1"/>
        </dgm:presLayoutVars>
      </dgm:prSet>
      <dgm:spPr/>
    </dgm:pt>
    <dgm:pt modelId="{183528A3-C49A-49D6-8C43-BC20A0DD47C7}" type="pres">
      <dgm:prSet presAssocID="{EEEA09D4-0EC4-4AE6-B30A-DE7809B35F37}" presName="negativeSpace" presStyleCnt="0"/>
      <dgm:spPr/>
    </dgm:pt>
    <dgm:pt modelId="{DE14FD35-F502-4795-A370-682505109CDB}" type="pres">
      <dgm:prSet presAssocID="{EEEA09D4-0EC4-4AE6-B30A-DE7809B35F37}" presName="childText" presStyleLbl="conFgAcc1" presStyleIdx="2" presStyleCnt="6" custScaleY="130860">
        <dgm:presLayoutVars>
          <dgm:bulletEnabled val="1"/>
        </dgm:presLayoutVars>
      </dgm:prSet>
      <dgm:spPr>
        <a:xfrm>
          <a:off x="0" y="2016800"/>
          <a:ext cx="6679335" cy="461674"/>
        </a:xfrm>
        <a:prstGeom prst="rect">
          <a:avLst/>
        </a:prstGeom>
      </dgm:spPr>
    </dgm:pt>
    <dgm:pt modelId="{08115E60-92E9-41D0-AD7C-13034CC9FFBC}" type="pres">
      <dgm:prSet presAssocID="{5356F45A-E70B-4383-A996-9FD358877E12}" presName="spaceBetweenRectangles" presStyleCnt="0"/>
      <dgm:spPr/>
    </dgm:pt>
    <dgm:pt modelId="{2D032793-ACB0-4FD3-BC56-E1ADBFE698EF}" type="pres">
      <dgm:prSet presAssocID="{AD4EA25B-88E7-493F-9B36-684458527450}" presName="parentLin" presStyleCnt="0"/>
      <dgm:spPr/>
    </dgm:pt>
    <dgm:pt modelId="{89C4222A-F51D-4384-BEBB-DF0283E0D385}" type="pres">
      <dgm:prSet presAssocID="{AD4EA25B-88E7-493F-9B36-684458527450}" presName="parentLeftMargin" presStyleLbl="node1" presStyleIdx="2" presStyleCnt="6"/>
      <dgm:spPr/>
    </dgm:pt>
    <dgm:pt modelId="{6AAB1AD2-911D-47B5-9E4F-2BFB9A4CB9F1}" type="pres">
      <dgm:prSet presAssocID="{AD4EA25B-88E7-493F-9B36-684458527450}" presName="parentText" presStyleLbl="node1" presStyleIdx="3" presStyleCnt="6" custScaleX="124981" custScaleY="130860">
        <dgm:presLayoutVars>
          <dgm:chMax val="0"/>
          <dgm:bulletEnabled val="1"/>
        </dgm:presLayoutVars>
      </dgm:prSet>
      <dgm:spPr/>
    </dgm:pt>
    <dgm:pt modelId="{C3830EDF-A670-44AD-BB76-A6EF0D593DDA}" type="pres">
      <dgm:prSet presAssocID="{AD4EA25B-88E7-493F-9B36-684458527450}" presName="negativeSpace" presStyleCnt="0"/>
      <dgm:spPr/>
    </dgm:pt>
    <dgm:pt modelId="{886D4DBB-F5E2-45D7-BEDB-C6AD57E356E6}" type="pres">
      <dgm:prSet presAssocID="{AD4EA25B-88E7-493F-9B36-684458527450}" presName="childText" presStyleLbl="conFgAcc1" presStyleIdx="3" presStyleCnt="6">
        <dgm:presLayoutVars>
          <dgm:bulletEnabled val="1"/>
        </dgm:presLayoutVars>
      </dgm:prSet>
      <dgm:spPr>
        <a:xfrm>
          <a:off x="0" y="2888253"/>
          <a:ext cx="6679335" cy="352800"/>
        </a:xfrm>
        <a:prstGeom prst="rect">
          <a:avLst/>
        </a:prstGeom>
      </dgm:spPr>
    </dgm:pt>
    <dgm:pt modelId="{9B08BD44-11CD-4F59-A0CF-DD1C8CEB478C}" type="pres">
      <dgm:prSet presAssocID="{051FE3A6-129D-4BF1-BC28-FDF570D732A3}" presName="spaceBetweenRectangles" presStyleCnt="0"/>
      <dgm:spPr/>
    </dgm:pt>
    <dgm:pt modelId="{A17F2C04-BD76-47D9-B446-FBCF2666D375}" type="pres">
      <dgm:prSet presAssocID="{D8AB4E5A-452D-4D0F-9DC5-1470470E057F}" presName="parentLin" presStyleCnt="0"/>
      <dgm:spPr/>
    </dgm:pt>
    <dgm:pt modelId="{4ABE0210-3A1B-46A4-8E45-BF2963439561}" type="pres">
      <dgm:prSet presAssocID="{D8AB4E5A-452D-4D0F-9DC5-1470470E057F}" presName="parentLeftMargin" presStyleLbl="node1" presStyleIdx="3" presStyleCnt="6"/>
      <dgm:spPr/>
    </dgm:pt>
    <dgm:pt modelId="{4B0339A8-DFFB-43E4-9368-DF7645AD808E}" type="pres">
      <dgm:prSet presAssocID="{D8AB4E5A-452D-4D0F-9DC5-1470470E057F}" presName="parentText" presStyleLbl="node1" presStyleIdx="4" presStyleCnt="6" custScaleX="124981" custScaleY="130860">
        <dgm:presLayoutVars>
          <dgm:chMax val="0"/>
          <dgm:bulletEnabled val="1"/>
        </dgm:presLayoutVars>
      </dgm:prSet>
      <dgm:spPr/>
    </dgm:pt>
    <dgm:pt modelId="{73182633-7F56-416B-940A-CE5F96FB0347}" type="pres">
      <dgm:prSet presAssocID="{D8AB4E5A-452D-4D0F-9DC5-1470470E057F}" presName="negativeSpace" presStyleCnt="0"/>
      <dgm:spPr/>
    </dgm:pt>
    <dgm:pt modelId="{F7EDB615-C14F-495F-B4E0-B19299C5BB3A}" type="pres">
      <dgm:prSet presAssocID="{D8AB4E5A-452D-4D0F-9DC5-1470470E057F}" presName="childText" presStyleLbl="conFgAcc1" presStyleIdx="4" presStyleCnt="6">
        <dgm:presLayoutVars>
          <dgm:bulletEnabled val="1"/>
        </dgm:presLayoutVars>
      </dgm:prSet>
      <dgm:spPr>
        <a:xfrm>
          <a:off x="0" y="3650831"/>
          <a:ext cx="6679335" cy="352800"/>
        </a:xfrm>
        <a:prstGeom prst="rect">
          <a:avLst/>
        </a:prstGeom>
      </dgm:spPr>
    </dgm:pt>
    <dgm:pt modelId="{B091500B-C9C2-410F-BE2C-AFCFEB3B120B}" type="pres">
      <dgm:prSet presAssocID="{3123121D-E841-4240-A9C0-A640F27DDD93}" presName="spaceBetweenRectangles" presStyleCnt="0"/>
      <dgm:spPr/>
    </dgm:pt>
    <dgm:pt modelId="{5A324EBF-7A88-4889-AFB9-F8C5654FEBAF}" type="pres">
      <dgm:prSet presAssocID="{ACA2EA7D-48FB-452B-BDAC-9B157E4538E2}" presName="parentLin" presStyleCnt="0"/>
      <dgm:spPr/>
    </dgm:pt>
    <dgm:pt modelId="{F15F69AB-26C2-4B7B-B711-C8C7A8940A0D}" type="pres">
      <dgm:prSet presAssocID="{ACA2EA7D-48FB-452B-BDAC-9B157E4538E2}" presName="parentLeftMargin" presStyleLbl="node1" presStyleIdx="4" presStyleCnt="6"/>
      <dgm:spPr/>
    </dgm:pt>
    <dgm:pt modelId="{81495C1D-FD76-47FB-A523-FAFB98DB7852}" type="pres">
      <dgm:prSet presAssocID="{ACA2EA7D-48FB-452B-BDAC-9B157E4538E2}" presName="parentText" presStyleLbl="node1" presStyleIdx="5" presStyleCnt="6" custScaleX="124981" custScaleY="130860">
        <dgm:presLayoutVars>
          <dgm:chMax val="0"/>
          <dgm:bulletEnabled val="1"/>
        </dgm:presLayoutVars>
      </dgm:prSet>
      <dgm:spPr/>
    </dgm:pt>
    <dgm:pt modelId="{657CE2A5-AFE4-4AAF-B25E-5D52AEA380A9}" type="pres">
      <dgm:prSet presAssocID="{ACA2EA7D-48FB-452B-BDAC-9B157E4538E2}" presName="negativeSpace" presStyleCnt="0"/>
      <dgm:spPr/>
    </dgm:pt>
    <dgm:pt modelId="{399C60C7-F801-4906-A7F2-E42FE4063A69}" type="pres">
      <dgm:prSet presAssocID="{ACA2EA7D-48FB-452B-BDAC-9B157E4538E2}" presName="childText" presStyleLbl="conFgAcc1" presStyleIdx="5" presStyleCnt="6">
        <dgm:presLayoutVars>
          <dgm:bulletEnabled val="1"/>
        </dgm:presLayoutVars>
      </dgm:prSet>
      <dgm:spPr/>
    </dgm:pt>
  </dgm:ptLst>
  <dgm:cxnLst>
    <dgm:cxn modelId="{9B898D08-7007-4BBF-AA2D-5AF94C4C3444}" type="presOf" srcId="{BD7C5EE0-E57C-4E97-A496-0E7AC2D70FE4}" destId="{3BB94B19-04D0-4BB5-BD80-2B020E27CFAC}" srcOrd="0" destOrd="0" presId="urn:microsoft.com/office/officeart/2005/8/layout/list1"/>
    <dgm:cxn modelId="{1C702C0B-7B2D-4F74-8EDE-95CA79E45BBB}" srcId="{ACA2EA7D-48FB-452B-BDAC-9B157E4538E2}" destId="{2205EAC3-F467-4997-9786-E87ACFB23F26}" srcOrd="0" destOrd="0" parTransId="{0CB49AE5-5F17-48C6-8DF9-221209C69F28}" sibTransId="{3893643F-0F5A-4A9C-ABE4-0A0AC5F06854}"/>
    <dgm:cxn modelId="{D8B9251E-7B94-4A4A-8794-3BC00985E08F}" srcId="{ACA2EA7D-48FB-452B-BDAC-9B157E4538E2}" destId="{E3CB1BE9-30A0-4777-9F4A-B99B2C5A1E52}" srcOrd="2" destOrd="0" parTransId="{CD278D17-1F63-4CD0-A5E0-B3243155D86E}" sibTransId="{3914E92B-98FB-4292-991F-5B97CD504505}"/>
    <dgm:cxn modelId="{E62D0729-8832-4564-A716-9248A16289B4}" type="presOf" srcId="{ACA2EA7D-48FB-452B-BDAC-9B157E4538E2}" destId="{81495C1D-FD76-47FB-A523-FAFB98DB7852}" srcOrd="1" destOrd="0" presId="urn:microsoft.com/office/officeart/2005/8/layout/list1"/>
    <dgm:cxn modelId="{50B9223C-73AA-4394-ABEB-FF0B8452E3A6}" type="presOf" srcId="{D8AB4E5A-452D-4D0F-9DC5-1470470E057F}" destId="{4B0339A8-DFFB-43E4-9368-DF7645AD808E}" srcOrd="1" destOrd="0" presId="urn:microsoft.com/office/officeart/2005/8/layout/list1"/>
    <dgm:cxn modelId="{AFE45D43-6540-4CE7-A3E6-6B069FD83982}" type="presOf" srcId="{2205EAC3-F467-4997-9786-E87ACFB23F26}" destId="{399C60C7-F801-4906-A7F2-E42FE4063A69}" srcOrd="0" destOrd="0" presId="urn:microsoft.com/office/officeart/2005/8/layout/list1"/>
    <dgm:cxn modelId="{CCBEE051-9F72-4A44-A421-7B8CD8A60650}" type="presOf" srcId="{35B344F7-1CEA-4FDC-815E-1C52B3071930}" destId="{201E62B5-F159-4C97-A8B2-3A56FC91A427}" srcOrd="0" destOrd="0" presId="urn:microsoft.com/office/officeart/2005/8/layout/list1"/>
    <dgm:cxn modelId="{F0B8B973-C373-406A-BD32-156EE4050E67}" type="presOf" srcId="{AD4EA25B-88E7-493F-9B36-684458527450}" destId="{6AAB1AD2-911D-47B5-9E4F-2BFB9A4CB9F1}" srcOrd="1" destOrd="0" presId="urn:microsoft.com/office/officeart/2005/8/layout/list1"/>
    <dgm:cxn modelId="{DB00ED5A-9AE9-4DC0-9E71-E4DBAACDB00D}" srcId="{BFE07287-F6E6-440E-ABA9-D4472BEDA82A}" destId="{AD4EA25B-88E7-493F-9B36-684458527450}" srcOrd="3" destOrd="0" parTransId="{361EF5B3-B426-4E85-BBBB-F5AF8AB249AA}" sibTransId="{051FE3A6-129D-4BF1-BC28-FDF570D732A3}"/>
    <dgm:cxn modelId="{D396EF7A-9033-4A2B-962B-6979B18E3F02}" type="presOf" srcId="{D8AB4E5A-452D-4D0F-9DC5-1470470E057F}" destId="{4ABE0210-3A1B-46A4-8E45-BF2963439561}" srcOrd="0" destOrd="0" presId="urn:microsoft.com/office/officeart/2005/8/layout/list1"/>
    <dgm:cxn modelId="{9A0EAC7C-33DB-4C23-A728-AB69CE807243}" srcId="{BFE07287-F6E6-440E-ABA9-D4472BEDA82A}" destId="{EEEA09D4-0EC4-4AE6-B30A-DE7809B35F37}" srcOrd="2" destOrd="0" parTransId="{3E6CFB59-4522-43F9-A2EC-BA370BC09690}" sibTransId="{5356F45A-E70B-4383-A996-9FD358877E12}"/>
    <dgm:cxn modelId="{96C46086-912E-4934-8BD2-121BC44BB92D}" type="presOf" srcId="{BFE07287-F6E6-440E-ABA9-D4472BEDA82A}" destId="{F2319E56-B6BC-47F2-9CB8-95702E0A7EFA}" srcOrd="0" destOrd="0" presId="urn:microsoft.com/office/officeart/2005/8/layout/list1"/>
    <dgm:cxn modelId="{3842C98C-5F8E-4CE0-9C55-50DD2DC3DCD3}" type="presOf" srcId="{E92B3DEC-F58D-4FA1-AA57-F45C6687EF87}" destId="{399C60C7-F801-4906-A7F2-E42FE4063A69}" srcOrd="0" destOrd="1" presId="urn:microsoft.com/office/officeart/2005/8/layout/list1"/>
    <dgm:cxn modelId="{E76591AF-83CB-4416-AA4A-053B4A86B412}" type="presOf" srcId="{EEEA09D4-0EC4-4AE6-B30A-DE7809B35F37}" destId="{60EB1B66-CC24-4A09-AD93-9F934B738976}" srcOrd="1" destOrd="0" presId="urn:microsoft.com/office/officeart/2005/8/layout/list1"/>
    <dgm:cxn modelId="{8A35C0B4-8DDB-46C1-A853-F3EC9943EB48}" type="presOf" srcId="{BD7C5EE0-E57C-4E97-A496-0E7AC2D70FE4}" destId="{C3E3CCFF-C5C6-483C-9F7E-8BF07742EC0C}" srcOrd="1" destOrd="0" presId="urn:microsoft.com/office/officeart/2005/8/layout/list1"/>
    <dgm:cxn modelId="{4B5907B6-1A83-4D1F-AB6C-E88B8924F55B}" srcId="{BFE07287-F6E6-440E-ABA9-D4472BEDA82A}" destId="{BD7C5EE0-E57C-4E97-A496-0E7AC2D70FE4}" srcOrd="0" destOrd="0" parTransId="{E5B931A0-D4E0-4AC2-886C-99ED2A772D96}" sibTransId="{E919EED3-94AC-4100-A4E3-43F0EC9BAACF}"/>
    <dgm:cxn modelId="{1D9A20BC-C714-438F-AC20-05A67C2E5AA5}" srcId="{BFE07287-F6E6-440E-ABA9-D4472BEDA82A}" destId="{ACA2EA7D-48FB-452B-BDAC-9B157E4538E2}" srcOrd="5" destOrd="0" parTransId="{130449F3-322A-4C4B-BFA9-1E63375F78C5}" sibTransId="{D231F4B6-632F-4E1F-B348-1B4A162107DB}"/>
    <dgm:cxn modelId="{42FDDACC-32D8-44BE-A243-BDD99C6E497A}" type="presOf" srcId="{AD4EA25B-88E7-493F-9B36-684458527450}" destId="{89C4222A-F51D-4384-BEBB-DF0283E0D385}" srcOrd="0" destOrd="0" presId="urn:microsoft.com/office/officeart/2005/8/layout/list1"/>
    <dgm:cxn modelId="{52F0F9D0-D207-47B4-86EF-C436CB12D0A4}" srcId="{BFE07287-F6E6-440E-ABA9-D4472BEDA82A}" destId="{35B344F7-1CEA-4FDC-815E-1C52B3071930}" srcOrd="1" destOrd="0" parTransId="{9261381F-3114-4B84-A015-43F4EA28CC2E}" sibTransId="{90FD8ECD-9111-46AB-B725-F47763F34D21}"/>
    <dgm:cxn modelId="{46892DD1-59EF-46EE-9058-B42F4A314C21}" type="presOf" srcId="{EEEA09D4-0EC4-4AE6-B30A-DE7809B35F37}" destId="{7A5F0983-F319-49CE-AEC0-548053BA9F06}" srcOrd="0" destOrd="0" presId="urn:microsoft.com/office/officeart/2005/8/layout/list1"/>
    <dgm:cxn modelId="{A55681D3-21E9-42B1-8232-73EE9DB6C98B}" type="presOf" srcId="{E3CB1BE9-30A0-4777-9F4A-B99B2C5A1E52}" destId="{399C60C7-F801-4906-A7F2-E42FE4063A69}" srcOrd="0" destOrd="2" presId="urn:microsoft.com/office/officeart/2005/8/layout/list1"/>
    <dgm:cxn modelId="{6B253CE5-1153-4BFE-B3F9-87C0B14DBDE7}" type="presOf" srcId="{ACA2EA7D-48FB-452B-BDAC-9B157E4538E2}" destId="{F15F69AB-26C2-4B7B-B711-C8C7A8940A0D}" srcOrd="0" destOrd="0" presId="urn:microsoft.com/office/officeart/2005/8/layout/list1"/>
    <dgm:cxn modelId="{C900C9EE-2A5C-4FE2-8981-66BDA7C99DD0}" srcId="{ACA2EA7D-48FB-452B-BDAC-9B157E4538E2}" destId="{E92B3DEC-F58D-4FA1-AA57-F45C6687EF87}" srcOrd="1" destOrd="0" parTransId="{291DE175-5988-4507-8027-30677735FC9E}" sibTransId="{E42FB0A0-9C73-42C4-A3E9-055E1620C8E9}"/>
    <dgm:cxn modelId="{F95E64F7-45B3-4749-BC57-E1A7B194C49B}" srcId="{BFE07287-F6E6-440E-ABA9-D4472BEDA82A}" destId="{D8AB4E5A-452D-4D0F-9DC5-1470470E057F}" srcOrd="4" destOrd="0" parTransId="{E519AAE3-73D7-40C5-A9E6-A5D43E44BD4C}" sibTransId="{3123121D-E841-4240-A9C0-A640F27DDD93}"/>
    <dgm:cxn modelId="{C7FA88F7-D1BE-4647-91FF-F7E406160B5F}" type="presOf" srcId="{35B344F7-1CEA-4FDC-815E-1C52B3071930}" destId="{1CC27B5B-B892-4017-A72A-BD4D64F3651B}" srcOrd="1" destOrd="0" presId="urn:microsoft.com/office/officeart/2005/8/layout/list1"/>
    <dgm:cxn modelId="{E9E94E1C-98BB-4A5C-B69F-06C7A55FB49C}" type="presParOf" srcId="{F2319E56-B6BC-47F2-9CB8-95702E0A7EFA}" destId="{865699F5-C302-4B65-A648-1C7C7EDA057C}" srcOrd="0" destOrd="0" presId="urn:microsoft.com/office/officeart/2005/8/layout/list1"/>
    <dgm:cxn modelId="{BE66824B-47C7-4C97-A5DC-117321D65412}" type="presParOf" srcId="{865699F5-C302-4B65-A648-1C7C7EDA057C}" destId="{3BB94B19-04D0-4BB5-BD80-2B020E27CFAC}" srcOrd="0" destOrd="0" presId="urn:microsoft.com/office/officeart/2005/8/layout/list1"/>
    <dgm:cxn modelId="{51A39117-4BD2-4468-BF8F-25AA045220A7}" type="presParOf" srcId="{865699F5-C302-4B65-A648-1C7C7EDA057C}" destId="{C3E3CCFF-C5C6-483C-9F7E-8BF07742EC0C}" srcOrd="1" destOrd="0" presId="urn:microsoft.com/office/officeart/2005/8/layout/list1"/>
    <dgm:cxn modelId="{05E50687-62F6-4B98-95A3-6461DCA5D5B6}" type="presParOf" srcId="{F2319E56-B6BC-47F2-9CB8-95702E0A7EFA}" destId="{AE32B78D-7305-437A-B24B-318B64DCC383}" srcOrd="1" destOrd="0" presId="urn:microsoft.com/office/officeart/2005/8/layout/list1"/>
    <dgm:cxn modelId="{BD246A45-5FA8-4D25-94BA-0AED1B5AB8A8}" type="presParOf" srcId="{F2319E56-B6BC-47F2-9CB8-95702E0A7EFA}" destId="{805C92F6-58CF-4500-A9B2-F5CFD21F56E5}" srcOrd="2" destOrd="0" presId="urn:microsoft.com/office/officeart/2005/8/layout/list1"/>
    <dgm:cxn modelId="{18D18BE8-38C0-4ED9-B89D-2D3C892F3B25}" type="presParOf" srcId="{F2319E56-B6BC-47F2-9CB8-95702E0A7EFA}" destId="{2E755A0A-BEAC-4B17-8784-40DC76D19857}" srcOrd="3" destOrd="0" presId="urn:microsoft.com/office/officeart/2005/8/layout/list1"/>
    <dgm:cxn modelId="{D6601E70-0446-4E31-AA67-EE8B64E8E511}" type="presParOf" srcId="{F2319E56-B6BC-47F2-9CB8-95702E0A7EFA}" destId="{76FB3AFA-421A-4EFD-BA0D-F078D5B4A81B}" srcOrd="4" destOrd="0" presId="urn:microsoft.com/office/officeart/2005/8/layout/list1"/>
    <dgm:cxn modelId="{CE00C6EE-DA0B-4519-BFC6-DF87F3385CCA}" type="presParOf" srcId="{76FB3AFA-421A-4EFD-BA0D-F078D5B4A81B}" destId="{201E62B5-F159-4C97-A8B2-3A56FC91A427}" srcOrd="0" destOrd="0" presId="urn:microsoft.com/office/officeart/2005/8/layout/list1"/>
    <dgm:cxn modelId="{CB69E6B7-04F1-488A-9345-86A5B717DE2B}" type="presParOf" srcId="{76FB3AFA-421A-4EFD-BA0D-F078D5B4A81B}" destId="{1CC27B5B-B892-4017-A72A-BD4D64F3651B}" srcOrd="1" destOrd="0" presId="urn:microsoft.com/office/officeart/2005/8/layout/list1"/>
    <dgm:cxn modelId="{44109F45-FEBE-4A67-A7F0-42A3DB406A7E}" type="presParOf" srcId="{F2319E56-B6BC-47F2-9CB8-95702E0A7EFA}" destId="{45016982-E926-43DB-ADBB-56D71C0317CD}" srcOrd="5" destOrd="0" presId="urn:microsoft.com/office/officeart/2005/8/layout/list1"/>
    <dgm:cxn modelId="{838307FD-9405-43B2-8508-3C5B6EE5424D}" type="presParOf" srcId="{F2319E56-B6BC-47F2-9CB8-95702E0A7EFA}" destId="{0DBB5B29-DEA1-4361-B0A9-892B87661E54}" srcOrd="6" destOrd="0" presId="urn:microsoft.com/office/officeart/2005/8/layout/list1"/>
    <dgm:cxn modelId="{69DFE0C4-0090-45B3-AE16-CF2AA4ADD6CD}" type="presParOf" srcId="{F2319E56-B6BC-47F2-9CB8-95702E0A7EFA}" destId="{6F8976C8-7A77-43CD-AEFB-500568256502}" srcOrd="7" destOrd="0" presId="urn:microsoft.com/office/officeart/2005/8/layout/list1"/>
    <dgm:cxn modelId="{DF708092-5A31-4823-84E3-1D39036F42E7}" type="presParOf" srcId="{F2319E56-B6BC-47F2-9CB8-95702E0A7EFA}" destId="{5673DDEB-EFD3-4FD7-A0FB-E2AF8A0B61A0}" srcOrd="8" destOrd="0" presId="urn:microsoft.com/office/officeart/2005/8/layout/list1"/>
    <dgm:cxn modelId="{7A83C3DA-2EEA-4916-9543-632666E6F8B8}" type="presParOf" srcId="{5673DDEB-EFD3-4FD7-A0FB-E2AF8A0B61A0}" destId="{7A5F0983-F319-49CE-AEC0-548053BA9F06}" srcOrd="0" destOrd="0" presId="urn:microsoft.com/office/officeart/2005/8/layout/list1"/>
    <dgm:cxn modelId="{6485CF59-30F2-4964-8298-84E35EC8AA1D}" type="presParOf" srcId="{5673DDEB-EFD3-4FD7-A0FB-E2AF8A0B61A0}" destId="{60EB1B66-CC24-4A09-AD93-9F934B738976}" srcOrd="1" destOrd="0" presId="urn:microsoft.com/office/officeart/2005/8/layout/list1"/>
    <dgm:cxn modelId="{A04BA9A6-5580-4C14-A3C2-D7DF4B47656D}" type="presParOf" srcId="{F2319E56-B6BC-47F2-9CB8-95702E0A7EFA}" destId="{183528A3-C49A-49D6-8C43-BC20A0DD47C7}" srcOrd="9" destOrd="0" presId="urn:microsoft.com/office/officeart/2005/8/layout/list1"/>
    <dgm:cxn modelId="{80630EAF-7E2A-4549-88DE-DFB26708FC17}" type="presParOf" srcId="{F2319E56-B6BC-47F2-9CB8-95702E0A7EFA}" destId="{DE14FD35-F502-4795-A370-682505109CDB}" srcOrd="10" destOrd="0" presId="urn:microsoft.com/office/officeart/2005/8/layout/list1"/>
    <dgm:cxn modelId="{9FDE6E3B-A765-491E-A5E5-AFBF422CBAA8}" type="presParOf" srcId="{F2319E56-B6BC-47F2-9CB8-95702E0A7EFA}" destId="{08115E60-92E9-41D0-AD7C-13034CC9FFBC}" srcOrd="11" destOrd="0" presId="urn:microsoft.com/office/officeart/2005/8/layout/list1"/>
    <dgm:cxn modelId="{3B5506AF-9AF1-4369-B85A-B7BBE056015B}" type="presParOf" srcId="{F2319E56-B6BC-47F2-9CB8-95702E0A7EFA}" destId="{2D032793-ACB0-4FD3-BC56-E1ADBFE698EF}" srcOrd="12" destOrd="0" presId="urn:microsoft.com/office/officeart/2005/8/layout/list1"/>
    <dgm:cxn modelId="{3BC75DED-2D83-4B1A-BF85-B38C0E8C9E65}" type="presParOf" srcId="{2D032793-ACB0-4FD3-BC56-E1ADBFE698EF}" destId="{89C4222A-F51D-4384-BEBB-DF0283E0D385}" srcOrd="0" destOrd="0" presId="urn:microsoft.com/office/officeart/2005/8/layout/list1"/>
    <dgm:cxn modelId="{3F066A1E-B511-4913-8C0D-C5B567A1834C}" type="presParOf" srcId="{2D032793-ACB0-4FD3-BC56-E1ADBFE698EF}" destId="{6AAB1AD2-911D-47B5-9E4F-2BFB9A4CB9F1}" srcOrd="1" destOrd="0" presId="urn:microsoft.com/office/officeart/2005/8/layout/list1"/>
    <dgm:cxn modelId="{8FCC10DC-486C-452C-BEE3-05B9984B924C}" type="presParOf" srcId="{F2319E56-B6BC-47F2-9CB8-95702E0A7EFA}" destId="{C3830EDF-A670-44AD-BB76-A6EF0D593DDA}" srcOrd="13" destOrd="0" presId="urn:microsoft.com/office/officeart/2005/8/layout/list1"/>
    <dgm:cxn modelId="{3C5D1E84-B304-4E1F-82A3-54E4D83EA13C}" type="presParOf" srcId="{F2319E56-B6BC-47F2-9CB8-95702E0A7EFA}" destId="{886D4DBB-F5E2-45D7-BEDB-C6AD57E356E6}" srcOrd="14" destOrd="0" presId="urn:microsoft.com/office/officeart/2005/8/layout/list1"/>
    <dgm:cxn modelId="{2F23DE0F-6404-480A-9CEE-ED372FB7B5DB}" type="presParOf" srcId="{F2319E56-B6BC-47F2-9CB8-95702E0A7EFA}" destId="{9B08BD44-11CD-4F59-A0CF-DD1C8CEB478C}" srcOrd="15" destOrd="0" presId="urn:microsoft.com/office/officeart/2005/8/layout/list1"/>
    <dgm:cxn modelId="{7BB43B2C-6B13-401A-955F-E45BE4BF3AA3}" type="presParOf" srcId="{F2319E56-B6BC-47F2-9CB8-95702E0A7EFA}" destId="{A17F2C04-BD76-47D9-B446-FBCF2666D375}" srcOrd="16" destOrd="0" presId="urn:microsoft.com/office/officeart/2005/8/layout/list1"/>
    <dgm:cxn modelId="{0013DDCA-2A2B-4B31-983F-94E2DEF55633}" type="presParOf" srcId="{A17F2C04-BD76-47D9-B446-FBCF2666D375}" destId="{4ABE0210-3A1B-46A4-8E45-BF2963439561}" srcOrd="0" destOrd="0" presId="urn:microsoft.com/office/officeart/2005/8/layout/list1"/>
    <dgm:cxn modelId="{2161C0C7-0474-4EE4-A947-38BB6B937EFE}" type="presParOf" srcId="{A17F2C04-BD76-47D9-B446-FBCF2666D375}" destId="{4B0339A8-DFFB-43E4-9368-DF7645AD808E}" srcOrd="1" destOrd="0" presId="urn:microsoft.com/office/officeart/2005/8/layout/list1"/>
    <dgm:cxn modelId="{23CF9CC3-92A0-4914-9C16-135DBD8CE27C}" type="presParOf" srcId="{F2319E56-B6BC-47F2-9CB8-95702E0A7EFA}" destId="{73182633-7F56-416B-940A-CE5F96FB0347}" srcOrd="17" destOrd="0" presId="urn:microsoft.com/office/officeart/2005/8/layout/list1"/>
    <dgm:cxn modelId="{9BF60355-B30B-4839-96EE-B582A525E6C6}" type="presParOf" srcId="{F2319E56-B6BC-47F2-9CB8-95702E0A7EFA}" destId="{F7EDB615-C14F-495F-B4E0-B19299C5BB3A}" srcOrd="18" destOrd="0" presId="urn:microsoft.com/office/officeart/2005/8/layout/list1"/>
    <dgm:cxn modelId="{5F7E1914-0A87-43D4-8693-033A897D97B3}" type="presParOf" srcId="{F2319E56-B6BC-47F2-9CB8-95702E0A7EFA}" destId="{B091500B-C9C2-410F-BE2C-AFCFEB3B120B}" srcOrd="19" destOrd="0" presId="urn:microsoft.com/office/officeart/2005/8/layout/list1"/>
    <dgm:cxn modelId="{D5948BDB-E575-44B5-969A-2E05D49A2BFB}" type="presParOf" srcId="{F2319E56-B6BC-47F2-9CB8-95702E0A7EFA}" destId="{5A324EBF-7A88-4889-AFB9-F8C5654FEBAF}" srcOrd="20" destOrd="0" presId="urn:microsoft.com/office/officeart/2005/8/layout/list1"/>
    <dgm:cxn modelId="{74202403-CA00-4AB7-9B48-AB6863113EA7}" type="presParOf" srcId="{5A324EBF-7A88-4889-AFB9-F8C5654FEBAF}" destId="{F15F69AB-26C2-4B7B-B711-C8C7A8940A0D}" srcOrd="0" destOrd="0" presId="urn:microsoft.com/office/officeart/2005/8/layout/list1"/>
    <dgm:cxn modelId="{D729BEFC-D6A4-45A4-93A7-083744C0F536}" type="presParOf" srcId="{5A324EBF-7A88-4889-AFB9-F8C5654FEBAF}" destId="{81495C1D-FD76-47FB-A523-FAFB98DB7852}" srcOrd="1" destOrd="0" presId="urn:microsoft.com/office/officeart/2005/8/layout/list1"/>
    <dgm:cxn modelId="{23548543-E1D9-45BC-B28B-D8F5F2EE63DE}" type="presParOf" srcId="{F2319E56-B6BC-47F2-9CB8-95702E0A7EFA}" destId="{657CE2A5-AFE4-4AAF-B25E-5D52AEA380A9}" srcOrd="21" destOrd="0" presId="urn:microsoft.com/office/officeart/2005/8/layout/list1"/>
    <dgm:cxn modelId="{AF90AD65-F579-47B3-B0B0-0747DA644A30}" type="presParOf" srcId="{F2319E56-B6BC-47F2-9CB8-95702E0A7EFA}" destId="{399C60C7-F801-4906-A7F2-E42FE4063A69}" srcOrd="2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2D27153-23CA-4125-B991-EABD0667E44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1BEEF1B-57EB-4FBE-9826-B61CD2C4B726}">
      <dgm:prSet/>
      <dgm:spPr>
        <a:xfrm>
          <a:off x="554509" y="103555"/>
          <a:ext cx="7763133" cy="531360"/>
        </a:xfrm>
        <a:prstGeom prst="roundRect">
          <a:avLst/>
        </a:prstGeom>
      </dgm:spPr>
      <dgm:t>
        <a:bodyPr/>
        <a:lstStyle/>
        <a:p>
          <a:pPr>
            <a:buNone/>
          </a:pPr>
          <a:r>
            <a:rPr lang="en-US">
              <a:latin typeface="Segoe UI"/>
              <a:ea typeface="+mn-ea"/>
              <a:cs typeface="+mn-cs"/>
            </a:rPr>
            <a:t>Azure Monitor logs</a:t>
          </a:r>
        </a:p>
      </dgm:t>
    </dgm:pt>
    <dgm:pt modelId="{B741FBFB-EA1F-477A-B66D-C4F100EE7694}" type="parTrans" cxnId="{4AF48895-5542-414F-A37E-6529D5CA4AC8}">
      <dgm:prSet/>
      <dgm:spPr/>
      <dgm:t>
        <a:bodyPr/>
        <a:lstStyle/>
        <a:p>
          <a:endParaRPr lang="en-US"/>
        </a:p>
      </dgm:t>
    </dgm:pt>
    <dgm:pt modelId="{AA68EA4E-7FFB-442F-8920-DBB7A369D335}" type="sibTrans" cxnId="{4AF48895-5542-414F-A37E-6529D5CA4AC8}">
      <dgm:prSet/>
      <dgm:spPr/>
      <dgm:t>
        <a:bodyPr/>
        <a:lstStyle/>
        <a:p>
          <a:endParaRPr lang="en-US"/>
        </a:p>
      </dgm:t>
    </dgm:pt>
    <dgm:pt modelId="{05705FAD-0092-4410-8F15-B46FA998AAEF}">
      <dgm:prSet/>
      <dgm:spPr>
        <a:xfrm>
          <a:off x="0" y="369235"/>
          <a:ext cx="11090190" cy="779625"/>
        </a:xfrm>
        <a:prstGeom prst="rect">
          <a:avLst/>
        </a:prstGeom>
      </dgm:spPr>
      <dgm:t>
        <a:bodyPr/>
        <a:lstStyle/>
        <a:p>
          <a:pPr>
            <a:buChar char="•"/>
          </a:pPr>
          <a:r>
            <a:rPr lang="en-US">
              <a:latin typeface="Segoe UI"/>
              <a:ea typeface="+mn-ea"/>
              <a:cs typeface="+mn-cs"/>
            </a:rPr>
            <a:t>Azure portal</a:t>
          </a:r>
        </a:p>
      </dgm:t>
    </dgm:pt>
    <dgm:pt modelId="{0B7C3386-8286-4C14-9FE3-B0A35CC3017A}" type="parTrans" cxnId="{F71D5101-ED87-488E-8CA8-FBB5352FB3E6}">
      <dgm:prSet/>
      <dgm:spPr/>
      <dgm:t>
        <a:bodyPr/>
        <a:lstStyle/>
        <a:p>
          <a:endParaRPr lang="en-US"/>
        </a:p>
      </dgm:t>
    </dgm:pt>
    <dgm:pt modelId="{A7E4ED00-523F-4FF4-885B-445DB18568C0}" type="sibTrans" cxnId="{F71D5101-ED87-488E-8CA8-FBB5352FB3E6}">
      <dgm:prSet/>
      <dgm:spPr/>
      <dgm:t>
        <a:bodyPr/>
        <a:lstStyle/>
        <a:p>
          <a:endParaRPr lang="en-US"/>
        </a:p>
      </dgm:t>
    </dgm:pt>
    <dgm:pt modelId="{03B39D06-850B-4493-8951-CDA0FBF030E6}">
      <dgm:prSet/>
      <dgm:spPr>
        <a:xfrm>
          <a:off x="554509" y="1246060"/>
          <a:ext cx="7763133" cy="531360"/>
        </a:xfrm>
        <a:prstGeom prst="roundRect">
          <a:avLst/>
        </a:prstGeom>
      </dgm:spPr>
      <dgm:t>
        <a:bodyPr/>
        <a:lstStyle/>
        <a:p>
          <a:pPr>
            <a:buNone/>
          </a:pPr>
          <a:r>
            <a:rPr lang="en-US">
              <a:latin typeface="Segoe UI"/>
              <a:ea typeface="+mn-ea"/>
              <a:cs typeface="+mn-cs"/>
            </a:rPr>
            <a:t>Event Hub</a:t>
          </a:r>
        </a:p>
      </dgm:t>
    </dgm:pt>
    <dgm:pt modelId="{304CC6C5-82C9-450E-AD7E-39AA757E6535}" type="parTrans" cxnId="{688EBFB7-10ED-4E19-96B1-9307849C33E7}">
      <dgm:prSet/>
      <dgm:spPr/>
      <dgm:t>
        <a:bodyPr/>
        <a:lstStyle/>
        <a:p>
          <a:endParaRPr lang="en-US"/>
        </a:p>
      </dgm:t>
    </dgm:pt>
    <dgm:pt modelId="{3C5C1B20-7889-492C-A85D-5877B88420B8}" type="sibTrans" cxnId="{688EBFB7-10ED-4E19-96B1-9307849C33E7}">
      <dgm:prSet/>
      <dgm:spPr/>
      <dgm:t>
        <a:bodyPr/>
        <a:lstStyle/>
        <a:p>
          <a:endParaRPr lang="en-US"/>
        </a:p>
      </dgm:t>
    </dgm:pt>
    <dgm:pt modelId="{E9131B02-9FBC-498A-8538-50943F8A8BFD}">
      <dgm:prSet/>
      <dgm:spPr>
        <a:xfrm>
          <a:off x="0" y="1511740"/>
          <a:ext cx="11090190" cy="779625"/>
        </a:xfrm>
        <a:prstGeom prst="rect">
          <a:avLst/>
        </a:prstGeom>
      </dgm:spPr>
      <dgm:t>
        <a:bodyPr/>
        <a:lstStyle/>
        <a:p>
          <a:pPr>
            <a:buChar char="•"/>
          </a:pPr>
          <a:r>
            <a:rPr lang="en-US">
              <a:latin typeface="Segoe UI"/>
              <a:ea typeface="+mn-ea"/>
              <a:cs typeface="+mn-cs"/>
            </a:rPr>
            <a:t>Avro Tools or similar tools</a:t>
          </a:r>
        </a:p>
      </dgm:t>
    </dgm:pt>
    <dgm:pt modelId="{266C830F-335B-4CD2-BAF9-05E5FF6E336A}" type="parTrans" cxnId="{45C74BA9-F38D-41A7-906E-E90A74BFF5E5}">
      <dgm:prSet/>
      <dgm:spPr/>
      <dgm:t>
        <a:bodyPr/>
        <a:lstStyle/>
        <a:p>
          <a:endParaRPr lang="en-US"/>
        </a:p>
      </dgm:t>
    </dgm:pt>
    <dgm:pt modelId="{D972E00B-34C2-411D-BCDC-626D6194FC7B}" type="sibTrans" cxnId="{45C74BA9-F38D-41A7-906E-E90A74BFF5E5}">
      <dgm:prSet/>
      <dgm:spPr/>
      <dgm:t>
        <a:bodyPr/>
        <a:lstStyle/>
        <a:p>
          <a:endParaRPr lang="en-US"/>
        </a:p>
      </dgm:t>
    </dgm:pt>
    <dgm:pt modelId="{BC2790AC-D8AA-4689-A9E0-22C0C8D27BD2}">
      <dgm:prSet/>
      <dgm:spPr>
        <a:xfrm>
          <a:off x="554509" y="2388566"/>
          <a:ext cx="7763133" cy="531360"/>
        </a:xfrm>
        <a:prstGeom prst="roundRect">
          <a:avLst/>
        </a:prstGeom>
      </dgm:spPr>
      <dgm:t>
        <a:bodyPr/>
        <a:lstStyle/>
        <a:p>
          <a:pPr>
            <a:buNone/>
          </a:pPr>
          <a:r>
            <a:rPr lang="en-US">
              <a:latin typeface="Segoe UI"/>
              <a:ea typeface="+mn-ea"/>
              <a:cs typeface="+mn-cs"/>
            </a:rPr>
            <a:t>Azure storage account</a:t>
          </a:r>
        </a:p>
      </dgm:t>
    </dgm:pt>
    <dgm:pt modelId="{BE4DE0D0-92F0-48C8-9F74-AE97CFD3EE5B}" type="parTrans" cxnId="{28C302CD-BB24-4802-86C0-7270B0276308}">
      <dgm:prSet/>
      <dgm:spPr/>
      <dgm:t>
        <a:bodyPr/>
        <a:lstStyle/>
        <a:p>
          <a:endParaRPr lang="en-US"/>
        </a:p>
      </dgm:t>
    </dgm:pt>
    <dgm:pt modelId="{F4C80689-D638-41A8-9C85-1C9C2697968E}" type="sibTrans" cxnId="{28C302CD-BB24-4802-86C0-7270B0276308}">
      <dgm:prSet/>
      <dgm:spPr/>
      <dgm:t>
        <a:bodyPr/>
        <a:lstStyle/>
        <a:p>
          <a:endParaRPr lang="en-US"/>
        </a:p>
      </dgm:t>
    </dgm:pt>
    <dgm:pt modelId="{A2351342-ED2C-4538-93EE-5843995F36AD}">
      <dgm:prSet/>
      <dgm:spPr>
        <a:xfrm>
          <a:off x="0" y="2654246"/>
          <a:ext cx="11090190" cy="2097900"/>
        </a:xfrm>
        <a:prstGeom prst="rect">
          <a:avLst/>
        </a:prstGeom>
      </dgm:spPr>
      <dgm:t>
        <a:bodyPr/>
        <a:lstStyle/>
        <a:p>
          <a:pPr>
            <a:buChar char="•"/>
          </a:pPr>
          <a:r>
            <a:rPr lang="en-US" b="0">
              <a:latin typeface="Segoe UI"/>
              <a:ea typeface="+mn-ea"/>
              <a:cs typeface="+mn-cs"/>
            </a:rPr>
            <a:t>Azure Storage Explorer</a:t>
          </a:r>
        </a:p>
      </dgm:t>
    </dgm:pt>
    <dgm:pt modelId="{92FACBBA-E59D-46B4-88AC-00C0DEB8F807}" type="parTrans" cxnId="{64A2E1C0-D244-4B74-ABD4-E908BA8CA62D}">
      <dgm:prSet/>
      <dgm:spPr/>
      <dgm:t>
        <a:bodyPr/>
        <a:lstStyle/>
        <a:p>
          <a:endParaRPr lang="en-US"/>
        </a:p>
      </dgm:t>
    </dgm:pt>
    <dgm:pt modelId="{F3387AEF-00C1-453E-82E2-8A0408D29877}" type="sibTrans" cxnId="{64A2E1C0-D244-4B74-ABD4-E908BA8CA62D}">
      <dgm:prSet/>
      <dgm:spPr/>
      <dgm:t>
        <a:bodyPr/>
        <a:lstStyle/>
        <a:p>
          <a:endParaRPr lang="en-US"/>
        </a:p>
      </dgm:t>
    </dgm:pt>
    <dgm:pt modelId="{3596B82D-C166-4CC6-B222-1749DD0BABF2}">
      <dgm:prSet/>
      <dgm:spPr>
        <a:xfrm>
          <a:off x="0" y="2654246"/>
          <a:ext cx="11090190" cy="2097900"/>
        </a:xfrm>
        <a:prstGeom prst="rect">
          <a:avLst/>
        </a:prstGeom>
      </dgm:spPr>
      <dgm:t>
        <a:bodyPr/>
        <a:lstStyle/>
        <a:p>
          <a:pPr>
            <a:buChar char="•"/>
          </a:pPr>
          <a:r>
            <a:rPr lang="en-US" b="0">
              <a:latin typeface="Segoe UI"/>
              <a:ea typeface="+mn-ea"/>
              <a:cs typeface="+mn-cs"/>
            </a:rPr>
            <a:t>SQL Server Management Studio (SSMS)</a:t>
          </a:r>
        </a:p>
      </dgm:t>
    </dgm:pt>
    <dgm:pt modelId="{0F3DF899-5BDB-492D-A73F-F146D171A56D}" type="parTrans" cxnId="{B68D46C5-2522-45DB-909D-EF40B01EB890}">
      <dgm:prSet/>
      <dgm:spPr/>
      <dgm:t>
        <a:bodyPr/>
        <a:lstStyle/>
        <a:p>
          <a:endParaRPr lang="en-US"/>
        </a:p>
      </dgm:t>
    </dgm:pt>
    <dgm:pt modelId="{FBA2BDA6-40CA-4CEA-A498-D7017BC840D2}" type="sibTrans" cxnId="{B68D46C5-2522-45DB-909D-EF40B01EB890}">
      <dgm:prSet/>
      <dgm:spPr/>
      <dgm:t>
        <a:bodyPr/>
        <a:lstStyle/>
        <a:p>
          <a:endParaRPr lang="en-US"/>
        </a:p>
      </dgm:t>
    </dgm:pt>
    <dgm:pt modelId="{B204C829-6CBE-4788-B534-CED4E0EDEA2E}">
      <dgm:prSet/>
      <dgm:spPr>
        <a:xfrm>
          <a:off x="0" y="2654246"/>
          <a:ext cx="11090190" cy="2097900"/>
        </a:xfrm>
        <a:prstGeom prst="rect">
          <a:avLst/>
        </a:prstGeom>
      </dgm:spPr>
      <dgm:t>
        <a:bodyPr/>
        <a:lstStyle/>
        <a:p>
          <a:pPr>
            <a:buChar char="•"/>
          </a:pPr>
          <a:r>
            <a:rPr lang="en-US" b="0">
              <a:latin typeface="Segoe UI"/>
              <a:ea typeface="+mn-ea"/>
              <a:cs typeface="+mn-cs"/>
            </a:rPr>
            <a:t>PowerShell</a:t>
          </a:r>
        </a:p>
      </dgm:t>
    </dgm:pt>
    <dgm:pt modelId="{7A35A0CB-807E-4EA5-B87B-80D4BC7B9617}" type="parTrans" cxnId="{E0290B28-DC5D-44A6-8BCA-E200D6835E9A}">
      <dgm:prSet/>
      <dgm:spPr/>
      <dgm:t>
        <a:bodyPr/>
        <a:lstStyle/>
        <a:p>
          <a:endParaRPr lang="en-US"/>
        </a:p>
      </dgm:t>
    </dgm:pt>
    <dgm:pt modelId="{7DB467BA-A71A-4087-BFFC-D323E8B78DF1}" type="sibTrans" cxnId="{E0290B28-DC5D-44A6-8BCA-E200D6835E9A}">
      <dgm:prSet/>
      <dgm:spPr/>
      <dgm:t>
        <a:bodyPr/>
        <a:lstStyle/>
        <a:p>
          <a:endParaRPr lang="en-US"/>
        </a:p>
      </dgm:t>
    </dgm:pt>
    <dgm:pt modelId="{71B2FE7B-7507-441C-9061-D80F8FCD47E7}">
      <dgm:prSet/>
      <dgm:spPr>
        <a:xfrm>
          <a:off x="0" y="2654246"/>
          <a:ext cx="11090190" cy="2097900"/>
        </a:xfrm>
        <a:prstGeom prst="rect">
          <a:avLst/>
        </a:prstGeom>
      </dgm:spPr>
      <dgm:t>
        <a:bodyPr/>
        <a:lstStyle/>
        <a:p>
          <a:pPr>
            <a:buChar char="•"/>
          </a:pPr>
          <a:r>
            <a:rPr lang="en-US" b="0">
              <a:latin typeface="Segoe UI"/>
              <a:ea typeface="+mn-ea"/>
              <a:cs typeface="+mn-cs"/>
            </a:rPr>
            <a:t>Azure portal</a:t>
          </a:r>
        </a:p>
      </dgm:t>
    </dgm:pt>
    <dgm:pt modelId="{8C1AC5DE-C29D-4FE3-A829-864B69B523C6}" type="parTrans" cxnId="{734D1FD3-2C3B-43D2-81D2-2B553BA28A7C}">
      <dgm:prSet/>
      <dgm:spPr/>
      <dgm:t>
        <a:bodyPr/>
        <a:lstStyle/>
        <a:p>
          <a:endParaRPr lang="en-US"/>
        </a:p>
      </dgm:t>
    </dgm:pt>
    <dgm:pt modelId="{F20A4A46-A0C9-434A-B797-0BA0846F4A65}" type="sibTrans" cxnId="{734D1FD3-2C3B-43D2-81D2-2B553BA28A7C}">
      <dgm:prSet/>
      <dgm:spPr/>
      <dgm:t>
        <a:bodyPr/>
        <a:lstStyle/>
        <a:p>
          <a:endParaRPr lang="en-US"/>
        </a:p>
      </dgm:t>
    </dgm:pt>
    <dgm:pt modelId="{A37325E0-9A1E-458D-A9EC-E7405A30FEF4}">
      <dgm:prSet/>
      <dgm:spPr>
        <a:xfrm>
          <a:off x="0" y="2654246"/>
          <a:ext cx="11090190" cy="2097900"/>
        </a:xfrm>
        <a:prstGeom prst="rect">
          <a:avLst/>
        </a:prstGeom>
      </dgm:spPr>
      <dgm:t>
        <a:bodyPr/>
        <a:lstStyle/>
        <a:p>
          <a:pPr>
            <a:buChar char="•"/>
          </a:pPr>
          <a:r>
            <a:rPr lang="en-US" b="0">
              <a:latin typeface="Segoe UI"/>
              <a:ea typeface="+mn-ea"/>
              <a:cs typeface="+mn-cs"/>
            </a:rPr>
            <a:t>Power BI</a:t>
          </a:r>
        </a:p>
      </dgm:t>
    </dgm:pt>
    <dgm:pt modelId="{9041DF91-87E1-427E-A821-34E96480C947}" type="parTrans" cxnId="{53E8742A-5127-425C-BE3C-358550BC7560}">
      <dgm:prSet/>
      <dgm:spPr/>
      <dgm:t>
        <a:bodyPr/>
        <a:lstStyle/>
        <a:p>
          <a:endParaRPr lang="en-US"/>
        </a:p>
      </dgm:t>
    </dgm:pt>
    <dgm:pt modelId="{12C8406B-A7B4-457D-87B8-227F5A0363BE}" type="sibTrans" cxnId="{53E8742A-5127-425C-BE3C-358550BC7560}">
      <dgm:prSet/>
      <dgm:spPr/>
      <dgm:t>
        <a:bodyPr/>
        <a:lstStyle/>
        <a:p>
          <a:endParaRPr lang="en-US"/>
        </a:p>
      </dgm:t>
    </dgm:pt>
    <dgm:pt modelId="{9479EB0C-21FA-443B-B4D9-99993A7D4EAD}" type="pres">
      <dgm:prSet presAssocID="{F2D27153-23CA-4125-B991-EABD0667E441}" presName="linear" presStyleCnt="0">
        <dgm:presLayoutVars>
          <dgm:dir/>
          <dgm:animLvl val="lvl"/>
          <dgm:resizeHandles val="exact"/>
        </dgm:presLayoutVars>
      </dgm:prSet>
      <dgm:spPr/>
    </dgm:pt>
    <dgm:pt modelId="{17BEC576-012F-4B59-98E0-5C5E805D402E}" type="pres">
      <dgm:prSet presAssocID="{A1BEEF1B-57EB-4FBE-9826-B61CD2C4B726}" presName="parentLin" presStyleCnt="0"/>
      <dgm:spPr/>
    </dgm:pt>
    <dgm:pt modelId="{8521E177-D2FB-4627-85CE-362DF6AC97CF}" type="pres">
      <dgm:prSet presAssocID="{A1BEEF1B-57EB-4FBE-9826-B61CD2C4B726}" presName="parentLeftMargin" presStyleLbl="node1" presStyleIdx="0" presStyleCnt="3"/>
      <dgm:spPr/>
    </dgm:pt>
    <dgm:pt modelId="{4DD7C95C-C098-412D-B906-033164EFCEF7}" type="pres">
      <dgm:prSet presAssocID="{A1BEEF1B-57EB-4FBE-9826-B61CD2C4B726}" presName="parentText" presStyleLbl="node1" presStyleIdx="0" presStyleCnt="3">
        <dgm:presLayoutVars>
          <dgm:chMax val="0"/>
          <dgm:bulletEnabled val="1"/>
        </dgm:presLayoutVars>
      </dgm:prSet>
      <dgm:spPr/>
    </dgm:pt>
    <dgm:pt modelId="{06F88678-4B06-4611-A78E-16C3FEB704DF}" type="pres">
      <dgm:prSet presAssocID="{A1BEEF1B-57EB-4FBE-9826-B61CD2C4B726}" presName="negativeSpace" presStyleCnt="0"/>
      <dgm:spPr/>
    </dgm:pt>
    <dgm:pt modelId="{F9822D8B-BDF8-4FC0-AB1F-8F2C6B43AB99}" type="pres">
      <dgm:prSet presAssocID="{A1BEEF1B-57EB-4FBE-9826-B61CD2C4B726}" presName="childText" presStyleLbl="conFgAcc1" presStyleIdx="0" presStyleCnt="3">
        <dgm:presLayoutVars>
          <dgm:bulletEnabled val="1"/>
        </dgm:presLayoutVars>
      </dgm:prSet>
      <dgm:spPr/>
    </dgm:pt>
    <dgm:pt modelId="{B5A5A611-FFB3-40F6-88AC-9B62D27BAB4A}" type="pres">
      <dgm:prSet presAssocID="{AA68EA4E-7FFB-442F-8920-DBB7A369D335}" presName="spaceBetweenRectangles" presStyleCnt="0"/>
      <dgm:spPr/>
    </dgm:pt>
    <dgm:pt modelId="{113F31A2-17AE-4EC6-9985-880D7B94F29B}" type="pres">
      <dgm:prSet presAssocID="{03B39D06-850B-4493-8951-CDA0FBF030E6}" presName="parentLin" presStyleCnt="0"/>
      <dgm:spPr/>
    </dgm:pt>
    <dgm:pt modelId="{590845C7-5D75-41F4-AA4B-EFD02B965E49}" type="pres">
      <dgm:prSet presAssocID="{03B39D06-850B-4493-8951-CDA0FBF030E6}" presName="parentLeftMargin" presStyleLbl="node1" presStyleIdx="0" presStyleCnt="3"/>
      <dgm:spPr/>
    </dgm:pt>
    <dgm:pt modelId="{D1E81132-7F06-4C5C-B7B1-CC6C01C5C269}" type="pres">
      <dgm:prSet presAssocID="{03B39D06-850B-4493-8951-CDA0FBF030E6}" presName="parentText" presStyleLbl="node1" presStyleIdx="1" presStyleCnt="3">
        <dgm:presLayoutVars>
          <dgm:chMax val="0"/>
          <dgm:bulletEnabled val="1"/>
        </dgm:presLayoutVars>
      </dgm:prSet>
      <dgm:spPr/>
    </dgm:pt>
    <dgm:pt modelId="{85B0A927-5714-440F-8E14-FF7A821B8CA5}" type="pres">
      <dgm:prSet presAssocID="{03B39D06-850B-4493-8951-CDA0FBF030E6}" presName="negativeSpace" presStyleCnt="0"/>
      <dgm:spPr/>
    </dgm:pt>
    <dgm:pt modelId="{0531F294-9F7B-4F7C-978B-B6EE06139032}" type="pres">
      <dgm:prSet presAssocID="{03B39D06-850B-4493-8951-CDA0FBF030E6}" presName="childText" presStyleLbl="conFgAcc1" presStyleIdx="1" presStyleCnt="3">
        <dgm:presLayoutVars>
          <dgm:bulletEnabled val="1"/>
        </dgm:presLayoutVars>
      </dgm:prSet>
      <dgm:spPr/>
    </dgm:pt>
    <dgm:pt modelId="{4938BFE4-4D84-48B0-BDE1-681F2A6769E9}" type="pres">
      <dgm:prSet presAssocID="{3C5C1B20-7889-492C-A85D-5877B88420B8}" presName="spaceBetweenRectangles" presStyleCnt="0"/>
      <dgm:spPr/>
    </dgm:pt>
    <dgm:pt modelId="{1DED4D8D-3F1F-4058-8583-605A038757F3}" type="pres">
      <dgm:prSet presAssocID="{BC2790AC-D8AA-4689-A9E0-22C0C8D27BD2}" presName="parentLin" presStyleCnt="0"/>
      <dgm:spPr/>
    </dgm:pt>
    <dgm:pt modelId="{125C5934-6E7D-49F2-8EA4-21FCBEEE8B58}" type="pres">
      <dgm:prSet presAssocID="{BC2790AC-D8AA-4689-A9E0-22C0C8D27BD2}" presName="parentLeftMargin" presStyleLbl="node1" presStyleIdx="1" presStyleCnt="3"/>
      <dgm:spPr/>
    </dgm:pt>
    <dgm:pt modelId="{F8E14435-6CDD-4CF9-9937-090146E2FE24}" type="pres">
      <dgm:prSet presAssocID="{BC2790AC-D8AA-4689-A9E0-22C0C8D27BD2}" presName="parentText" presStyleLbl="node1" presStyleIdx="2" presStyleCnt="3">
        <dgm:presLayoutVars>
          <dgm:chMax val="0"/>
          <dgm:bulletEnabled val="1"/>
        </dgm:presLayoutVars>
      </dgm:prSet>
      <dgm:spPr/>
    </dgm:pt>
    <dgm:pt modelId="{0C94B345-FDBD-4E6F-AFE2-311209C78B74}" type="pres">
      <dgm:prSet presAssocID="{BC2790AC-D8AA-4689-A9E0-22C0C8D27BD2}" presName="negativeSpace" presStyleCnt="0"/>
      <dgm:spPr/>
    </dgm:pt>
    <dgm:pt modelId="{26AAA9CC-1277-4E24-BEB6-173CCB3E53D1}" type="pres">
      <dgm:prSet presAssocID="{BC2790AC-D8AA-4689-A9E0-22C0C8D27BD2}" presName="childText" presStyleLbl="conFgAcc1" presStyleIdx="2" presStyleCnt="3">
        <dgm:presLayoutVars>
          <dgm:bulletEnabled val="1"/>
        </dgm:presLayoutVars>
      </dgm:prSet>
      <dgm:spPr/>
    </dgm:pt>
  </dgm:ptLst>
  <dgm:cxnLst>
    <dgm:cxn modelId="{F71D5101-ED87-488E-8CA8-FBB5352FB3E6}" srcId="{A1BEEF1B-57EB-4FBE-9826-B61CD2C4B726}" destId="{05705FAD-0092-4410-8F15-B46FA998AAEF}" srcOrd="0" destOrd="0" parTransId="{0B7C3386-8286-4C14-9FE3-B0A35CC3017A}" sibTransId="{A7E4ED00-523F-4FF4-885B-445DB18568C0}"/>
    <dgm:cxn modelId="{D9D32809-AEB2-4124-B180-89C712880565}" type="presOf" srcId="{E9131B02-9FBC-498A-8538-50943F8A8BFD}" destId="{0531F294-9F7B-4F7C-978B-B6EE06139032}" srcOrd="0" destOrd="0" presId="urn:microsoft.com/office/officeart/2005/8/layout/list1"/>
    <dgm:cxn modelId="{9C23361A-E553-4944-B782-9EFC3D0B6723}" type="presOf" srcId="{03B39D06-850B-4493-8951-CDA0FBF030E6}" destId="{590845C7-5D75-41F4-AA4B-EFD02B965E49}" srcOrd="0" destOrd="0" presId="urn:microsoft.com/office/officeart/2005/8/layout/list1"/>
    <dgm:cxn modelId="{E0290B28-DC5D-44A6-8BCA-E200D6835E9A}" srcId="{BC2790AC-D8AA-4689-A9E0-22C0C8D27BD2}" destId="{B204C829-6CBE-4788-B534-CED4E0EDEA2E}" srcOrd="4" destOrd="0" parTransId="{7A35A0CB-807E-4EA5-B87B-80D4BC7B9617}" sibTransId="{7DB467BA-A71A-4087-BFFC-D323E8B78DF1}"/>
    <dgm:cxn modelId="{53E8742A-5127-425C-BE3C-358550BC7560}" srcId="{BC2790AC-D8AA-4689-A9E0-22C0C8D27BD2}" destId="{A37325E0-9A1E-458D-A9EC-E7405A30FEF4}" srcOrd="2" destOrd="0" parTransId="{9041DF91-87E1-427E-A821-34E96480C947}" sibTransId="{12C8406B-A7B4-457D-87B8-227F5A0363BE}"/>
    <dgm:cxn modelId="{F31A5F2E-5BDB-4D9E-BDA7-436BEF1CE563}" type="presOf" srcId="{A1BEEF1B-57EB-4FBE-9826-B61CD2C4B726}" destId="{4DD7C95C-C098-412D-B906-033164EFCEF7}" srcOrd="1" destOrd="0" presId="urn:microsoft.com/office/officeart/2005/8/layout/list1"/>
    <dgm:cxn modelId="{9F76F06E-C1CF-4BFD-B6E4-527F0D15B0E3}" type="presOf" srcId="{F2D27153-23CA-4125-B991-EABD0667E441}" destId="{9479EB0C-21FA-443B-B4D9-99993A7D4EAD}" srcOrd="0" destOrd="0" presId="urn:microsoft.com/office/officeart/2005/8/layout/list1"/>
    <dgm:cxn modelId="{B3FDAA72-E7FD-4DEB-8EBB-660E70876E91}" type="presOf" srcId="{BC2790AC-D8AA-4689-A9E0-22C0C8D27BD2}" destId="{125C5934-6E7D-49F2-8EA4-21FCBEEE8B58}" srcOrd="0" destOrd="0" presId="urn:microsoft.com/office/officeart/2005/8/layout/list1"/>
    <dgm:cxn modelId="{D398A755-39E1-445C-B7A8-D4789FF7B4EA}" type="presOf" srcId="{A1BEEF1B-57EB-4FBE-9826-B61CD2C4B726}" destId="{8521E177-D2FB-4627-85CE-362DF6AC97CF}" srcOrd="0" destOrd="0" presId="urn:microsoft.com/office/officeart/2005/8/layout/list1"/>
    <dgm:cxn modelId="{C8DA4878-0314-4AB3-9A8C-268A55AAA9DE}" type="presOf" srcId="{A2351342-ED2C-4538-93EE-5843995F36AD}" destId="{26AAA9CC-1277-4E24-BEB6-173CCB3E53D1}" srcOrd="0" destOrd="0" presId="urn:microsoft.com/office/officeart/2005/8/layout/list1"/>
    <dgm:cxn modelId="{0AE7CC79-795A-4740-A8BE-190BB4E4A8B4}" type="presOf" srcId="{A37325E0-9A1E-458D-A9EC-E7405A30FEF4}" destId="{26AAA9CC-1277-4E24-BEB6-173CCB3E53D1}" srcOrd="0" destOrd="2" presId="urn:microsoft.com/office/officeart/2005/8/layout/list1"/>
    <dgm:cxn modelId="{C783D37D-B5DC-498E-841C-D4A4F0E1326A}" type="presOf" srcId="{3596B82D-C166-4CC6-B222-1749DD0BABF2}" destId="{26AAA9CC-1277-4E24-BEB6-173CCB3E53D1}" srcOrd="0" destOrd="3" presId="urn:microsoft.com/office/officeart/2005/8/layout/list1"/>
    <dgm:cxn modelId="{4E599589-E97F-4524-967B-4082DBC06148}" type="presOf" srcId="{71B2FE7B-7507-441C-9061-D80F8FCD47E7}" destId="{26AAA9CC-1277-4E24-BEB6-173CCB3E53D1}" srcOrd="0" destOrd="1" presId="urn:microsoft.com/office/officeart/2005/8/layout/list1"/>
    <dgm:cxn modelId="{08E5C48F-92DD-40D8-A455-87044331735E}" type="presOf" srcId="{BC2790AC-D8AA-4689-A9E0-22C0C8D27BD2}" destId="{F8E14435-6CDD-4CF9-9937-090146E2FE24}" srcOrd="1" destOrd="0" presId="urn:microsoft.com/office/officeart/2005/8/layout/list1"/>
    <dgm:cxn modelId="{4AF48895-5542-414F-A37E-6529D5CA4AC8}" srcId="{F2D27153-23CA-4125-B991-EABD0667E441}" destId="{A1BEEF1B-57EB-4FBE-9826-B61CD2C4B726}" srcOrd="0" destOrd="0" parTransId="{B741FBFB-EA1F-477A-B66D-C4F100EE7694}" sibTransId="{AA68EA4E-7FFB-442F-8920-DBB7A369D335}"/>
    <dgm:cxn modelId="{0126C395-BA82-4807-A7A4-09F9AD1EC4F0}" type="presOf" srcId="{05705FAD-0092-4410-8F15-B46FA998AAEF}" destId="{F9822D8B-BDF8-4FC0-AB1F-8F2C6B43AB99}" srcOrd="0" destOrd="0" presId="urn:microsoft.com/office/officeart/2005/8/layout/list1"/>
    <dgm:cxn modelId="{45C74BA9-F38D-41A7-906E-E90A74BFF5E5}" srcId="{03B39D06-850B-4493-8951-CDA0FBF030E6}" destId="{E9131B02-9FBC-498A-8538-50943F8A8BFD}" srcOrd="0" destOrd="0" parTransId="{266C830F-335B-4CD2-BAF9-05E5FF6E336A}" sibTransId="{D972E00B-34C2-411D-BCDC-626D6194FC7B}"/>
    <dgm:cxn modelId="{688EBFB7-10ED-4E19-96B1-9307849C33E7}" srcId="{F2D27153-23CA-4125-B991-EABD0667E441}" destId="{03B39D06-850B-4493-8951-CDA0FBF030E6}" srcOrd="1" destOrd="0" parTransId="{304CC6C5-82C9-450E-AD7E-39AA757E6535}" sibTransId="{3C5C1B20-7889-492C-A85D-5877B88420B8}"/>
    <dgm:cxn modelId="{4C72E1BA-EE86-4DF6-953D-B46086003782}" type="presOf" srcId="{B204C829-6CBE-4788-B534-CED4E0EDEA2E}" destId="{26AAA9CC-1277-4E24-BEB6-173CCB3E53D1}" srcOrd="0" destOrd="4" presId="urn:microsoft.com/office/officeart/2005/8/layout/list1"/>
    <dgm:cxn modelId="{64A2E1C0-D244-4B74-ABD4-E908BA8CA62D}" srcId="{BC2790AC-D8AA-4689-A9E0-22C0C8D27BD2}" destId="{A2351342-ED2C-4538-93EE-5843995F36AD}" srcOrd="0" destOrd="0" parTransId="{92FACBBA-E59D-46B4-88AC-00C0DEB8F807}" sibTransId="{F3387AEF-00C1-453E-82E2-8A0408D29877}"/>
    <dgm:cxn modelId="{B68D46C5-2522-45DB-909D-EF40B01EB890}" srcId="{BC2790AC-D8AA-4689-A9E0-22C0C8D27BD2}" destId="{3596B82D-C166-4CC6-B222-1749DD0BABF2}" srcOrd="3" destOrd="0" parTransId="{0F3DF899-5BDB-492D-A73F-F146D171A56D}" sibTransId="{FBA2BDA6-40CA-4CEA-A498-D7017BC840D2}"/>
    <dgm:cxn modelId="{28C302CD-BB24-4802-86C0-7270B0276308}" srcId="{F2D27153-23CA-4125-B991-EABD0667E441}" destId="{BC2790AC-D8AA-4689-A9E0-22C0C8D27BD2}" srcOrd="2" destOrd="0" parTransId="{BE4DE0D0-92F0-48C8-9F74-AE97CFD3EE5B}" sibTransId="{F4C80689-D638-41A8-9C85-1C9C2697968E}"/>
    <dgm:cxn modelId="{734D1FD3-2C3B-43D2-81D2-2B553BA28A7C}" srcId="{BC2790AC-D8AA-4689-A9E0-22C0C8D27BD2}" destId="{71B2FE7B-7507-441C-9061-D80F8FCD47E7}" srcOrd="1" destOrd="0" parTransId="{8C1AC5DE-C29D-4FE3-A829-864B69B523C6}" sibTransId="{F20A4A46-A0C9-434A-B797-0BA0846F4A65}"/>
    <dgm:cxn modelId="{36AFBBE6-A332-41B3-AB53-661CE10A3E3F}" type="presOf" srcId="{03B39D06-850B-4493-8951-CDA0FBF030E6}" destId="{D1E81132-7F06-4C5C-B7B1-CC6C01C5C269}" srcOrd="1" destOrd="0" presId="urn:microsoft.com/office/officeart/2005/8/layout/list1"/>
    <dgm:cxn modelId="{43E6CC49-5A89-4C06-8030-241F039CD515}" type="presParOf" srcId="{9479EB0C-21FA-443B-B4D9-99993A7D4EAD}" destId="{17BEC576-012F-4B59-98E0-5C5E805D402E}" srcOrd="0" destOrd="0" presId="urn:microsoft.com/office/officeart/2005/8/layout/list1"/>
    <dgm:cxn modelId="{3DDC2A51-67C8-40BE-8ABB-7F24B71882F0}" type="presParOf" srcId="{17BEC576-012F-4B59-98E0-5C5E805D402E}" destId="{8521E177-D2FB-4627-85CE-362DF6AC97CF}" srcOrd="0" destOrd="0" presId="urn:microsoft.com/office/officeart/2005/8/layout/list1"/>
    <dgm:cxn modelId="{42341420-D063-4AA7-9212-C85A9D5AEB2D}" type="presParOf" srcId="{17BEC576-012F-4B59-98E0-5C5E805D402E}" destId="{4DD7C95C-C098-412D-B906-033164EFCEF7}" srcOrd="1" destOrd="0" presId="urn:microsoft.com/office/officeart/2005/8/layout/list1"/>
    <dgm:cxn modelId="{ECA81718-2C06-4C41-AEF0-E4295F1F2012}" type="presParOf" srcId="{9479EB0C-21FA-443B-B4D9-99993A7D4EAD}" destId="{06F88678-4B06-4611-A78E-16C3FEB704DF}" srcOrd="1" destOrd="0" presId="urn:microsoft.com/office/officeart/2005/8/layout/list1"/>
    <dgm:cxn modelId="{38C7038C-CA66-4B60-BB68-38ACB321CD09}" type="presParOf" srcId="{9479EB0C-21FA-443B-B4D9-99993A7D4EAD}" destId="{F9822D8B-BDF8-4FC0-AB1F-8F2C6B43AB99}" srcOrd="2" destOrd="0" presId="urn:microsoft.com/office/officeart/2005/8/layout/list1"/>
    <dgm:cxn modelId="{5436666C-414F-4E52-AC38-FB9E939F9F17}" type="presParOf" srcId="{9479EB0C-21FA-443B-B4D9-99993A7D4EAD}" destId="{B5A5A611-FFB3-40F6-88AC-9B62D27BAB4A}" srcOrd="3" destOrd="0" presId="urn:microsoft.com/office/officeart/2005/8/layout/list1"/>
    <dgm:cxn modelId="{EFA9028E-30EC-4023-AD35-13233EB8CE37}" type="presParOf" srcId="{9479EB0C-21FA-443B-B4D9-99993A7D4EAD}" destId="{113F31A2-17AE-4EC6-9985-880D7B94F29B}" srcOrd="4" destOrd="0" presId="urn:microsoft.com/office/officeart/2005/8/layout/list1"/>
    <dgm:cxn modelId="{B8A4EAB9-85D6-4A5C-A583-AA677D0ACDF3}" type="presParOf" srcId="{113F31A2-17AE-4EC6-9985-880D7B94F29B}" destId="{590845C7-5D75-41F4-AA4B-EFD02B965E49}" srcOrd="0" destOrd="0" presId="urn:microsoft.com/office/officeart/2005/8/layout/list1"/>
    <dgm:cxn modelId="{E426BBD0-7EB7-426B-B99B-AB392D03502A}" type="presParOf" srcId="{113F31A2-17AE-4EC6-9985-880D7B94F29B}" destId="{D1E81132-7F06-4C5C-B7B1-CC6C01C5C269}" srcOrd="1" destOrd="0" presId="urn:microsoft.com/office/officeart/2005/8/layout/list1"/>
    <dgm:cxn modelId="{7BB6FA4A-433B-4377-918B-BAACA6BA7CEC}" type="presParOf" srcId="{9479EB0C-21FA-443B-B4D9-99993A7D4EAD}" destId="{85B0A927-5714-440F-8E14-FF7A821B8CA5}" srcOrd="5" destOrd="0" presId="urn:microsoft.com/office/officeart/2005/8/layout/list1"/>
    <dgm:cxn modelId="{23D708C3-0237-4802-95D8-E4CEA601AA3C}" type="presParOf" srcId="{9479EB0C-21FA-443B-B4D9-99993A7D4EAD}" destId="{0531F294-9F7B-4F7C-978B-B6EE06139032}" srcOrd="6" destOrd="0" presId="urn:microsoft.com/office/officeart/2005/8/layout/list1"/>
    <dgm:cxn modelId="{F8F58502-47F4-45A0-97B2-3AD3EFA3F750}" type="presParOf" srcId="{9479EB0C-21FA-443B-B4D9-99993A7D4EAD}" destId="{4938BFE4-4D84-48B0-BDE1-681F2A6769E9}" srcOrd="7" destOrd="0" presId="urn:microsoft.com/office/officeart/2005/8/layout/list1"/>
    <dgm:cxn modelId="{892A2B06-08B4-4446-B16D-58AE2575F57F}" type="presParOf" srcId="{9479EB0C-21FA-443B-B4D9-99993A7D4EAD}" destId="{1DED4D8D-3F1F-4058-8583-605A038757F3}" srcOrd="8" destOrd="0" presId="urn:microsoft.com/office/officeart/2005/8/layout/list1"/>
    <dgm:cxn modelId="{F9791F34-EEE3-4A9C-859B-030D37D1A997}" type="presParOf" srcId="{1DED4D8D-3F1F-4058-8583-605A038757F3}" destId="{125C5934-6E7D-49F2-8EA4-21FCBEEE8B58}" srcOrd="0" destOrd="0" presId="urn:microsoft.com/office/officeart/2005/8/layout/list1"/>
    <dgm:cxn modelId="{640809B2-391B-4110-9AC6-C42916E4372C}" type="presParOf" srcId="{1DED4D8D-3F1F-4058-8583-605A038757F3}" destId="{F8E14435-6CDD-4CF9-9937-090146E2FE24}" srcOrd="1" destOrd="0" presId="urn:microsoft.com/office/officeart/2005/8/layout/list1"/>
    <dgm:cxn modelId="{5B072677-FA40-4189-9F56-8EE814C68B90}" type="presParOf" srcId="{9479EB0C-21FA-443B-B4D9-99993A7D4EAD}" destId="{0C94B345-FDBD-4E6F-AFE2-311209C78B74}" srcOrd="9" destOrd="0" presId="urn:microsoft.com/office/officeart/2005/8/layout/list1"/>
    <dgm:cxn modelId="{93DBBF21-6123-49EE-B659-E3B89E24B5E1}" type="presParOf" srcId="{9479EB0C-21FA-443B-B4D9-99993A7D4EAD}" destId="{26AAA9CC-1277-4E24-BEB6-173CCB3E53D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AA9B2E-7B3C-461F-A5F6-56910F7F487A}"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14427A8A-7D7E-45B0-9AC3-D9072CC0D9B3}">
      <dgm:prSet custT="1"/>
      <dgm:spPr/>
      <dgm:t>
        <a:bodyPr/>
        <a:lstStyle/>
        <a:p>
          <a:r>
            <a:rPr lang="en-US" sz="2000" baseline="0"/>
            <a:t>Centrally manage user permissions.</a:t>
          </a:r>
          <a:endParaRPr lang="en-US" sz="2000"/>
        </a:p>
      </dgm:t>
    </dgm:pt>
    <dgm:pt modelId="{04BB14B5-11A6-4292-8A42-D77473514010}" type="parTrans" cxnId="{E4D4C795-7B63-49F6-BCD2-DF640F201A69}">
      <dgm:prSet/>
      <dgm:spPr/>
      <dgm:t>
        <a:bodyPr/>
        <a:lstStyle/>
        <a:p>
          <a:endParaRPr lang="en-US" sz="2000"/>
        </a:p>
      </dgm:t>
    </dgm:pt>
    <dgm:pt modelId="{B4078A8E-8E6B-4BAB-BD76-C8CF92367686}" type="sibTrans" cxnId="{E4D4C795-7B63-49F6-BCD2-DF640F201A69}">
      <dgm:prSet/>
      <dgm:spPr/>
      <dgm:t>
        <a:bodyPr/>
        <a:lstStyle/>
        <a:p>
          <a:endParaRPr lang="en-US" sz="2000"/>
        </a:p>
      </dgm:t>
    </dgm:pt>
    <dgm:pt modelId="{77BC30B2-E5F5-4234-8514-21BF1D0349EE}">
      <dgm:prSet custT="1"/>
      <dgm:spPr/>
      <dgm:t>
        <a:bodyPr/>
        <a:lstStyle/>
        <a:p>
          <a:r>
            <a:rPr lang="en-US" sz="2000" baseline="0"/>
            <a:t>Alternative to SQL Server authentication.</a:t>
          </a:r>
          <a:endParaRPr lang="en-US" sz="2000"/>
        </a:p>
      </dgm:t>
    </dgm:pt>
    <dgm:pt modelId="{4D6C5437-4B19-41DB-B33C-FF1A47A0DABA}" type="parTrans" cxnId="{BE0BD754-0F8D-47D1-B546-55850410C622}">
      <dgm:prSet/>
      <dgm:spPr/>
      <dgm:t>
        <a:bodyPr/>
        <a:lstStyle/>
        <a:p>
          <a:endParaRPr lang="en-US" sz="2000"/>
        </a:p>
      </dgm:t>
    </dgm:pt>
    <dgm:pt modelId="{4C3AEF87-4302-4735-BE39-EAC0A481F8F9}" type="sibTrans" cxnId="{BE0BD754-0F8D-47D1-B546-55850410C622}">
      <dgm:prSet/>
      <dgm:spPr/>
      <dgm:t>
        <a:bodyPr/>
        <a:lstStyle/>
        <a:p>
          <a:endParaRPr lang="en-US" sz="2000"/>
        </a:p>
      </dgm:t>
    </dgm:pt>
    <dgm:pt modelId="{267D0BA0-E4CD-454D-8B9C-8C7B6E88F29F}">
      <dgm:prSet custT="1"/>
      <dgm:spPr/>
      <dgm:t>
        <a:bodyPr/>
        <a:lstStyle/>
        <a:p>
          <a:r>
            <a:rPr lang="en-US" sz="2000" baseline="0"/>
            <a:t>Allows password rotation in a single place.</a:t>
          </a:r>
          <a:endParaRPr lang="en-US" sz="2000"/>
        </a:p>
      </dgm:t>
    </dgm:pt>
    <dgm:pt modelId="{0B70ABDD-050C-46E0-A91C-9CF15DE5311D}" type="parTrans" cxnId="{7C1E29C5-F6CF-42BE-843B-0F843BEF5E90}">
      <dgm:prSet/>
      <dgm:spPr/>
      <dgm:t>
        <a:bodyPr/>
        <a:lstStyle/>
        <a:p>
          <a:endParaRPr lang="en-US" sz="2000"/>
        </a:p>
      </dgm:t>
    </dgm:pt>
    <dgm:pt modelId="{4E6BA960-FB5F-45B0-9DEC-7D0DC2B0027A}" type="sibTrans" cxnId="{7C1E29C5-F6CF-42BE-843B-0F843BEF5E90}">
      <dgm:prSet/>
      <dgm:spPr/>
      <dgm:t>
        <a:bodyPr/>
        <a:lstStyle/>
        <a:p>
          <a:endParaRPr lang="en-US" sz="2000"/>
        </a:p>
      </dgm:t>
    </dgm:pt>
    <dgm:pt modelId="{59A39042-951E-4B4F-9097-CD743E40DBEC}">
      <dgm:prSet custT="1"/>
      <dgm:spPr/>
      <dgm:t>
        <a:bodyPr/>
        <a:lstStyle/>
        <a:p>
          <a:r>
            <a:rPr lang="en-US" sz="2000" baseline="0"/>
            <a:t>Enables management of database permissions using external Azure Active Directory groups.</a:t>
          </a:r>
          <a:endParaRPr lang="en-US" sz="2000"/>
        </a:p>
      </dgm:t>
    </dgm:pt>
    <dgm:pt modelId="{1B07FCA8-AA39-492E-9313-71C3C3FF4B7E}" type="parTrans" cxnId="{E37CB857-62C1-425F-892A-3D12C758D9D4}">
      <dgm:prSet/>
      <dgm:spPr/>
      <dgm:t>
        <a:bodyPr/>
        <a:lstStyle/>
        <a:p>
          <a:endParaRPr lang="en-US" sz="2000"/>
        </a:p>
      </dgm:t>
    </dgm:pt>
    <dgm:pt modelId="{1CF6923B-9B68-40B3-B444-CE2E52367390}" type="sibTrans" cxnId="{E37CB857-62C1-425F-892A-3D12C758D9D4}">
      <dgm:prSet/>
      <dgm:spPr/>
      <dgm:t>
        <a:bodyPr/>
        <a:lstStyle/>
        <a:p>
          <a:endParaRPr lang="en-US" sz="2000"/>
        </a:p>
      </dgm:t>
    </dgm:pt>
    <dgm:pt modelId="{B74D67FA-C34A-4B28-B85D-B7967B504486}">
      <dgm:prSet custT="1"/>
      <dgm:spPr/>
      <dgm:t>
        <a:bodyPr/>
        <a:lstStyle/>
        <a:p>
          <a:r>
            <a:rPr lang="en-US" sz="2000" baseline="0"/>
            <a:t>Stops password storing by using integrated Windows authentication and other forms of authentication supported by AAD.</a:t>
          </a:r>
          <a:endParaRPr lang="en-US" sz="2000"/>
        </a:p>
      </dgm:t>
    </dgm:pt>
    <dgm:pt modelId="{00B49F9A-AEA3-48A8-B4F2-617A95E23226}" type="parTrans" cxnId="{F22C6D61-B0A8-487F-8C72-EA54B8FF0518}">
      <dgm:prSet/>
      <dgm:spPr/>
      <dgm:t>
        <a:bodyPr/>
        <a:lstStyle/>
        <a:p>
          <a:endParaRPr lang="en-US" sz="2000"/>
        </a:p>
      </dgm:t>
    </dgm:pt>
    <dgm:pt modelId="{569BCD04-CE41-4043-AA35-3E656E5869DD}" type="sibTrans" cxnId="{F22C6D61-B0A8-487F-8C72-EA54B8FF0518}">
      <dgm:prSet/>
      <dgm:spPr/>
      <dgm:t>
        <a:bodyPr/>
        <a:lstStyle/>
        <a:p>
          <a:endParaRPr lang="en-US" sz="2000"/>
        </a:p>
      </dgm:t>
    </dgm:pt>
    <dgm:pt modelId="{5B1841C0-952C-4F21-9DA4-0FFF3A287C91}" type="pres">
      <dgm:prSet presAssocID="{F6AA9B2E-7B3C-461F-A5F6-56910F7F487A}" presName="diagram" presStyleCnt="0">
        <dgm:presLayoutVars>
          <dgm:dir/>
          <dgm:resizeHandles val="exact"/>
        </dgm:presLayoutVars>
      </dgm:prSet>
      <dgm:spPr/>
    </dgm:pt>
    <dgm:pt modelId="{A84D0183-38C9-4B48-9B03-F2425E418019}" type="pres">
      <dgm:prSet presAssocID="{14427A8A-7D7E-45B0-9AC3-D9072CC0D9B3}" presName="node" presStyleLbl="node1" presStyleIdx="0" presStyleCnt="5">
        <dgm:presLayoutVars>
          <dgm:bulletEnabled val="1"/>
        </dgm:presLayoutVars>
      </dgm:prSet>
      <dgm:spPr/>
    </dgm:pt>
    <dgm:pt modelId="{1A7BFAFE-394B-49D8-9E09-757C8C0108CF}" type="pres">
      <dgm:prSet presAssocID="{B4078A8E-8E6B-4BAB-BD76-C8CF92367686}" presName="sibTrans" presStyleCnt="0"/>
      <dgm:spPr/>
    </dgm:pt>
    <dgm:pt modelId="{629F1054-A113-4443-81EA-90E026B0C2D0}" type="pres">
      <dgm:prSet presAssocID="{77BC30B2-E5F5-4234-8514-21BF1D0349EE}" presName="node" presStyleLbl="node1" presStyleIdx="1" presStyleCnt="5">
        <dgm:presLayoutVars>
          <dgm:bulletEnabled val="1"/>
        </dgm:presLayoutVars>
      </dgm:prSet>
      <dgm:spPr/>
    </dgm:pt>
    <dgm:pt modelId="{8B7E0A4F-4282-4C23-9CF5-E835566C70E3}" type="pres">
      <dgm:prSet presAssocID="{4C3AEF87-4302-4735-BE39-EAC0A481F8F9}" presName="sibTrans" presStyleCnt="0"/>
      <dgm:spPr/>
    </dgm:pt>
    <dgm:pt modelId="{29B8E5D6-2B1E-42FA-9018-B6511F13218B}" type="pres">
      <dgm:prSet presAssocID="{267D0BA0-E4CD-454D-8B9C-8C7B6E88F29F}" presName="node" presStyleLbl="node1" presStyleIdx="2" presStyleCnt="5">
        <dgm:presLayoutVars>
          <dgm:bulletEnabled val="1"/>
        </dgm:presLayoutVars>
      </dgm:prSet>
      <dgm:spPr/>
    </dgm:pt>
    <dgm:pt modelId="{100A26A3-6F32-475F-ADC8-CD1F63ACBFB4}" type="pres">
      <dgm:prSet presAssocID="{4E6BA960-FB5F-45B0-9DEC-7D0DC2B0027A}" presName="sibTrans" presStyleCnt="0"/>
      <dgm:spPr/>
    </dgm:pt>
    <dgm:pt modelId="{97350AE0-AC8C-454C-84DF-EEEBEB349562}" type="pres">
      <dgm:prSet presAssocID="{59A39042-951E-4B4F-9097-CD743E40DBEC}" presName="node" presStyleLbl="node1" presStyleIdx="3" presStyleCnt="5">
        <dgm:presLayoutVars>
          <dgm:bulletEnabled val="1"/>
        </dgm:presLayoutVars>
      </dgm:prSet>
      <dgm:spPr/>
    </dgm:pt>
    <dgm:pt modelId="{821E17A2-0467-46C9-B71A-88DA8F170BBC}" type="pres">
      <dgm:prSet presAssocID="{1CF6923B-9B68-40B3-B444-CE2E52367390}" presName="sibTrans" presStyleCnt="0"/>
      <dgm:spPr/>
    </dgm:pt>
    <dgm:pt modelId="{E21FA7A9-8B5C-4EAD-953F-91C6F3237883}" type="pres">
      <dgm:prSet presAssocID="{B74D67FA-C34A-4B28-B85D-B7967B504486}" presName="node" presStyleLbl="node1" presStyleIdx="4" presStyleCnt="5">
        <dgm:presLayoutVars>
          <dgm:bulletEnabled val="1"/>
        </dgm:presLayoutVars>
      </dgm:prSet>
      <dgm:spPr/>
    </dgm:pt>
  </dgm:ptLst>
  <dgm:cxnLst>
    <dgm:cxn modelId="{C55F8B1E-9D64-4F5B-97A5-FA1D938E3F29}" type="presOf" srcId="{F6AA9B2E-7B3C-461F-A5F6-56910F7F487A}" destId="{5B1841C0-952C-4F21-9DA4-0FFF3A287C91}" srcOrd="0" destOrd="0" presId="urn:microsoft.com/office/officeart/2005/8/layout/default"/>
    <dgm:cxn modelId="{37C0733A-3419-4535-B020-9A18D1655751}" type="presOf" srcId="{77BC30B2-E5F5-4234-8514-21BF1D0349EE}" destId="{629F1054-A113-4443-81EA-90E026B0C2D0}" srcOrd="0" destOrd="0" presId="urn:microsoft.com/office/officeart/2005/8/layout/default"/>
    <dgm:cxn modelId="{09312B40-3FDE-4A3D-B449-1331DC13C045}" type="presOf" srcId="{14427A8A-7D7E-45B0-9AC3-D9072CC0D9B3}" destId="{A84D0183-38C9-4B48-9B03-F2425E418019}" srcOrd="0" destOrd="0" presId="urn:microsoft.com/office/officeart/2005/8/layout/default"/>
    <dgm:cxn modelId="{F22C6D61-B0A8-487F-8C72-EA54B8FF0518}" srcId="{F6AA9B2E-7B3C-461F-A5F6-56910F7F487A}" destId="{B74D67FA-C34A-4B28-B85D-B7967B504486}" srcOrd="4" destOrd="0" parTransId="{00B49F9A-AEA3-48A8-B4F2-617A95E23226}" sibTransId="{569BCD04-CE41-4043-AA35-3E656E5869DD}"/>
    <dgm:cxn modelId="{BE0BD754-0F8D-47D1-B546-55850410C622}" srcId="{F6AA9B2E-7B3C-461F-A5F6-56910F7F487A}" destId="{77BC30B2-E5F5-4234-8514-21BF1D0349EE}" srcOrd="1" destOrd="0" parTransId="{4D6C5437-4B19-41DB-B33C-FF1A47A0DABA}" sibTransId="{4C3AEF87-4302-4735-BE39-EAC0A481F8F9}"/>
    <dgm:cxn modelId="{E37CB857-62C1-425F-892A-3D12C758D9D4}" srcId="{F6AA9B2E-7B3C-461F-A5F6-56910F7F487A}" destId="{59A39042-951E-4B4F-9097-CD743E40DBEC}" srcOrd="3" destOrd="0" parTransId="{1B07FCA8-AA39-492E-9313-71C3C3FF4B7E}" sibTransId="{1CF6923B-9B68-40B3-B444-CE2E52367390}"/>
    <dgm:cxn modelId="{E4D4C795-7B63-49F6-BCD2-DF640F201A69}" srcId="{F6AA9B2E-7B3C-461F-A5F6-56910F7F487A}" destId="{14427A8A-7D7E-45B0-9AC3-D9072CC0D9B3}" srcOrd="0" destOrd="0" parTransId="{04BB14B5-11A6-4292-8A42-D77473514010}" sibTransId="{B4078A8E-8E6B-4BAB-BD76-C8CF92367686}"/>
    <dgm:cxn modelId="{E19E76A6-E649-4778-BDCC-7293337D6159}" type="presOf" srcId="{B74D67FA-C34A-4B28-B85D-B7967B504486}" destId="{E21FA7A9-8B5C-4EAD-953F-91C6F3237883}" srcOrd="0" destOrd="0" presId="urn:microsoft.com/office/officeart/2005/8/layout/default"/>
    <dgm:cxn modelId="{594DF5BE-8D81-4F50-B5C6-C568861DBCF3}" type="presOf" srcId="{59A39042-951E-4B4F-9097-CD743E40DBEC}" destId="{97350AE0-AC8C-454C-84DF-EEEBEB349562}" srcOrd="0" destOrd="0" presId="urn:microsoft.com/office/officeart/2005/8/layout/default"/>
    <dgm:cxn modelId="{7C1E29C5-F6CF-42BE-843B-0F843BEF5E90}" srcId="{F6AA9B2E-7B3C-461F-A5F6-56910F7F487A}" destId="{267D0BA0-E4CD-454D-8B9C-8C7B6E88F29F}" srcOrd="2" destOrd="0" parTransId="{0B70ABDD-050C-46E0-A91C-9CF15DE5311D}" sibTransId="{4E6BA960-FB5F-45B0-9DEC-7D0DC2B0027A}"/>
    <dgm:cxn modelId="{4114A3C7-AAC8-4400-AE9F-16F40FA692EC}" type="presOf" srcId="{267D0BA0-E4CD-454D-8B9C-8C7B6E88F29F}" destId="{29B8E5D6-2B1E-42FA-9018-B6511F13218B}" srcOrd="0" destOrd="0" presId="urn:microsoft.com/office/officeart/2005/8/layout/default"/>
    <dgm:cxn modelId="{78B5B137-CFFD-4EFA-B7BA-0F21C4F9C7F8}" type="presParOf" srcId="{5B1841C0-952C-4F21-9DA4-0FFF3A287C91}" destId="{A84D0183-38C9-4B48-9B03-F2425E418019}" srcOrd="0" destOrd="0" presId="urn:microsoft.com/office/officeart/2005/8/layout/default"/>
    <dgm:cxn modelId="{08C71DA5-98E3-421E-ABD0-7A79DDE942AE}" type="presParOf" srcId="{5B1841C0-952C-4F21-9DA4-0FFF3A287C91}" destId="{1A7BFAFE-394B-49D8-9E09-757C8C0108CF}" srcOrd="1" destOrd="0" presId="urn:microsoft.com/office/officeart/2005/8/layout/default"/>
    <dgm:cxn modelId="{F7BB2D71-C0E9-4A95-9FDB-097466208D95}" type="presParOf" srcId="{5B1841C0-952C-4F21-9DA4-0FFF3A287C91}" destId="{629F1054-A113-4443-81EA-90E026B0C2D0}" srcOrd="2" destOrd="0" presId="urn:microsoft.com/office/officeart/2005/8/layout/default"/>
    <dgm:cxn modelId="{97D1F24B-6CEE-47F0-9F30-C4DE19281A73}" type="presParOf" srcId="{5B1841C0-952C-4F21-9DA4-0FFF3A287C91}" destId="{8B7E0A4F-4282-4C23-9CF5-E835566C70E3}" srcOrd="3" destOrd="0" presId="urn:microsoft.com/office/officeart/2005/8/layout/default"/>
    <dgm:cxn modelId="{55F4CDD2-C022-4966-9918-8B05860ED96F}" type="presParOf" srcId="{5B1841C0-952C-4F21-9DA4-0FFF3A287C91}" destId="{29B8E5D6-2B1E-42FA-9018-B6511F13218B}" srcOrd="4" destOrd="0" presId="urn:microsoft.com/office/officeart/2005/8/layout/default"/>
    <dgm:cxn modelId="{DC32747F-D631-44B5-883C-DCA5F37DB329}" type="presParOf" srcId="{5B1841C0-952C-4F21-9DA4-0FFF3A287C91}" destId="{100A26A3-6F32-475F-ADC8-CD1F63ACBFB4}" srcOrd="5" destOrd="0" presId="urn:microsoft.com/office/officeart/2005/8/layout/default"/>
    <dgm:cxn modelId="{58FC470D-8C36-48DC-B050-D5F2B6AB258F}" type="presParOf" srcId="{5B1841C0-952C-4F21-9DA4-0FFF3A287C91}" destId="{97350AE0-AC8C-454C-84DF-EEEBEB349562}" srcOrd="6" destOrd="0" presId="urn:microsoft.com/office/officeart/2005/8/layout/default"/>
    <dgm:cxn modelId="{782012E9-D010-49AF-9FF8-3F6CE4557D01}" type="presParOf" srcId="{5B1841C0-952C-4F21-9DA4-0FFF3A287C91}" destId="{821E17A2-0467-46C9-B71A-88DA8F170BBC}" srcOrd="7" destOrd="0" presId="urn:microsoft.com/office/officeart/2005/8/layout/default"/>
    <dgm:cxn modelId="{178057CA-A503-4AAE-9C2A-35784AA7B5CB}" type="presParOf" srcId="{5B1841C0-952C-4F21-9DA4-0FFF3A287C91}" destId="{E21FA7A9-8B5C-4EAD-953F-91C6F3237883}"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Which 3 action groups are configured by default when you enable auditing?</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a:solidFill>
                <a:srgbClr val="FFFFFF"/>
              </a:solidFill>
            </a:rPr>
            <a:t>Where are the auditing records stored?</a:t>
          </a:r>
          <a:endParaRPr lang="en-US"/>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0C438C30-D7B8-40BF-97A5-D10ABF0A1BC1}">
      <dgm:prSet/>
      <dgm:spPr/>
      <dgm:t>
        <a:bodyPr/>
        <a:lstStyle/>
        <a:p>
          <a:pPr>
            <a:buFont typeface="Arial" panose="020B0604020202020204" pitchFamily="34" charset="0"/>
            <a:buChar char="•"/>
          </a:pPr>
          <a:r>
            <a:rPr lang="en-US">
              <a:solidFill>
                <a:srgbClr val="FFFFFF"/>
              </a:solidFill>
            </a:rPr>
            <a:t>Which tools can you use to analyze the Audit Logs?</a:t>
          </a:r>
          <a:endParaRPr lang="en-US"/>
        </a:p>
      </dgm:t>
    </dgm:pt>
    <dgm:pt modelId="{A0BEA1F8-D383-4B79-AE34-31FA61E1392A}" type="parTrans" cxnId="{A42EFF45-F530-4155-B651-955ADD8A9927}">
      <dgm:prSet/>
      <dgm:spPr/>
      <dgm:t>
        <a:bodyPr/>
        <a:lstStyle/>
        <a:p>
          <a:endParaRPr lang="en-US"/>
        </a:p>
      </dgm:t>
    </dgm:pt>
    <dgm:pt modelId="{424F4613-3FB3-4A22-A9A5-58A83CD9EFBF}" type="sibTrans" cxnId="{A42EFF45-F530-4155-B651-955ADD8A9927}">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dgm:presLayoutVars>
          <dgm:chMax val="0"/>
          <dgm:bulletEnabled val="1"/>
        </dgm:presLayoutVars>
      </dgm:prSet>
      <dgm:spPr/>
    </dgm:pt>
    <dgm:pt modelId="{1D6FA3E0-8D57-42AA-8402-C3150EC44C08}" type="pres">
      <dgm:prSet presAssocID="{AD379122-9DA8-482B-A8C0-ABBC422BBC25}" presName="spacer" presStyleCnt="0"/>
      <dgm:spPr/>
    </dgm:pt>
    <dgm:pt modelId="{5C29BE52-B903-4E71-A37C-F053B49277AD}" type="pres">
      <dgm:prSet presAssocID="{0C438C30-D7B8-40BF-97A5-D10ABF0A1BC1}" presName="parentText" presStyleLbl="node1" presStyleIdx="2" presStyleCnt="3">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A55E0227-C82E-4BE1-B182-F5752CBD3E56}" type="presOf" srcId="{0C438C30-D7B8-40BF-97A5-D10ABF0A1BC1}" destId="{5C29BE52-B903-4E71-A37C-F053B49277AD}"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A42EFF45-F530-4155-B651-955ADD8A9927}" srcId="{15A7774C-B622-4F48-8F7B-AF1AAB74E997}" destId="{0C438C30-D7B8-40BF-97A5-D10ABF0A1BC1}" srcOrd="2" destOrd="0" parTransId="{A0BEA1F8-D383-4B79-AE34-31FA61E1392A}" sibTransId="{424F4613-3FB3-4A22-A9A5-58A83CD9EFBF}"/>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0D6A94F1-38AC-4D00-9DE4-FD212FCC9BD9}" type="presParOf" srcId="{97400BD5-14CE-4761-8A6A-64BC46D23158}" destId="{1D6FA3E0-8D57-42AA-8402-C3150EC44C08}" srcOrd="3" destOrd="0" presId="urn:microsoft.com/office/officeart/2005/8/layout/vList2"/>
    <dgm:cxn modelId="{6E2AE311-77E8-4253-9B02-BBF102DA4474}" type="presParOf" srcId="{97400BD5-14CE-4761-8A6A-64BC46D23158}" destId="{5C29BE52-B903-4E71-A37C-F053B49277A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81CACE57-BA2A-47BB-9200-EA481E88FFC7}"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8038A2C-F6A8-4A2E-A66A-9BD2D5886EB6}">
      <dgm:prSet custT="1"/>
      <dgm:spPr>
        <a:xfrm>
          <a:off x="560070" y="5024"/>
          <a:ext cx="9444852" cy="1121760"/>
        </a:xfrm>
        <a:prstGeom prst="roundRect">
          <a:avLst/>
        </a:prstGeom>
      </dgm:spPr>
      <dgm:t>
        <a:bodyPr/>
        <a:lstStyle/>
        <a:p>
          <a:pPr>
            <a:buNone/>
          </a:pPr>
          <a:r>
            <a:rPr lang="en-US" sz="2000" u="none">
              <a:latin typeface="Segoe UI"/>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Advanced Data Security</a:t>
          </a:r>
          <a:r>
            <a:rPr lang="en-US" sz="2000">
              <a:latin typeface="Segoe UI"/>
              <a:ea typeface="+mn-ea"/>
              <a:cs typeface="+mn-cs"/>
            </a:rPr>
            <a:t> (ADS) offering, which is a unified package for advanced SQL security capabilities, </a:t>
          </a:r>
          <a:r>
            <a:rPr lang="en-US" sz="2000" b="0" i="0">
              <a:latin typeface="Segoe UI"/>
              <a:ea typeface="+mn-ea"/>
              <a:cs typeface="+mn-cs"/>
            </a:rPr>
            <a:t>including:</a:t>
          </a:r>
          <a:endParaRPr lang="en-US" sz="2000">
            <a:latin typeface="Segoe UI"/>
            <a:ea typeface="+mn-ea"/>
            <a:cs typeface="+mn-cs"/>
          </a:endParaRPr>
        </a:p>
      </dgm:t>
    </dgm:pt>
    <dgm:pt modelId="{825D19FF-A755-4BAC-987F-A7E6406DDF08}" type="parTrans" cxnId="{A9D2361D-760C-4A38-9F49-16AD460AC601}">
      <dgm:prSet/>
      <dgm:spPr/>
      <dgm:t>
        <a:bodyPr/>
        <a:lstStyle/>
        <a:p>
          <a:endParaRPr lang="en-US"/>
        </a:p>
      </dgm:t>
    </dgm:pt>
    <dgm:pt modelId="{5EDE8FB4-2641-4AEA-B1F6-C63EB4EA7549}" type="sibTrans" cxnId="{A9D2361D-760C-4A38-9F49-16AD460AC601}">
      <dgm:prSet/>
      <dgm:spPr/>
      <dgm:t>
        <a:bodyPr/>
        <a:lstStyle/>
        <a:p>
          <a:endParaRPr lang="en-US"/>
        </a:p>
      </dgm:t>
    </dgm:pt>
    <dgm:pt modelId="{EE6C0BF4-DC6A-4FCF-93E1-14886D41F9BB}">
      <dgm:prSet custT="1"/>
      <dgm:spPr>
        <a:xfrm>
          <a:off x="0" y="565904"/>
          <a:ext cx="11201399" cy="1975050"/>
        </a:xfrm>
        <a:prstGeom prst="rect">
          <a:avLst/>
        </a:prstGeom>
      </dgm:spPr>
      <dgm:t>
        <a:bodyPr/>
        <a:lstStyle/>
        <a:p>
          <a:pPr>
            <a:buChar char="•"/>
          </a:pPr>
          <a:r>
            <a:rPr lang="en-US" sz="2000">
              <a:latin typeface="Segoe UI"/>
              <a:ea typeface="+mn-ea"/>
              <a:cs typeface="+mn-cs"/>
            </a:rPr>
            <a:t>Data discovery &amp; classification</a:t>
          </a:r>
        </a:p>
      </dgm:t>
    </dgm:pt>
    <dgm:pt modelId="{08E506B2-2626-4CC1-BCA3-886213BD77A6}" type="parTrans" cxnId="{94BECF4C-50AB-47EF-BC30-3DA7E53ECAF5}">
      <dgm:prSet/>
      <dgm:spPr/>
      <dgm:t>
        <a:bodyPr/>
        <a:lstStyle/>
        <a:p>
          <a:endParaRPr lang="en-US"/>
        </a:p>
      </dgm:t>
    </dgm:pt>
    <dgm:pt modelId="{C4B6C7E6-D695-4CAD-A683-9C536AD9C29E}" type="sibTrans" cxnId="{94BECF4C-50AB-47EF-BC30-3DA7E53ECAF5}">
      <dgm:prSet/>
      <dgm:spPr/>
      <dgm:t>
        <a:bodyPr/>
        <a:lstStyle/>
        <a:p>
          <a:endParaRPr lang="en-US"/>
        </a:p>
      </dgm:t>
    </dgm:pt>
    <dgm:pt modelId="{8FBB173B-FBD2-40AE-B013-ABA9B01705CF}">
      <dgm:prSet custT="1"/>
      <dgm:spPr>
        <a:xfrm>
          <a:off x="0" y="565904"/>
          <a:ext cx="11201399" cy="1975050"/>
        </a:xfrm>
        <a:prstGeom prst="rect">
          <a:avLst/>
        </a:prstGeom>
      </dgm:spPr>
      <dgm:t>
        <a:bodyPr/>
        <a:lstStyle/>
        <a:p>
          <a:pPr>
            <a:buChar char="•"/>
          </a:pPr>
          <a:r>
            <a:rPr lang="en-US" sz="2000">
              <a:latin typeface="Segoe UI"/>
              <a:ea typeface="+mn-ea"/>
              <a:cs typeface="+mn-cs"/>
            </a:rPr>
            <a:t>Vulnerability</a:t>
          </a:r>
        </a:p>
      </dgm:t>
    </dgm:pt>
    <dgm:pt modelId="{BBEB17CE-27EE-484E-A720-A6C2826234F5}" type="parTrans" cxnId="{38D561B8-A7E3-4405-A1E3-4D2C8181931C}">
      <dgm:prSet/>
      <dgm:spPr/>
      <dgm:t>
        <a:bodyPr/>
        <a:lstStyle/>
        <a:p>
          <a:endParaRPr lang="en-US"/>
        </a:p>
      </dgm:t>
    </dgm:pt>
    <dgm:pt modelId="{04498DF8-7958-4DB4-A9D8-C10205517439}" type="sibTrans" cxnId="{38D561B8-A7E3-4405-A1E3-4D2C8181931C}">
      <dgm:prSet/>
      <dgm:spPr/>
      <dgm:t>
        <a:bodyPr/>
        <a:lstStyle/>
        <a:p>
          <a:endParaRPr lang="en-US"/>
        </a:p>
      </dgm:t>
    </dgm:pt>
    <dgm:pt modelId="{334F33DA-8DBC-48F1-B7A3-7DCF4BB2F54D}">
      <dgm:prSet custT="1"/>
      <dgm:spPr>
        <a:xfrm>
          <a:off x="560070" y="2746154"/>
          <a:ext cx="9444852" cy="1121760"/>
        </a:xfrm>
        <a:prstGeom prst="roundRect">
          <a:avLst/>
        </a:prstGeom>
      </dgm:spPr>
      <dgm:t>
        <a:bodyPr/>
        <a:lstStyle/>
        <a:p>
          <a:pPr>
            <a:buNone/>
          </a:pPr>
          <a:r>
            <a:rPr lang="en-US" sz="2000">
              <a:latin typeface="Segoe UI"/>
              <a:ea typeface="+mn-ea"/>
              <a:cs typeface="+mn-cs"/>
            </a:rPr>
            <a:t>All these capabilities can be accessed and managed via the central SQL ADS portal.</a:t>
          </a:r>
        </a:p>
      </dgm:t>
    </dgm:pt>
    <dgm:pt modelId="{DC887B42-1D89-46ED-903B-4D3C4C4A94B7}" type="parTrans" cxnId="{D80B1ACA-9915-41B7-8C6D-92CE41C99F0B}">
      <dgm:prSet/>
      <dgm:spPr/>
      <dgm:t>
        <a:bodyPr/>
        <a:lstStyle/>
        <a:p>
          <a:endParaRPr lang="en-US"/>
        </a:p>
      </dgm:t>
    </dgm:pt>
    <dgm:pt modelId="{F62B3AEF-174A-4618-BF71-3707DD5DD6E2}" type="sibTrans" cxnId="{D80B1ACA-9915-41B7-8C6D-92CE41C99F0B}">
      <dgm:prSet/>
      <dgm:spPr/>
      <dgm:t>
        <a:bodyPr/>
        <a:lstStyle/>
        <a:p>
          <a:endParaRPr lang="en-US"/>
        </a:p>
      </dgm:t>
    </dgm:pt>
    <dgm:pt modelId="{E4A6D9CF-9E67-48D8-8269-E5DBDABC9665}">
      <dgm:prSet custT="1"/>
      <dgm:spPr>
        <a:xfrm>
          <a:off x="0" y="565904"/>
          <a:ext cx="11201399" cy="1975050"/>
        </a:xfrm>
        <a:prstGeom prst="rect">
          <a:avLst/>
        </a:prstGeom>
      </dgm:spPr>
      <dgm:t>
        <a:bodyPr/>
        <a:lstStyle/>
        <a:p>
          <a:pPr>
            <a:buChar char="•"/>
          </a:pPr>
          <a:r>
            <a:rPr lang="en-US" sz="2000">
              <a:latin typeface="Segoe UI"/>
              <a:ea typeface="+mn-ea"/>
              <a:cs typeface="+mn-cs"/>
            </a:rPr>
            <a:t>Advanced Threat Protection</a:t>
          </a:r>
        </a:p>
      </dgm:t>
    </dgm:pt>
    <dgm:pt modelId="{269EF73B-2056-4B91-991C-EAD342C893B7}" type="parTrans" cxnId="{1D0E0818-5643-4DA7-9A97-12C4C059F1F3}">
      <dgm:prSet/>
      <dgm:spPr/>
      <dgm:t>
        <a:bodyPr/>
        <a:lstStyle/>
        <a:p>
          <a:endParaRPr lang="en-US"/>
        </a:p>
      </dgm:t>
    </dgm:pt>
    <dgm:pt modelId="{D02346C0-919F-44C7-83A8-9BA128BADDC0}" type="sibTrans" cxnId="{1D0E0818-5643-4DA7-9A97-12C4C059F1F3}">
      <dgm:prSet/>
      <dgm:spPr/>
      <dgm:t>
        <a:bodyPr/>
        <a:lstStyle/>
        <a:p>
          <a:endParaRPr lang="en-US"/>
        </a:p>
      </dgm:t>
    </dgm:pt>
    <dgm:pt modelId="{4669840B-C9BD-42FA-9693-4C6B7C087A09}" type="pres">
      <dgm:prSet presAssocID="{81CACE57-BA2A-47BB-9200-EA481E88FFC7}" presName="linear" presStyleCnt="0">
        <dgm:presLayoutVars>
          <dgm:dir/>
          <dgm:animLvl val="lvl"/>
          <dgm:resizeHandles val="exact"/>
        </dgm:presLayoutVars>
      </dgm:prSet>
      <dgm:spPr/>
    </dgm:pt>
    <dgm:pt modelId="{38C92BB1-1243-4BC1-9C80-EE3C21D38E64}" type="pres">
      <dgm:prSet presAssocID="{08038A2C-F6A8-4A2E-A66A-9BD2D5886EB6}" presName="parentLin" presStyleCnt="0"/>
      <dgm:spPr/>
    </dgm:pt>
    <dgm:pt modelId="{56578919-599D-4D4B-9341-DF60EB5393D3}" type="pres">
      <dgm:prSet presAssocID="{08038A2C-F6A8-4A2E-A66A-9BD2D5886EB6}" presName="parentLeftMargin" presStyleLbl="node1" presStyleIdx="0" presStyleCnt="2"/>
      <dgm:spPr/>
    </dgm:pt>
    <dgm:pt modelId="{EDA5B502-6D55-46F0-B169-07AD3F653BF2}" type="pres">
      <dgm:prSet presAssocID="{08038A2C-F6A8-4A2E-A66A-9BD2D5886EB6}" presName="parentText" presStyleLbl="node1" presStyleIdx="0" presStyleCnt="2" custScaleX="120455">
        <dgm:presLayoutVars>
          <dgm:chMax val="0"/>
          <dgm:bulletEnabled val="1"/>
        </dgm:presLayoutVars>
      </dgm:prSet>
      <dgm:spPr/>
    </dgm:pt>
    <dgm:pt modelId="{62DF13F8-A308-40CC-8AE2-74BF126077E2}" type="pres">
      <dgm:prSet presAssocID="{08038A2C-F6A8-4A2E-A66A-9BD2D5886EB6}" presName="negativeSpace" presStyleCnt="0"/>
      <dgm:spPr/>
    </dgm:pt>
    <dgm:pt modelId="{37BA8602-0292-46DD-9D12-D7EB2D330530}" type="pres">
      <dgm:prSet presAssocID="{08038A2C-F6A8-4A2E-A66A-9BD2D5886EB6}" presName="childText" presStyleLbl="conFgAcc1" presStyleIdx="0" presStyleCnt="2">
        <dgm:presLayoutVars>
          <dgm:bulletEnabled val="1"/>
        </dgm:presLayoutVars>
      </dgm:prSet>
      <dgm:spPr/>
    </dgm:pt>
    <dgm:pt modelId="{623F04A7-5963-4181-80A7-DB1517691029}" type="pres">
      <dgm:prSet presAssocID="{5EDE8FB4-2641-4AEA-B1F6-C63EB4EA7549}" presName="spaceBetweenRectangles" presStyleCnt="0"/>
      <dgm:spPr/>
    </dgm:pt>
    <dgm:pt modelId="{048AE16B-0954-4852-A9F8-B59E10EFABC7}" type="pres">
      <dgm:prSet presAssocID="{334F33DA-8DBC-48F1-B7A3-7DCF4BB2F54D}" presName="parentLin" presStyleCnt="0"/>
      <dgm:spPr/>
    </dgm:pt>
    <dgm:pt modelId="{B35128DD-1458-4F4C-AB3D-1F7F037A5EBE}" type="pres">
      <dgm:prSet presAssocID="{334F33DA-8DBC-48F1-B7A3-7DCF4BB2F54D}" presName="parentLeftMargin" presStyleLbl="node1" presStyleIdx="0" presStyleCnt="2"/>
      <dgm:spPr/>
    </dgm:pt>
    <dgm:pt modelId="{17AAF96E-3F2E-43CB-8171-BA78D6845CA8}" type="pres">
      <dgm:prSet presAssocID="{334F33DA-8DBC-48F1-B7A3-7DCF4BB2F54D}" presName="parentText" presStyleLbl="node1" presStyleIdx="1" presStyleCnt="2" custScaleX="120455">
        <dgm:presLayoutVars>
          <dgm:chMax val="0"/>
          <dgm:bulletEnabled val="1"/>
        </dgm:presLayoutVars>
      </dgm:prSet>
      <dgm:spPr/>
    </dgm:pt>
    <dgm:pt modelId="{7DA99ABC-E550-490D-8104-68343346B2F4}" type="pres">
      <dgm:prSet presAssocID="{334F33DA-8DBC-48F1-B7A3-7DCF4BB2F54D}" presName="negativeSpace" presStyleCnt="0"/>
      <dgm:spPr/>
    </dgm:pt>
    <dgm:pt modelId="{F6E8C80B-229B-40EF-842D-A2492FD537C1}" type="pres">
      <dgm:prSet presAssocID="{334F33DA-8DBC-48F1-B7A3-7DCF4BB2F54D}" presName="childText" presStyleLbl="conFgAcc1" presStyleIdx="1" presStyleCnt="2">
        <dgm:presLayoutVars>
          <dgm:bulletEnabled val="1"/>
        </dgm:presLayoutVars>
      </dgm:prSet>
      <dgm:spPr>
        <a:xfrm>
          <a:off x="0" y="3307034"/>
          <a:ext cx="11201399" cy="957600"/>
        </a:xfrm>
        <a:prstGeom prst="rect">
          <a:avLst/>
        </a:prstGeom>
      </dgm:spPr>
    </dgm:pt>
  </dgm:ptLst>
  <dgm:cxnLst>
    <dgm:cxn modelId="{1D0E0818-5643-4DA7-9A97-12C4C059F1F3}" srcId="{08038A2C-F6A8-4A2E-A66A-9BD2D5886EB6}" destId="{E4A6D9CF-9E67-48D8-8269-E5DBDABC9665}" srcOrd="0" destOrd="0" parTransId="{269EF73B-2056-4B91-991C-EAD342C893B7}" sibTransId="{D02346C0-919F-44C7-83A8-9BA128BADDC0}"/>
    <dgm:cxn modelId="{A9D2361D-760C-4A38-9F49-16AD460AC601}" srcId="{81CACE57-BA2A-47BB-9200-EA481E88FFC7}" destId="{08038A2C-F6A8-4A2E-A66A-9BD2D5886EB6}" srcOrd="0" destOrd="0" parTransId="{825D19FF-A755-4BAC-987F-A7E6406DDF08}" sibTransId="{5EDE8FB4-2641-4AEA-B1F6-C63EB4EA7549}"/>
    <dgm:cxn modelId="{134FF225-B3E4-49D2-ACBB-F2F1624B37E0}" type="presOf" srcId="{E4A6D9CF-9E67-48D8-8269-E5DBDABC9665}" destId="{37BA8602-0292-46DD-9D12-D7EB2D330530}" srcOrd="0" destOrd="0" presId="urn:microsoft.com/office/officeart/2005/8/layout/list1"/>
    <dgm:cxn modelId="{590A5D4A-5DEF-4CC9-AAE4-5F28174E1EC2}" type="presOf" srcId="{EE6C0BF4-DC6A-4FCF-93E1-14886D41F9BB}" destId="{37BA8602-0292-46DD-9D12-D7EB2D330530}" srcOrd="0" destOrd="1" presId="urn:microsoft.com/office/officeart/2005/8/layout/list1"/>
    <dgm:cxn modelId="{9A250F4C-EA07-4051-B2AF-9625A60281E9}" type="presOf" srcId="{8FBB173B-FBD2-40AE-B013-ABA9B01705CF}" destId="{37BA8602-0292-46DD-9D12-D7EB2D330530}" srcOrd="0" destOrd="2" presId="urn:microsoft.com/office/officeart/2005/8/layout/list1"/>
    <dgm:cxn modelId="{94BECF4C-50AB-47EF-BC30-3DA7E53ECAF5}" srcId="{08038A2C-F6A8-4A2E-A66A-9BD2D5886EB6}" destId="{EE6C0BF4-DC6A-4FCF-93E1-14886D41F9BB}" srcOrd="1" destOrd="0" parTransId="{08E506B2-2626-4CC1-BCA3-886213BD77A6}" sibTransId="{C4B6C7E6-D695-4CAD-A683-9C536AD9C29E}"/>
    <dgm:cxn modelId="{50ABD07C-CC1B-4C84-98CA-DDA3222C6470}" type="presOf" srcId="{334F33DA-8DBC-48F1-B7A3-7DCF4BB2F54D}" destId="{B35128DD-1458-4F4C-AB3D-1F7F037A5EBE}" srcOrd="0" destOrd="0" presId="urn:microsoft.com/office/officeart/2005/8/layout/list1"/>
    <dgm:cxn modelId="{38D561B8-A7E3-4405-A1E3-4D2C8181931C}" srcId="{08038A2C-F6A8-4A2E-A66A-9BD2D5886EB6}" destId="{8FBB173B-FBD2-40AE-B013-ABA9B01705CF}" srcOrd="2" destOrd="0" parTransId="{BBEB17CE-27EE-484E-A720-A6C2826234F5}" sibTransId="{04498DF8-7958-4DB4-A9D8-C10205517439}"/>
    <dgm:cxn modelId="{95A59FBC-9B7A-4A07-B9E8-9B10AA8B8B2E}" type="presOf" srcId="{08038A2C-F6A8-4A2E-A66A-9BD2D5886EB6}" destId="{56578919-599D-4D4B-9341-DF60EB5393D3}" srcOrd="0" destOrd="0" presId="urn:microsoft.com/office/officeart/2005/8/layout/list1"/>
    <dgm:cxn modelId="{D80B1ACA-9915-41B7-8C6D-92CE41C99F0B}" srcId="{81CACE57-BA2A-47BB-9200-EA481E88FFC7}" destId="{334F33DA-8DBC-48F1-B7A3-7DCF4BB2F54D}" srcOrd="1" destOrd="0" parTransId="{DC887B42-1D89-46ED-903B-4D3C4C4A94B7}" sibTransId="{F62B3AEF-174A-4618-BF71-3707DD5DD6E2}"/>
    <dgm:cxn modelId="{EB4C03D3-D023-4345-927F-42123F720FF2}" type="presOf" srcId="{334F33DA-8DBC-48F1-B7A3-7DCF4BB2F54D}" destId="{17AAF96E-3F2E-43CB-8171-BA78D6845CA8}" srcOrd="1" destOrd="0" presId="urn:microsoft.com/office/officeart/2005/8/layout/list1"/>
    <dgm:cxn modelId="{8ABCD9D5-EA92-4231-8888-3D050FD34F74}" type="presOf" srcId="{81CACE57-BA2A-47BB-9200-EA481E88FFC7}" destId="{4669840B-C9BD-42FA-9693-4C6B7C087A09}" srcOrd="0" destOrd="0" presId="urn:microsoft.com/office/officeart/2005/8/layout/list1"/>
    <dgm:cxn modelId="{E5F6B3F4-A0A8-4CC1-AAD7-FDFBC40945BC}" type="presOf" srcId="{08038A2C-F6A8-4A2E-A66A-9BD2D5886EB6}" destId="{EDA5B502-6D55-46F0-B169-07AD3F653BF2}" srcOrd="1" destOrd="0" presId="urn:microsoft.com/office/officeart/2005/8/layout/list1"/>
    <dgm:cxn modelId="{AE5C3852-C599-4DEB-B5CE-AE7B2D728B69}" type="presParOf" srcId="{4669840B-C9BD-42FA-9693-4C6B7C087A09}" destId="{38C92BB1-1243-4BC1-9C80-EE3C21D38E64}" srcOrd="0" destOrd="0" presId="urn:microsoft.com/office/officeart/2005/8/layout/list1"/>
    <dgm:cxn modelId="{E66BE1D2-908E-4D97-B983-D4DEE5EF3ADA}" type="presParOf" srcId="{38C92BB1-1243-4BC1-9C80-EE3C21D38E64}" destId="{56578919-599D-4D4B-9341-DF60EB5393D3}" srcOrd="0" destOrd="0" presId="urn:microsoft.com/office/officeart/2005/8/layout/list1"/>
    <dgm:cxn modelId="{4B56DF9B-6CCF-4E15-A1B7-78463FAFEDE9}" type="presParOf" srcId="{38C92BB1-1243-4BC1-9C80-EE3C21D38E64}" destId="{EDA5B502-6D55-46F0-B169-07AD3F653BF2}" srcOrd="1" destOrd="0" presId="urn:microsoft.com/office/officeart/2005/8/layout/list1"/>
    <dgm:cxn modelId="{DC5AB914-A7E0-4947-B622-DB001CAD34B5}" type="presParOf" srcId="{4669840B-C9BD-42FA-9693-4C6B7C087A09}" destId="{62DF13F8-A308-40CC-8AE2-74BF126077E2}" srcOrd="1" destOrd="0" presId="urn:microsoft.com/office/officeart/2005/8/layout/list1"/>
    <dgm:cxn modelId="{9E6986DE-B748-4A37-B72D-F1C80041CB2C}" type="presParOf" srcId="{4669840B-C9BD-42FA-9693-4C6B7C087A09}" destId="{37BA8602-0292-46DD-9D12-D7EB2D330530}" srcOrd="2" destOrd="0" presId="urn:microsoft.com/office/officeart/2005/8/layout/list1"/>
    <dgm:cxn modelId="{EF4186B4-37F5-4A27-AD70-1FD1DB7E547C}" type="presParOf" srcId="{4669840B-C9BD-42FA-9693-4C6B7C087A09}" destId="{623F04A7-5963-4181-80A7-DB1517691029}" srcOrd="3" destOrd="0" presId="urn:microsoft.com/office/officeart/2005/8/layout/list1"/>
    <dgm:cxn modelId="{36062035-08AD-44FE-A274-743F7463C7B0}" type="presParOf" srcId="{4669840B-C9BD-42FA-9693-4C6B7C087A09}" destId="{048AE16B-0954-4852-A9F8-B59E10EFABC7}" srcOrd="4" destOrd="0" presId="urn:microsoft.com/office/officeart/2005/8/layout/list1"/>
    <dgm:cxn modelId="{FAC316FC-41BA-4998-A2EA-29BDAF5AC68A}" type="presParOf" srcId="{048AE16B-0954-4852-A9F8-B59E10EFABC7}" destId="{B35128DD-1458-4F4C-AB3D-1F7F037A5EBE}" srcOrd="0" destOrd="0" presId="urn:microsoft.com/office/officeart/2005/8/layout/list1"/>
    <dgm:cxn modelId="{000F93C4-FDA1-4263-BBC8-BA347A8898F9}" type="presParOf" srcId="{048AE16B-0954-4852-A9F8-B59E10EFABC7}" destId="{17AAF96E-3F2E-43CB-8171-BA78D6845CA8}" srcOrd="1" destOrd="0" presId="urn:microsoft.com/office/officeart/2005/8/layout/list1"/>
    <dgm:cxn modelId="{3E3C2E01-E62E-400C-91B9-CD7E2BB8FB47}" type="presParOf" srcId="{4669840B-C9BD-42FA-9693-4C6B7C087A09}" destId="{7DA99ABC-E550-490D-8104-68343346B2F4}" srcOrd="5" destOrd="0" presId="urn:microsoft.com/office/officeart/2005/8/layout/list1"/>
    <dgm:cxn modelId="{2B996181-612A-41B0-8E31-BEE42EDB9116}" type="presParOf" srcId="{4669840B-C9BD-42FA-9693-4C6B7C087A09}" destId="{F6E8C80B-229B-40EF-842D-A2492FD537C1}"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81CACE57-BA2A-47BB-9200-EA481E88FFC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DD10D42-9DB0-4403-B522-2EC4C66CC787}">
      <dgm:prSet custT="1"/>
      <dgm:spPr>
        <a:xfrm>
          <a:off x="0" y="549630"/>
          <a:ext cx="11201399" cy="1216800"/>
        </a:xfrm>
        <a:prstGeom prst="roundRect">
          <a:avLst/>
        </a:prstGeom>
      </dgm:spPr>
      <dgm:t>
        <a:bodyPr/>
        <a:lstStyle/>
        <a:p>
          <a:pPr>
            <a:buNone/>
          </a:pPr>
          <a:r>
            <a:rPr lang="en-US" sz="2400">
              <a:latin typeface="Segoe UI"/>
              <a:ea typeface="+mn-ea"/>
              <a:cs typeface="+mn-cs"/>
            </a:rPr>
            <a:t>Advanced Threat Protection for single and pooled databases detects anomalous activities indicating unusual and potentially harmful attempts to access or exploit databases.</a:t>
          </a:r>
        </a:p>
      </dgm:t>
    </dgm:pt>
    <dgm:pt modelId="{3C47E819-092B-4E45-8CF1-6C0727AEE619}" type="parTrans" cxnId="{E078ED65-2C93-4CCA-9FF4-0666F0734524}">
      <dgm:prSet/>
      <dgm:spPr/>
      <dgm:t>
        <a:bodyPr/>
        <a:lstStyle/>
        <a:p>
          <a:endParaRPr lang="en-US"/>
        </a:p>
      </dgm:t>
    </dgm:pt>
    <dgm:pt modelId="{261F1521-7348-4684-B2D1-FE4358F82CDF}" type="sibTrans" cxnId="{E078ED65-2C93-4CCA-9FF4-0666F0734524}">
      <dgm:prSet/>
      <dgm:spPr/>
      <dgm:t>
        <a:bodyPr/>
        <a:lstStyle/>
        <a:p>
          <a:endParaRPr lang="en-US"/>
        </a:p>
      </dgm:t>
    </dgm:pt>
    <dgm:pt modelId="{283E399C-67B7-4A78-B6E1-4864AD08B850}">
      <dgm:prSet custT="1"/>
      <dgm:spPr>
        <a:xfrm>
          <a:off x="0" y="1953630"/>
          <a:ext cx="11201399" cy="1216800"/>
        </a:xfrm>
        <a:prstGeom prst="roundRect">
          <a:avLst/>
        </a:prstGeom>
      </dgm:spPr>
      <dgm:t>
        <a:bodyPr/>
        <a:lstStyle/>
        <a:p>
          <a:pPr>
            <a:buNone/>
          </a:pPr>
          <a:r>
            <a:rPr lang="en-US" sz="2400">
              <a:latin typeface="Segoe UI"/>
              <a:ea typeface="+mn-ea"/>
              <a:cs typeface="+mn-cs"/>
            </a:rPr>
            <a:t> Advanced Threat Protection can identify:</a:t>
          </a:r>
        </a:p>
      </dgm:t>
    </dgm:pt>
    <dgm:pt modelId="{4D23A9A6-6E5D-4BA6-99C6-EEA225027F19}" type="parTrans" cxnId="{032F70F4-2037-4443-9899-6A855B0B9C64}">
      <dgm:prSet/>
      <dgm:spPr/>
      <dgm:t>
        <a:bodyPr/>
        <a:lstStyle/>
        <a:p>
          <a:endParaRPr lang="en-US"/>
        </a:p>
      </dgm:t>
    </dgm:pt>
    <dgm:pt modelId="{956E6DE0-F904-4FEB-B08A-EE212C45C9B6}" type="sibTrans" cxnId="{032F70F4-2037-4443-9899-6A855B0B9C64}">
      <dgm:prSet/>
      <dgm:spPr/>
      <dgm:t>
        <a:bodyPr/>
        <a:lstStyle/>
        <a:p>
          <a:endParaRPr lang="en-US"/>
        </a:p>
      </dgm:t>
    </dgm:pt>
    <dgm:pt modelId="{35989562-4EB4-4EF0-8326-FB6491AC89F9}">
      <dgm:prSet custT="1"/>
      <dgm:spPr>
        <a:xfrm>
          <a:off x="0" y="3170430"/>
          <a:ext cx="11201399" cy="1110037"/>
        </a:xfrm>
        <a:prstGeom prst="rect">
          <a:avLst/>
        </a:prstGeom>
      </dgm:spPr>
      <dgm:t>
        <a:bodyPr/>
        <a:lstStyle/>
        <a:p>
          <a:pPr>
            <a:buChar char="•"/>
          </a:pPr>
          <a:r>
            <a:rPr lang="en-US" sz="2000">
              <a:latin typeface="Segoe UI"/>
              <a:ea typeface="+mn-ea"/>
              <a:cs typeface="+mn-cs"/>
            </a:rPr>
            <a:t>Potential SQL injection, Access from unusual location or data center.</a:t>
          </a:r>
        </a:p>
      </dgm:t>
    </dgm:pt>
    <dgm:pt modelId="{EC00EDF6-8FC9-4D67-BE97-7CB6E29521CE}" type="parTrans" cxnId="{68B5440C-215B-411F-9073-D9B2474060D5}">
      <dgm:prSet/>
      <dgm:spPr/>
      <dgm:t>
        <a:bodyPr/>
        <a:lstStyle/>
        <a:p>
          <a:endParaRPr lang="en-US"/>
        </a:p>
      </dgm:t>
    </dgm:pt>
    <dgm:pt modelId="{2A92961F-6C81-43EC-86D7-03BCBA12E29D}" type="sibTrans" cxnId="{68B5440C-215B-411F-9073-D9B2474060D5}">
      <dgm:prSet/>
      <dgm:spPr/>
      <dgm:t>
        <a:bodyPr/>
        <a:lstStyle/>
        <a:p>
          <a:endParaRPr lang="en-US"/>
        </a:p>
      </dgm:t>
    </dgm:pt>
    <dgm:pt modelId="{3F5931FC-04A7-41F5-9E6C-C4FEA34D35EB}">
      <dgm:prSet custT="1"/>
      <dgm:spPr>
        <a:xfrm>
          <a:off x="0" y="3170430"/>
          <a:ext cx="11201399" cy="1110037"/>
        </a:xfrm>
        <a:prstGeom prst="rect">
          <a:avLst/>
        </a:prstGeom>
      </dgm:spPr>
      <dgm:t>
        <a:bodyPr/>
        <a:lstStyle/>
        <a:p>
          <a:pPr>
            <a:buChar char="•"/>
          </a:pPr>
          <a:r>
            <a:rPr lang="en-US" sz="2000">
              <a:latin typeface="Segoe UI"/>
              <a:ea typeface="+mn-ea"/>
              <a:cs typeface="+mn-cs"/>
            </a:rPr>
            <a:t>Access from unfamiliar principal or potentially harmful application. </a:t>
          </a:r>
        </a:p>
      </dgm:t>
    </dgm:pt>
    <dgm:pt modelId="{AA5C3EFE-6729-40F6-BE46-41318F5B0C45}" type="parTrans" cxnId="{2BDE2EB4-F5C7-4690-9E25-9A6F6EC24F72}">
      <dgm:prSet/>
      <dgm:spPr/>
      <dgm:t>
        <a:bodyPr/>
        <a:lstStyle/>
        <a:p>
          <a:endParaRPr lang="en-US"/>
        </a:p>
      </dgm:t>
    </dgm:pt>
    <dgm:pt modelId="{86726F83-8A63-4C22-816D-2095E60FB136}" type="sibTrans" cxnId="{2BDE2EB4-F5C7-4690-9E25-9A6F6EC24F72}">
      <dgm:prSet/>
      <dgm:spPr/>
      <dgm:t>
        <a:bodyPr/>
        <a:lstStyle/>
        <a:p>
          <a:endParaRPr lang="en-US"/>
        </a:p>
      </dgm:t>
    </dgm:pt>
    <dgm:pt modelId="{1B62B385-4155-47E3-B56C-D37B8702354A}">
      <dgm:prSet custT="1"/>
      <dgm:spPr>
        <a:xfrm>
          <a:off x="0" y="3170430"/>
          <a:ext cx="11201399" cy="1110037"/>
        </a:xfrm>
        <a:prstGeom prst="rect">
          <a:avLst/>
        </a:prstGeom>
      </dgm:spPr>
      <dgm:t>
        <a:bodyPr/>
        <a:lstStyle/>
        <a:p>
          <a:pPr>
            <a:buChar char="•"/>
          </a:pPr>
          <a:r>
            <a:rPr lang="en-US" sz="2000">
              <a:latin typeface="Segoe UI"/>
              <a:ea typeface="+mn-ea"/>
              <a:cs typeface="+mn-cs"/>
            </a:rPr>
            <a:t>Brute force SQL credentials.</a:t>
          </a:r>
        </a:p>
      </dgm:t>
    </dgm:pt>
    <dgm:pt modelId="{F0F03CDA-791D-4B26-BD99-A3E6B3E68FAC}" type="parTrans" cxnId="{5355F53A-0D62-42FD-88E8-4ACA283C2008}">
      <dgm:prSet/>
      <dgm:spPr/>
      <dgm:t>
        <a:bodyPr/>
        <a:lstStyle/>
        <a:p>
          <a:endParaRPr lang="en-US"/>
        </a:p>
      </dgm:t>
    </dgm:pt>
    <dgm:pt modelId="{8E015E50-744B-4404-91E3-0B7F0376FA47}" type="sibTrans" cxnId="{5355F53A-0D62-42FD-88E8-4ACA283C2008}">
      <dgm:prSet/>
      <dgm:spPr/>
      <dgm:t>
        <a:bodyPr/>
        <a:lstStyle/>
        <a:p>
          <a:endParaRPr lang="en-US"/>
        </a:p>
      </dgm:t>
    </dgm:pt>
    <dgm:pt modelId="{92250C36-C651-4A96-8ECA-EA69529F09BF}" type="pres">
      <dgm:prSet presAssocID="{81CACE57-BA2A-47BB-9200-EA481E88FFC7}" presName="linear" presStyleCnt="0">
        <dgm:presLayoutVars>
          <dgm:animLvl val="lvl"/>
          <dgm:resizeHandles val="exact"/>
        </dgm:presLayoutVars>
      </dgm:prSet>
      <dgm:spPr/>
    </dgm:pt>
    <dgm:pt modelId="{99CEC710-F96B-415D-B99C-F5532DC78F37}" type="pres">
      <dgm:prSet presAssocID="{CDD10D42-9DB0-4403-B522-2EC4C66CC787}" presName="parentText" presStyleLbl="node1" presStyleIdx="0" presStyleCnt="2">
        <dgm:presLayoutVars>
          <dgm:chMax val="0"/>
          <dgm:bulletEnabled val="1"/>
        </dgm:presLayoutVars>
      </dgm:prSet>
      <dgm:spPr/>
    </dgm:pt>
    <dgm:pt modelId="{7D43C667-32A6-4E7E-97A8-9F36CAF0E074}" type="pres">
      <dgm:prSet presAssocID="{261F1521-7348-4684-B2D1-FE4358F82CDF}" presName="spacer" presStyleCnt="0"/>
      <dgm:spPr/>
    </dgm:pt>
    <dgm:pt modelId="{2E3DE9DB-BCB0-4D83-9F51-AA9C6E5917E0}" type="pres">
      <dgm:prSet presAssocID="{283E399C-67B7-4A78-B6E1-4864AD08B850}" presName="parentText" presStyleLbl="node1" presStyleIdx="1" presStyleCnt="2">
        <dgm:presLayoutVars>
          <dgm:chMax val="0"/>
          <dgm:bulletEnabled val="1"/>
        </dgm:presLayoutVars>
      </dgm:prSet>
      <dgm:spPr/>
    </dgm:pt>
    <dgm:pt modelId="{17C01B5D-C087-4522-8E51-6A993CC44670}" type="pres">
      <dgm:prSet presAssocID="{283E399C-67B7-4A78-B6E1-4864AD08B850}" presName="childText" presStyleLbl="revTx" presStyleIdx="0" presStyleCnt="1">
        <dgm:presLayoutVars>
          <dgm:bulletEnabled val="1"/>
        </dgm:presLayoutVars>
      </dgm:prSet>
      <dgm:spPr/>
    </dgm:pt>
  </dgm:ptLst>
  <dgm:cxnLst>
    <dgm:cxn modelId="{68B5440C-215B-411F-9073-D9B2474060D5}" srcId="{283E399C-67B7-4A78-B6E1-4864AD08B850}" destId="{35989562-4EB4-4EF0-8326-FB6491AC89F9}" srcOrd="0" destOrd="0" parTransId="{EC00EDF6-8FC9-4D67-BE97-7CB6E29521CE}" sibTransId="{2A92961F-6C81-43EC-86D7-03BCBA12E29D}"/>
    <dgm:cxn modelId="{8AFE4F0F-188C-4999-9CBA-96A707FF3B4F}" type="presOf" srcId="{35989562-4EB4-4EF0-8326-FB6491AC89F9}" destId="{17C01B5D-C087-4522-8E51-6A993CC44670}" srcOrd="0" destOrd="0" presId="urn:microsoft.com/office/officeart/2005/8/layout/vList2"/>
    <dgm:cxn modelId="{BD20BF24-C2D4-47BA-95D8-B9EA579156E5}" type="presOf" srcId="{3F5931FC-04A7-41F5-9E6C-C4FEA34D35EB}" destId="{17C01B5D-C087-4522-8E51-6A993CC44670}" srcOrd="0" destOrd="1" presId="urn:microsoft.com/office/officeart/2005/8/layout/vList2"/>
    <dgm:cxn modelId="{5355F53A-0D62-42FD-88E8-4ACA283C2008}" srcId="{283E399C-67B7-4A78-B6E1-4864AD08B850}" destId="{1B62B385-4155-47E3-B56C-D37B8702354A}" srcOrd="2" destOrd="0" parTransId="{F0F03CDA-791D-4B26-BD99-A3E6B3E68FAC}" sibTransId="{8E015E50-744B-4404-91E3-0B7F0376FA47}"/>
    <dgm:cxn modelId="{E078ED65-2C93-4CCA-9FF4-0666F0734524}" srcId="{81CACE57-BA2A-47BB-9200-EA481E88FFC7}" destId="{CDD10D42-9DB0-4403-B522-2EC4C66CC787}" srcOrd="0" destOrd="0" parTransId="{3C47E819-092B-4E45-8CF1-6C0727AEE619}" sibTransId="{261F1521-7348-4684-B2D1-FE4358F82CDF}"/>
    <dgm:cxn modelId="{5070BF8A-4742-4900-A311-C7397DC28656}" type="presOf" srcId="{81CACE57-BA2A-47BB-9200-EA481E88FFC7}" destId="{92250C36-C651-4A96-8ECA-EA69529F09BF}" srcOrd="0" destOrd="0" presId="urn:microsoft.com/office/officeart/2005/8/layout/vList2"/>
    <dgm:cxn modelId="{4F492F91-E9E4-403B-B1D9-C6CB4ECED584}" type="presOf" srcId="{283E399C-67B7-4A78-B6E1-4864AD08B850}" destId="{2E3DE9DB-BCB0-4D83-9F51-AA9C6E5917E0}" srcOrd="0" destOrd="0" presId="urn:microsoft.com/office/officeart/2005/8/layout/vList2"/>
    <dgm:cxn modelId="{2BDE2EB4-F5C7-4690-9E25-9A6F6EC24F72}" srcId="{283E399C-67B7-4A78-B6E1-4864AD08B850}" destId="{3F5931FC-04A7-41F5-9E6C-C4FEA34D35EB}" srcOrd="1" destOrd="0" parTransId="{AA5C3EFE-6729-40F6-BE46-41318F5B0C45}" sibTransId="{86726F83-8A63-4C22-816D-2095E60FB136}"/>
    <dgm:cxn modelId="{B7E7B2DC-A0CC-4497-A26D-7C0DD2550CBC}" type="presOf" srcId="{CDD10D42-9DB0-4403-B522-2EC4C66CC787}" destId="{99CEC710-F96B-415D-B99C-F5532DC78F37}" srcOrd="0" destOrd="0" presId="urn:microsoft.com/office/officeart/2005/8/layout/vList2"/>
    <dgm:cxn modelId="{CA5F70EE-0544-4A54-AB8C-294C029EA519}" type="presOf" srcId="{1B62B385-4155-47E3-B56C-D37B8702354A}" destId="{17C01B5D-C087-4522-8E51-6A993CC44670}" srcOrd="0" destOrd="2" presId="urn:microsoft.com/office/officeart/2005/8/layout/vList2"/>
    <dgm:cxn modelId="{032F70F4-2037-4443-9899-6A855B0B9C64}" srcId="{81CACE57-BA2A-47BB-9200-EA481E88FFC7}" destId="{283E399C-67B7-4A78-B6E1-4864AD08B850}" srcOrd="1" destOrd="0" parTransId="{4D23A9A6-6E5D-4BA6-99C6-EEA225027F19}" sibTransId="{956E6DE0-F904-4FEB-B08A-EE212C45C9B6}"/>
    <dgm:cxn modelId="{66205AC3-9865-4838-B2BA-C231DC860569}" type="presParOf" srcId="{92250C36-C651-4A96-8ECA-EA69529F09BF}" destId="{99CEC710-F96B-415D-B99C-F5532DC78F37}" srcOrd="0" destOrd="0" presId="urn:microsoft.com/office/officeart/2005/8/layout/vList2"/>
    <dgm:cxn modelId="{F6511F82-6136-4DFE-B6A3-03D493FCA648}" type="presParOf" srcId="{92250C36-C651-4A96-8ECA-EA69529F09BF}" destId="{7D43C667-32A6-4E7E-97A8-9F36CAF0E074}" srcOrd="1" destOrd="0" presId="urn:microsoft.com/office/officeart/2005/8/layout/vList2"/>
    <dgm:cxn modelId="{20A1EB94-DBD8-4228-85C5-BC9E7E12B7BA}" type="presParOf" srcId="{92250C36-C651-4A96-8ECA-EA69529F09BF}" destId="{2E3DE9DB-BCB0-4D83-9F51-AA9C6E5917E0}" srcOrd="2" destOrd="0" presId="urn:microsoft.com/office/officeart/2005/8/layout/vList2"/>
    <dgm:cxn modelId="{52AC09B5-F196-4827-8B7D-6E54B359EE40}" type="presParOf" srcId="{92250C36-C651-4A96-8ECA-EA69529F09BF}" destId="{17C01B5D-C087-4522-8E51-6A993CC4467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8AA9A722-DF74-4746-80A5-4C814EE41EB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D037DC25-5ECF-437D-8909-BF88596E790E}">
      <dgm:prSet phldrT="[Text]" custT="1"/>
      <dgm:spPr>
        <a:xfrm>
          <a:off x="622562" y="424937"/>
          <a:ext cx="5125010" cy="850317"/>
        </a:xfrm>
      </dgm:spPr>
      <dgm:t>
        <a:bodyPr/>
        <a:lstStyle/>
        <a:p>
          <a:pPr>
            <a:buClr>
              <a:srgbClr val="FFFFFF"/>
            </a:buClr>
            <a:buSzPct val="90000"/>
            <a:buFont typeface="Wingdings" pitchFamily="2" charset="2"/>
            <a:buNone/>
          </a:pPr>
          <a:r>
            <a:rPr kumimoji="0" lang="en-US" sz="18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Detect anomalous database activities that could indicate a potential threat.</a:t>
          </a:r>
          <a:endParaRPr lang="en-US" sz="1800">
            <a:latin typeface="Segoe UI"/>
            <a:ea typeface="+mn-ea"/>
            <a:cs typeface="+mn-cs"/>
          </a:endParaRPr>
        </a:p>
      </dgm:t>
    </dgm:pt>
    <dgm:pt modelId="{A9F533DA-A6B3-462C-820D-70FFC0E9ACEC}" type="parTrans" cxnId="{EE4F1385-7616-4770-B7A8-DCFF4E6C48F0}">
      <dgm:prSet/>
      <dgm:spPr/>
      <dgm:t>
        <a:bodyPr/>
        <a:lstStyle/>
        <a:p>
          <a:endParaRPr lang="en-US"/>
        </a:p>
      </dgm:t>
    </dgm:pt>
    <dgm:pt modelId="{F6B216F6-589E-4BE1-A57B-0ACA7F0C7772}" type="sibTrans" cxnId="{EE4F1385-7616-4770-B7A8-DCFF4E6C48F0}">
      <dgm:prSet/>
      <dgm:spPr>
        <a:xfrm>
          <a:off x="-6249872" y="-956093"/>
          <a:ext cx="7439473" cy="7439473"/>
        </a:xfrm>
      </dgm:spPr>
      <dgm:t>
        <a:bodyPr/>
        <a:lstStyle/>
        <a:p>
          <a:endParaRPr lang="en-US"/>
        </a:p>
      </dgm:t>
    </dgm:pt>
    <dgm:pt modelId="{B9097421-AE8D-46E9-96F2-A4EE274C8EE1}">
      <dgm:prSet custT="1"/>
      <dgm:spPr>
        <a:xfrm>
          <a:off x="1110069" y="1700635"/>
          <a:ext cx="4637503" cy="850317"/>
        </a:xfrm>
      </dgm:spPr>
      <dgm:t>
        <a:bodyPr/>
        <a:lstStyle/>
        <a:p>
          <a:pPr>
            <a:buNone/>
          </a:pPr>
          <a:r>
            <a:rPr kumimoji="0" lang="en-US" sz="18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Configure threat detection policy in Azure Portal.</a:t>
          </a:r>
        </a:p>
      </dgm:t>
    </dgm:pt>
    <dgm:pt modelId="{87759EAC-D0CC-4685-B72D-09FB080A0CCA}" type="parTrans" cxnId="{587F44D4-38EA-49A4-B437-DD390B558E1B}">
      <dgm:prSet/>
      <dgm:spPr/>
      <dgm:t>
        <a:bodyPr/>
        <a:lstStyle/>
        <a:p>
          <a:endParaRPr lang="en-US"/>
        </a:p>
      </dgm:t>
    </dgm:pt>
    <dgm:pt modelId="{06EA9386-1E2C-4D1D-90BD-46363BA36B40}" type="sibTrans" cxnId="{587F44D4-38EA-49A4-B437-DD390B558E1B}">
      <dgm:prSet/>
      <dgm:spPr/>
      <dgm:t>
        <a:bodyPr/>
        <a:lstStyle/>
        <a:p>
          <a:endParaRPr lang="en-US"/>
        </a:p>
      </dgm:t>
    </dgm:pt>
    <dgm:pt modelId="{C0DC739F-F77F-4C41-ADB6-EF9B5CCBF8FC}">
      <dgm:prSet custT="1"/>
      <dgm:spPr>
        <a:xfrm>
          <a:off x="1110069" y="2976333"/>
          <a:ext cx="4637503" cy="850317"/>
        </a:xfrm>
      </dgm:spPr>
      <dgm:t>
        <a:bodyPr/>
        <a:lstStyle/>
        <a:p>
          <a:pPr>
            <a:buNone/>
          </a:pPr>
          <a:r>
            <a:rPr kumimoji="0" lang="en-US" sz="1800"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Receive alerts from multiple database threat detectors that identify anomalous activities.</a:t>
          </a:r>
        </a:p>
      </dgm:t>
    </dgm:pt>
    <dgm:pt modelId="{F7940790-1F1F-469B-B0F9-7864881EB327}" type="parTrans" cxnId="{F98C9F8B-4CA5-41FF-9BF2-E8F5041950EC}">
      <dgm:prSet/>
      <dgm:spPr/>
      <dgm:t>
        <a:bodyPr/>
        <a:lstStyle/>
        <a:p>
          <a:endParaRPr lang="en-US"/>
        </a:p>
      </dgm:t>
    </dgm:pt>
    <dgm:pt modelId="{4F3F388A-ACFE-453C-BE6F-871132E697E0}" type="sibTrans" cxnId="{F98C9F8B-4CA5-41FF-9BF2-E8F5041950EC}">
      <dgm:prSet/>
      <dgm:spPr/>
      <dgm:t>
        <a:bodyPr/>
        <a:lstStyle/>
        <a:p>
          <a:endParaRPr lang="en-US"/>
        </a:p>
      </dgm:t>
    </dgm:pt>
    <dgm:pt modelId="{BAE9F159-5CDC-4B60-8986-7FE016416276}">
      <dgm:prSet custT="1"/>
      <dgm:spPr>
        <a:xfrm>
          <a:off x="622562" y="4252031"/>
          <a:ext cx="5125010" cy="850317"/>
        </a:xfrm>
      </dgm:spPr>
      <dgm:t>
        <a:bodyPr/>
        <a:lstStyle/>
        <a:p>
          <a:pPr>
            <a:buNone/>
          </a:pPr>
          <a:r>
            <a:rPr kumimoji="0" lang="en-US" sz="1800"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Explore audit log around the time of an event.</a:t>
          </a:r>
        </a:p>
      </dgm:t>
    </dgm:pt>
    <dgm:pt modelId="{12C548A5-3E1E-48B5-8DE7-68490421B568}" type="parTrans" cxnId="{B4F0953A-D1E9-4301-B72F-06F316415193}">
      <dgm:prSet/>
      <dgm:spPr/>
      <dgm:t>
        <a:bodyPr/>
        <a:lstStyle/>
        <a:p>
          <a:endParaRPr lang="en-US"/>
        </a:p>
      </dgm:t>
    </dgm:pt>
    <dgm:pt modelId="{CBE31520-7B9F-4C3B-B0A5-186648279E81}" type="sibTrans" cxnId="{B4F0953A-D1E9-4301-B72F-06F316415193}">
      <dgm:prSet/>
      <dgm:spPr/>
      <dgm:t>
        <a:bodyPr/>
        <a:lstStyle/>
        <a:p>
          <a:endParaRPr lang="en-US"/>
        </a:p>
      </dgm:t>
    </dgm:pt>
    <dgm:pt modelId="{17E813D2-5F61-4C65-971E-BBF19C935CC4}" type="pres">
      <dgm:prSet presAssocID="{8AA9A722-DF74-4746-80A5-4C814EE41EBA}" presName="Name0" presStyleCnt="0">
        <dgm:presLayoutVars>
          <dgm:chMax val="7"/>
          <dgm:chPref val="7"/>
          <dgm:dir/>
        </dgm:presLayoutVars>
      </dgm:prSet>
      <dgm:spPr/>
    </dgm:pt>
    <dgm:pt modelId="{96AEDB12-9BEA-4D9F-A056-7F473DD2C344}" type="pres">
      <dgm:prSet presAssocID="{8AA9A722-DF74-4746-80A5-4C814EE41EBA}" presName="Name1" presStyleCnt="0"/>
      <dgm:spPr/>
    </dgm:pt>
    <dgm:pt modelId="{BEB11085-D9AB-41D8-ACF4-42C2C11C870A}" type="pres">
      <dgm:prSet presAssocID="{8AA9A722-DF74-4746-80A5-4C814EE41EBA}" presName="cycle" presStyleCnt="0"/>
      <dgm:spPr/>
    </dgm:pt>
    <dgm:pt modelId="{CC5ECEDA-D90E-46C5-B8D7-6F2653EE3BB1}" type="pres">
      <dgm:prSet presAssocID="{8AA9A722-DF74-4746-80A5-4C814EE41EBA}" presName="srcNode" presStyleLbl="node1" presStyleIdx="0" presStyleCnt="4"/>
      <dgm:spPr/>
    </dgm:pt>
    <dgm:pt modelId="{BDA57DFC-E7F9-49B2-A3BB-628BA08352AD}" type="pres">
      <dgm:prSet presAssocID="{8AA9A722-DF74-4746-80A5-4C814EE41EBA}" presName="conn" presStyleLbl="parChTrans1D2" presStyleIdx="0" presStyleCnt="1"/>
      <dgm:spPr>
        <a:prstGeom prst="blockArc">
          <a:avLst>
            <a:gd name="adj1" fmla="val 18900000"/>
            <a:gd name="adj2" fmla="val 2700000"/>
            <a:gd name="adj3" fmla="val 290"/>
          </a:avLst>
        </a:prstGeom>
      </dgm:spPr>
    </dgm:pt>
    <dgm:pt modelId="{9BF01CC7-EB02-4326-B87A-7ECD54D79234}" type="pres">
      <dgm:prSet presAssocID="{8AA9A722-DF74-4746-80A5-4C814EE41EBA}" presName="extraNode" presStyleLbl="node1" presStyleIdx="0" presStyleCnt="4"/>
      <dgm:spPr/>
    </dgm:pt>
    <dgm:pt modelId="{D9C5181E-081B-4BC4-99E8-58ECBE0787F2}" type="pres">
      <dgm:prSet presAssocID="{8AA9A722-DF74-4746-80A5-4C814EE41EBA}" presName="dstNode" presStyleLbl="node1" presStyleIdx="0" presStyleCnt="4"/>
      <dgm:spPr/>
    </dgm:pt>
    <dgm:pt modelId="{5B4BAB36-4A28-4F7C-B3CA-D40F208FC8F1}" type="pres">
      <dgm:prSet presAssocID="{D037DC25-5ECF-437D-8909-BF88596E790E}" presName="text_1" presStyleLbl="node1" presStyleIdx="0" presStyleCnt="4">
        <dgm:presLayoutVars>
          <dgm:bulletEnabled val="1"/>
        </dgm:presLayoutVars>
      </dgm:prSet>
      <dgm:spPr/>
    </dgm:pt>
    <dgm:pt modelId="{CE0605E1-97E5-4F84-80B0-07A2EAABB0A3}" type="pres">
      <dgm:prSet presAssocID="{D037DC25-5ECF-437D-8909-BF88596E790E}" presName="accent_1" presStyleCnt="0"/>
      <dgm:spPr/>
    </dgm:pt>
    <dgm:pt modelId="{B2A66DFB-DE94-42E1-846B-97FC41941F3A}" type="pres">
      <dgm:prSet presAssocID="{D037DC25-5ECF-437D-8909-BF88596E790E}" presName="accentRepeatNode" presStyleLbl="solidFgAcc1" presStyleIdx="0" presStyleCnt="4"/>
      <dgm:spPr/>
    </dgm:pt>
    <dgm:pt modelId="{34F064BD-6E3B-404A-8008-495C8F683392}" type="pres">
      <dgm:prSet presAssocID="{B9097421-AE8D-46E9-96F2-A4EE274C8EE1}" presName="text_2" presStyleLbl="node1" presStyleIdx="1" presStyleCnt="4">
        <dgm:presLayoutVars>
          <dgm:bulletEnabled val="1"/>
        </dgm:presLayoutVars>
      </dgm:prSet>
      <dgm:spPr/>
    </dgm:pt>
    <dgm:pt modelId="{FA70820E-772A-4649-A546-254D8679A4AD}" type="pres">
      <dgm:prSet presAssocID="{B9097421-AE8D-46E9-96F2-A4EE274C8EE1}" presName="accent_2" presStyleCnt="0"/>
      <dgm:spPr/>
    </dgm:pt>
    <dgm:pt modelId="{F5AEE719-E992-48FE-B440-F4CA3BEAE3F1}" type="pres">
      <dgm:prSet presAssocID="{B9097421-AE8D-46E9-96F2-A4EE274C8EE1}" presName="accentRepeatNode" presStyleLbl="solidFgAcc1" presStyleIdx="1" presStyleCnt="4"/>
      <dgm:spPr/>
    </dgm:pt>
    <dgm:pt modelId="{A04785D2-AA36-49CD-944B-292AA71DBCBF}" type="pres">
      <dgm:prSet presAssocID="{C0DC739F-F77F-4C41-ADB6-EF9B5CCBF8FC}" presName="text_3" presStyleLbl="node1" presStyleIdx="2" presStyleCnt="4" custScaleY="125352">
        <dgm:presLayoutVars>
          <dgm:bulletEnabled val="1"/>
        </dgm:presLayoutVars>
      </dgm:prSet>
      <dgm:spPr/>
    </dgm:pt>
    <dgm:pt modelId="{107CD167-1A3C-4CBA-A044-10C044692D7A}" type="pres">
      <dgm:prSet presAssocID="{C0DC739F-F77F-4C41-ADB6-EF9B5CCBF8FC}" presName="accent_3" presStyleCnt="0"/>
      <dgm:spPr/>
    </dgm:pt>
    <dgm:pt modelId="{B0E9120E-4483-4CB0-85A2-0EE5C7EE30FB}" type="pres">
      <dgm:prSet presAssocID="{C0DC739F-F77F-4C41-ADB6-EF9B5CCBF8FC}" presName="accentRepeatNode" presStyleLbl="solidFgAcc1" presStyleIdx="2" presStyleCnt="4"/>
      <dgm:spPr/>
    </dgm:pt>
    <dgm:pt modelId="{FA4FC5E8-D983-41E4-8EB7-E9C862CA1019}" type="pres">
      <dgm:prSet presAssocID="{BAE9F159-5CDC-4B60-8986-7FE016416276}" presName="text_4" presStyleLbl="node1" presStyleIdx="3" presStyleCnt="4">
        <dgm:presLayoutVars>
          <dgm:bulletEnabled val="1"/>
        </dgm:presLayoutVars>
      </dgm:prSet>
      <dgm:spPr/>
    </dgm:pt>
    <dgm:pt modelId="{B1A8031A-2A31-4875-8928-55650E802179}" type="pres">
      <dgm:prSet presAssocID="{BAE9F159-5CDC-4B60-8986-7FE016416276}" presName="accent_4" presStyleCnt="0"/>
      <dgm:spPr/>
    </dgm:pt>
    <dgm:pt modelId="{97173A74-1DF9-466F-9423-C532B991070C}" type="pres">
      <dgm:prSet presAssocID="{BAE9F159-5CDC-4B60-8986-7FE016416276}" presName="accentRepeatNode" presStyleLbl="solidFgAcc1" presStyleIdx="3" presStyleCnt="4"/>
      <dgm:spPr/>
    </dgm:pt>
  </dgm:ptLst>
  <dgm:cxnLst>
    <dgm:cxn modelId="{B4F0953A-D1E9-4301-B72F-06F316415193}" srcId="{8AA9A722-DF74-4746-80A5-4C814EE41EBA}" destId="{BAE9F159-5CDC-4B60-8986-7FE016416276}" srcOrd="3" destOrd="0" parTransId="{12C548A5-3E1E-48B5-8DE7-68490421B568}" sibTransId="{CBE31520-7B9F-4C3B-B0A5-186648279E81}"/>
    <dgm:cxn modelId="{D24C6261-0659-451E-96FB-4762E145AC0C}" type="presOf" srcId="{C0DC739F-F77F-4C41-ADB6-EF9B5CCBF8FC}" destId="{A04785D2-AA36-49CD-944B-292AA71DBCBF}" srcOrd="0" destOrd="0" presId="urn:microsoft.com/office/officeart/2008/layout/VerticalCurvedList"/>
    <dgm:cxn modelId="{A2ED464F-4AA8-49F4-8C34-2E75D842D7D6}" type="presOf" srcId="{BAE9F159-5CDC-4B60-8986-7FE016416276}" destId="{FA4FC5E8-D983-41E4-8EB7-E9C862CA1019}" srcOrd="0" destOrd="0" presId="urn:microsoft.com/office/officeart/2008/layout/VerticalCurvedList"/>
    <dgm:cxn modelId="{197BA776-A3D3-4176-9EDF-C57D17A8A793}" type="presOf" srcId="{8AA9A722-DF74-4746-80A5-4C814EE41EBA}" destId="{17E813D2-5F61-4C65-971E-BBF19C935CC4}" srcOrd="0" destOrd="0" presId="urn:microsoft.com/office/officeart/2008/layout/VerticalCurvedList"/>
    <dgm:cxn modelId="{2257B081-5E24-43B9-9CEA-539A389334BA}" type="presOf" srcId="{D037DC25-5ECF-437D-8909-BF88596E790E}" destId="{5B4BAB36-4A28-4F7C-B3CA-D40F208FC8F1}" srcOrd="0" destOrd="0" presId="urn:microsoft.com/office/officeart/2008/layout/VerticalCurvedList"/>
    <dgm:cxn modelId="{EE4F1385-7616-4770-B7A8-DCFF4E6C48F0}" srcId="{8AA9A722-DF74-4746-80A5-4C814EE41EBA}" destId="{D037DC25-5ECF-437D-8909-BF88596E790E}" srcOrd="0" destOrd="0" parTransId="{A9F533DA-A6B3-462C-820D-70FFC0E9ACEC}" sibTransId="{F6B216F6-589E-4BE1-A57B-0ACA7F0C7772}"/>
    <dgm:cxn modelId="{F98C9F8B-4CA5-41FF-9BF2-E8F5041950EC}" srcId="{8AA9A722-DF74-4746-80A5-4C814EE41EBA}" destId="{C0DC739F-F77F-4C41-ADB6-EF9B5CCBF8FC}" srcOrd="2" destOrd="0" parTransId="{F7940790-1F1F-469B-B0F9-7864881EB327}" sibTransId="{4F3F388A-ACFE-453C-BE6F-871132E697E0}"/>
    <dgm:cxn modelId="{5EF3868E-A459-400C-B392-0851DD3BF32C}" type="presOf" srcId="{B9097421-AE8D-46E9-96F2-A4EE274C8EE1}" destId="{34F064BD-6E3B-404A-8008-495C8F683392}" srcOrd="0" destOrd="0" presId="urn:microsoft.com/office/officeart/2008/layout/VerticalCurvedList"/>
    <dgm:cxn modelId="{74011BCD-C5A1-40B6-BA27-67C11FDBA7D0}" type="presOf" srcId="{F6B216F6-589E-4BE1-A57B-0ACA7F0C7772}" destId="{BDA57DFC-E7F9-49B2-A3BB-628BA08352AD}" srcOrd="0" destOrd="0" presId="urn:microsoft.com/office/officeart/2008/layout/VerticalCurvedList"/>
    <dgm:cxn modelId="{587F44D4-38EA-49A4-B437-DD390B558E1B}" srcId="{8AA9A722-DF74-4746-80A5-4C814EE41EBA}" destId="{B9097421-AE8D-46E9-96F2-A4EE274C8EE1}" srcOrd="1" destOrd="0" parTransId="{87759EAC-D0CC-4685-B72D-09FB080A0CCA}" sibTransId="{06EA9386-1E2C-4D1D-90BD-46363BA36B40}"/>
    <dgm:cxn modelId="{F83CF5BB-C4A6-4AE5-B478-27EE04F38593}" type="presParOf" srcId="{17E813D2-5F61-4C65-971E-BBF19C935CC4}" destId="{96AEDB12-9BEA-4D9F-A056-7F473DD2C344}" srcOrd="0" destOrd="0" presId="urn:microsoft.com/office/officeart/2008/layout/VerticalCurvedList"/>
    <dgm:cxn modelId="{5F3CF362-361D-4FDC-ACED-41EF4D98CE7B}" type="presParOf" srcId="{96AEDB12-9BEA-4D9F-A056-7F473DD2C344}" destId="{BEB11085-D9AB-41D8-ACF4-42C2C11C870A}" srcOrd="0" destOrd="0" presId="urn:microsoft.com/office/officeart/2008/layout/VerticalCurvedList"/>
    <dgm:cxn modelId="{F6D62A8A-88D9-41B1-AF27-8C985BE45B9D}" type="presParOf" srcId="{BEB11085-D9AB-41D8-ACF4-42C2C11C870A}" destId="{CC5ECEDA-D90E-46C5-B8D7-6F2653EE3BB1}" srcOrd="0" destOrd="0" presId="urn:microsoft.com/office/officeart/2008/layout/VerticalCurvedList"/>
    <dgm:cxn modelId="{3D0D3448-5D76-4377-B814-E91CCFE83838}" type="presParOf" srcId="{BEB11085-D9AB-41D8-ACF4-42C2C11C870A}" destId="{BDA57DFC-E7F9-49B2-A3BB-628BA08352AD}" srcOrd="1" destOrd="0" presId="urn:microsoft.com/office/officeart/2008/layout/VerticalCurvedList"/>
    <dgm:cxn modelId="{2909E12A-CB8B-4755-8B35-5C605ECA9CF6}" type="presParOf" srcId="{BEB11085-D9AB-41D8-ACF4-42C2C11C870A}" destId="{9BF01CC7-EB02-4326-B87A-7ECD54D79234}" srcOrd="2" destOrd="0" presId="urn:microsoft.com/office/officeart/2008/layout/VerticalCurvedList"/>
    <dgm:cxn modelId="{C91EA474-2BEF-4980-8B17-D4F25F25F04A}" type="presParOf" srcId="{BEB11085-D9AB-41D8-ACF4-42C2C11C870A}" destId="{D9C5181E-081B-4BC4-99E8-58ECBE0787F2}" srcOrd="3" destOrd="0" presId="urn:microsoft.com/office/officeart/2008/layout/VerticalCurvedList"/>
    <dgm:cxn modelId="{EA57D8FD-2D9D-4701-AAA6-85D6E5B8B77F}" type="presParOf" srcId="{96AEDB12-9BEA-4D9F-A056-7F473DD2C344}" destId="{5B4BAB36-4A28-4F7C-B3CA-D40F208FC8F1}" srcOrd="1" destOrd="0" presId="urn:microsoft.com/office/officeart/2008/layout/VerticalCurvedList"/>
    <dgm:cxn modelId="{5410697B-395E-4EA5-87F6-81D79879B548}" type="presParOf" srcId="{96AEDB12-9BEA-4D9F-A056-7F473DD2C344}" destId="{CE0605E1-97E5-4F84-80B0-07A2EAABB0A3}" srcOrd="2" destOrd="0" presId="urn:microsoft.com/office/officeart/2008/layout/VerticalCurvedList"/>
    <dgm:cxn modelId="{51F41D8A-9398-471B-9344-A3EB41827D33}" type="presParOf" srcId="{CE0605E1-97E5-4F84-80B0-07A2EAABB0A3}" destId="{B2A66DFB-DE94-42E1-846B-97FC41941F3A}" srcOrd="0" destOrd="0" presId="urn:microsoft.com/office/officeart/2008/layout/VerticalCurvedList"/>
    <dgm:cxn modelId="{48BA2944-3932-461C-811C-A0F0CBFD9BEA}" type="presParOf" srcId="{96AEDB12-9BEA-4D9F-A056-7F473DD2C344}" destId="{34F064BD-6E3B-404A-8008-495C8F683392}" srcOrd="3" destOrd="0" presId="urn:microsoft.com/office/officeart/2008/layout/VerticalCurvedList"/>
    <dgm:cxn modelId="{08D5375B-5FB3-4BBD-B5B3-3FDD549BE35C}" type="presParOf" srcId="{96AEDB12-9BEA-4D9F-A056-7F473DD2C344}" destId="{FA70820E-772A-4649-A546-254D8679A4AD}" srcOrd="4" destOrd="0" presId="urn:microsoft.com/office/officeart/2008/layout/VerticalCurvedList"/>
    <dgm:cxn modelId="{482AC262-E182-4961-8768-6E982EDA88A6}" type="presParOf" srcId="{FA70820E-772A-4649-A546-254D8679A4AD}" destId="{F5AEE719-E992-48FE-B440-F4CA3BEAE3F1}" srcOrd="0" destOrd="0" presId="urn:microsoft.com/office/officeart/2008/layout/VerticalCurvedList"/>
    <dgm:cxn modelId="{8999A791-390D-443E-BD98-4F469BCA9329}" type="presParOf" srcId="{96AEDB12-9BEA-4D9F-A056-7F473DD2C344}" destId="{A04785D2-AA36-49CD-944B-292AA71DBCBF}" srcOrd="5" destOrd="0" presId="urn:microsoft.com/office/officeart/2008/layout/VerticalCurvedList"/>
    <dgm:cxn modelId="{7C660988-6BAD-441A-9735-D5083BCC3E63}" type="presParOf" srcId="{96AEDB12-9BEA-4D9F-A056-7F473DD2C344}" destId="{107CD167-1A3C-4CBA-A044-10C044692D7A}" srcOrd="6" destOrd="0" presId="urn:microsoft.com/office/officeart/2008/layout/VerticalCurvedList"/>
    <dgm:cxn modelId="{D0C09350-04C4-4319-A54D-6A483BD23CDC}" type="presParOf" srcId="{107CD167-1A3C-4CBA-A044-10C044692D7A}" destId="{B0E9120E-4483-4CB0-85A2-0EE5C7EE30FB}" srcOrd="0" destOrd="0" presId="urn:microsoft.com/office/officeart/2008/layout/VerticalCurvedList"/>
    <dgm:cxn modelId="{4B758B2E-36EC-4CA8-BBED-FEE2EB60EA0C}" type="presParOf" srcId="{96AEDB12-9BEA-4D9F-A056-7F473DD2C344}" destId="{FA4FC5E8-D983-41E4-8EB7-E9C862CA1019}" srcOrd="7" destOrd="0" presId="urn:microsoft.com/office/officeart/2008/layout/VerticalCurvedList"/>
    <dgm:cxn modelId="{B9E45ADF-54D9-415F-B54C-097F8CEA9325}" type="presParOf" srcId="{96AEDB12-9BEA-4D9F-A056-7F473DD2C344}" destId="{B1A8031A-2A31-4875-8928-55650E802179}" srcOrd="8" destOrd="0" presId="urn:microsoft.com/office/officeart/2008/layout/VerticalCurvedList"/>
    <dgm:cxn modelId="{9A701B48-F8BD-4B5E-8DB4-A90CE386E2E6}" type="presParOf" srcId="{B1A8031A-2A31-4875-8928-55650E802179}" destId="{97173A74-1DF9-466F-9423-C532B991070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391F7F86-A937-4CB5-890A-31D3E95F99A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nl-BE"/>
        </a:p>
      </dgm:t>
    </dgm:pt>
    <dgm:pt modelId="{F8FA16CD-5779-4B70-AA52-1D296B276149}">
      <dgm:prSet custT="1"/>
      <dgm:spPr>
        <a:xfrm>
          <a:off x="342248" y="221790"/>
          <a:ext cx="9745025" cy="443385"/>
        </a:xfrm>
        <a:prstGeom prst="rect">
          <a:avLst/>
        </a:prstGeom>
      </dgm:spPr>
      <dgm:t>
        <a:bodyPr/>
        <a:lstStyle/>
        <a:p>
          <a:pPr>
            <a:buNone/>
          </a:pPr>
          <a:r>
            <a:rPr lang="en-US" sz="2400" baseline="0">
              <a:latin typeface="Segoe UI"/>
              <a:ea typeface="+mn-ea"/>
              <a:cs typeface="+mn-cs"/>
            </a:rPr>
            <a:t>Vulnerability to SQL Injection</a:t>
          </a:r>
          <a:endParaRPr lang="nl-BE" sz="2400">
            <a:latin typeface="Segoe UI"/>
            <a:ea typeface="+mn-ea"/>
            <a:cs typeface="+mn-cs"/>
          </a:endParaRPr>
        </a:p>
      </dgm:t>
    </dgm:pt>
    <dgm:pt modelId="{06D96AAF-008B-4C13-981F-E713FA2CAC30}" type="parTrans" cxnId="{FE677A4D-E6E1-42BB-9FD0-613C114BD0D8}">
      <dgm:prSet/>
      <dgm:spPr/>
      <dgm:t>
        <a:bodyPr/>
        <a:lstStyle/>
        <a:p>
          <a:endParaRPr lang="nl-BE"/>
        </a:p>
      </dgm:t>
    </dgm:pt>
    <dgm:pt modelId="{7FF1FAF3-0FC9-441C-BBAE-A9046EC7EEB9}" type="sibTrans" cxnId="{FE677A4D-E6E1-42BB-9FD0-613C114BD0D8}">
      <dgm:prSet/>
      <dgm:spPr>
        <a:xfrm>
          <a:off x="-5513267" y="-844554"/>
          <a:ext cx="6567913" cy="6567913"/>
        </a:xfrm>
        <a:prstGeom prst="blockArc">
          <a:avLst>
            <a:gd name="adj1" fmla="val 18900000"/>
            <a:gd name="adj2" fmla="val 2700000"/>
            <a:gd name="adj3" fmla="val 329"/>
          </a:avLst>
        </a:prstGeom>
      </dgm:spPr>
      <dgm:t>
        <a:bodyPr/>
        <a:lstStyle/>
        <a:p>
          <a:endParaRPr lang="nl-BE"/>
        </a:p>
      </dgm:t>
    </dgm:pt>
    <dgm:pt modelId="{181B2B3F-1638-4773-BDF5-D9F841FFC09E}">
      <dgm:prSet custT="1"/>
      <dgm:spPr>
        <a:xfrm>
          <a:off x="743773" y="887259"/>
          <a:ext cx="9343500" cy="443385"/>
        </a:xfrm>
        <a:prstGeom prst="rect">
          <a:avLst/>
        </a:prstGeom>
      </dgm:spPr>
      <dgm:t>
        <a:bodyPr/>
        <a:lstStyle/>
        <a:p>
          <a:pPr>
            <a:buNone/>
          </a:pPr>
          <a:r>
            <a:rPr lang="en-US" sz="2400" baseline="0">
              <a:latin typeface="Segoe UI"/>
              <a:ea typeface="+mn-ea"/>
              <a:cs typeface="+mn-cs"/>
            </a:rPr>
            <a:t>Potential SQL Injection</a:t>
          </a:r>
          <a:endParaRPr lang="nl-BE" sz="2400">
            <a:latin typeface="Segoe UI"/>
            <a:ea typeface="+mn-ea"/>
            <a:cs typeface="+mn-cs"/>
          </a:endParaRPr>
        </a:p>
      </dgm:t>
    </dgm:pt>
    <dgm:pt modelId="{3AC3413A-F84B-4660-81EB-2FD9810F1A2F}" type="parTrans" cxnId="{503608A7-C85B-4506-8236-89FB5956F57A}">
      <dgm:prSet/>
      <dgm:spPr/>
      <dgm:t>
        <a:bodyPr/>
        <a:lstStyle/>
        <a:p>
          <a:endParaRPr lang="nl-BE"/>
        </a:p>
      </dgm:t>
    </dgm:pt>
    <dgm:pt modelId="{DAC0A51F-0594-4387-A2BD-524B271A115B}" type="sibTrans" cxnId="{503608A7-C85B-4506-8236-89FB5956F57A}">
      <dgm:prSet/>
      <dgm:spPr/>
      <dgm:t>
        <a:bodyPr/>
        <a:lstStyle/>
        <a:p>
          <a:endParaRPr lang="nl-BE"/>
        </a:p>
      </dgm:t>
    </dgm:pt>
    <dgm:pt modelId="{8ABED08E-2D1A-48A5-90DC-2AEAB7238A93}">
      <dgm:prSet custT="1"/>
      <dgm:spPr>
        <a:xfrm>
          <a:off x="963807" y="1552240"/>
          <a:ext cx="9123466" cy="443385"/>
        </a:xfrm>
        <a:prstGeom prst="rect">
          <a:avLst/>
        </a:prstGeom>
      </dgm:spPr>
      <dgm:t>
        <a:bodyPr/>
        <a:lstStyle/>
        <a:p>
          <a:pPr>
            <a:buNone/>
          </a:pPr>
          <a:r>
            <a:rPr lang="en-US" sz="2400" baseline="0">
              <a:latin typeface="Segoe UI"/>
              <a:ea typeface="+mn-ea"/>
              <a:cs typeface="+mn-cs"/>
            </a:rPr>
            <a:t>Access from unusual location</a:t>
          </a:r>
          <a:endParaRPr lang="nl-BE" sz="2400">
            <a:latin typeface="Segoe UI"/>
            <a:ea typeface="+mn-ea"/>
            <a:cs typeface="+mn-cs"/>
          </a:endParaRPr>
        </a:p>
      </dgm:t>
    </dgm:pt>
    <dgm:pt modelId="{8CD6FD9D-C73D-47F9-B756-45F1E4459976}" type="parTrans" cxnId="{BEFF9F3E-4640-40C2-8870-581BD998AD04}">
      <dgm:prSet/>
      <dgm:spPr/>
      <dgm:t>
        <a:bodyPr/>
        <a:lstStyle/>
        <a:p>
          <a:endParaRPr lang="nl-BE"/>
        </a:p>
      </dgm:t>
    </dgm:pt>
    <dgm:pt modelId="{FED40BD3-8AFC-4686-8C5E-BF6BDB896AE0}" type="sibTrans" cxnId="{BEFF9F3E-4640-40C2-8870-581BD998AD04}">
      <dgm:prSet/>
      <dgm:spPr/>
      <dgm:t>
        <a:bodyPr/>
        <a:lstStyle/>
        <a:p>
          <a:endParaRPr lang="nl-BE"/>
        </a:p>
      </dgm:t>
    </dgm:pt>
    <dgm:pt modelId="{404E95B7-53A6-4E8F-A511-78F34B7FF6BE}">
      <dgm:prSet custT="1"/>
      <dgm:spPr>
        <a:xfrm>
          <a:off x="1034062" y="2217709"/>
          <a:ext cx="9053211" cy="443385"/>
        </a:xfrm>
        <a:prstGeom prst="rect">
          <a:avLst/>
        </a:prstGeom>
      </dgm:spPr>
      <dgm:t>
        <a:bodyPr/>
        <a:lstStyle/>
        <a:p>
          <a:pPr>
            <a:buNone/>
          </a:pPr>
          <a:r>
            <a:rPr lang="en-US" sz="2400" baseline="0">
              <a:latin typeface="Segoe UI"/>
              <a:ea typeface="+mn-ea"/>
              <a:cs typeface="+mn-cs"/>
            </a:rPr>
            <a:t>Access from unusual Azure data center</a:t>
          </a:r>
          <a:endParaRPr lang="nl-BE" sz="2400">
            <a:latin typeface="Segoe UI"/>
            <a:ea typeface="+mn-ea"/>
            <a:cs typeface="+mn-cs"/>
          </a:endParaRPr>
        </a:p>
      </dgm:t>
    </dgm:pt>
    <dgm:pt modelId="{6DE4F8C5-D77A-442B-B045-07B079ED7AC2}" type="parTrans" cxnId="{A21513B0-4D71-4348-A5BF-21650E953F4F}">
      <dgm:prSet/>
      <dgm:spPr/>
      <dgm:t>
        <a:bodyPr/>
        <a:lstStyle/>
        <a:p>
          <a:endParaRPr lang="nl-BE"/>
        </a:p>
      </dgm:t>
    </dgm:pt>
    <dgm:pt modelId="{BA281984-AEBA-4E66-9652-72A78768F7CD}" type="sibTrans" cxnId="{A21513B0-4D71-4348-A5BF-21650E953F4F}">
      <dgm:prSet/>
      <dgm:spPr/>
      <dgm:t>
        <a:bodyPr/>
        <a:lstStyle/>
        <a:p>
          <a:endParaRPr lang="nl-BE"/>
        </a:p>
      </dgm:t>
    </dgm:pt>
    <dgm:pt modelId="{61E000BE-3D06-417E-A632-0824929F5470}">
      <dgm:prSet custT="1"/>
      <dgm:spPr>
        <a:xfrm>
          <a:off x="963807" y="2883178"/>
          <a:ext cx="9123466" cy="443385"/>
        </a:xfrm>
        <a:prstGeom prst="rect">
          <a:avLst/>
        </a:prstGeom>
      </dgm:spPr>
      <dgm:t>
        <a:bodyPr/>
        <a:lstStyle/>
        <a:p>
          <a:pPr>
            <a:buNone/>
          </a:pPr>
          <a:r>
            <a:rPr lang="en-US" sz="2400" baseline="0">
              <a:latin typeface="Segoe UI"/>
              <a:ea typeface="+mn-ea"/>
              <a:cs typeface="+mn-cs"/>
            </a:rPr>
            <a:t>Access from unfamiliar principal</a:t>
          </a:r>
          <a:endParaRPr lang="nl-BE" sz="2400">
            <a:latin typeface="Segoe UI"/>
            <a:ea typeface="+mn-ea"/>
            <a:cs typeface="+mn-cs"/>
          </a:endParaRPr>
        </a:p>
      </dgm:t>
    </dgm:pt>
    <dgm:pt modelId="{897A5B93-886D-4AA9-8AFC-6C4B61AD4928}" type="parTrans" cxnId="{E8FE625C-497A-4963-955D-0AEC273B5880}">
      <dgm:prSet/>
      <dgm:spPr/>
      <dgm:t>
        <a:bodyPr/>
        <a:lstStyle/>
        <a:p>
          <a:endParaRPr lang="nl-BE"/>
        </a:p>
      </dgm:t>
    </dgm:pt>
    <dgm:pt modelId="{B567C4A2-C8F4-4C95-94D5-3764B2BDF010}" type="sibTrans" cxnId="{E8FE625C-497A-4963-955D-0AEC273B5880}">
      <dgm:prSet/>
      <dgm:spPr/>
      <dgm:t>
        <a:bodyPr/>
        <a:lstStyle/>
        <a:p>
          <a:endParaRPr lang="nl-BE"/>
        </a:p>
      </dgm:t>
    </dgm:pt>
    <dgm:pt modelId="{998168B5-131D-429C-8D89-0927B69AE87C}">
      <dgm:prSet custT="1"/>
      <dgm:spPr>
        <a:xfrm>
          <a:off x="743773" y="3548159"/>
          <a:ext cx="9343500" cy="443385"/>
        </a:xfrm>
        <a:prstGeom prst="rect">
          <a:avLst/>
        </a:prstGeom>
      </dgm:spPr>
      <dgm:t>
        <a:bodyPr/>
        <a:lstStyle/>
        <a:p>
          <a:pPr>
            <a:buNone/>
          </a:pPr>
          <a:r>
            <a:rPr lang="en-US" sz="2400" baseline="0">
              <a:latin typeface="Segoe UI"/>
              <a:ea typeface="+mn-ea"/>
              <a:cs typeface="+mn-cs"/>
            </a:rPr>
            <a:t>Access from a potentially harmful application</a:t>
          </a:r>
          <a:endParaRPr lang="nl-BE" sz="2400">
            <a:latin typeface="Segoe UI"/>
            <a:ea typeface="+mn-ea"/>
            <a:cs typeface="+mn-cs"/>
          </a:endParaRPr>
        </a:p>
      </dgm:t>
    </dgm:pt>
    <dgm:pt modelId="{F49CAF2C-C65F-4A68-A0EF-A10E6FBCDB4E}" type="parTrans" cxnId="{D112F891-5DFB-46AD-8E4A-5D53D8945195}">
      <dgm:prSet/>
      <dgm:spPr/>
      <dgm:t>
        <a:bodyPr/>
        <a:lstStyle/>
        <a:p>
          <a:endParaRPr lang="nl-BE"/>
        </a:p>
      </dgm:t>
    </dgm:pt>
    <dgm:pt modelId="{523D8C36-72EA-43B7-BE96-ABB5DF37A1E6}" type="sibTrans" cxnId="{D112F891-5DFB-46AD-8E4A-5D53D8945195}">
      <dgm:prSet/>
      <dgm:spPr/>
      <dgm:t>
        <a:bodyPr/>
        <a:lstStyle/>
        <a:p>
          <a:endParaRPr lang="nl-BE"/>
        </a:p>
      </dgm:t>
    </dgm:pt>
    <dgm:pt modelId="{3AEEA323-5202-4EC1-AF74-DADDCB68C585}">
      <dgm:prSet custT="1"/>
      <dgm:spPr>
        <a:xfrm>
          <a:off x="342248" y="4213628"/>
          <a:ext cx="9745025" cy="443385"/>
        </a:xfrm>
        <a:prstGeom prst="rect">
          <a:avLst/>
        </a:prstGeom>
      </dgm:spPr>
      <dgm:t>
        <a:bodyPr/>
        <a:lstStyle/>
        <a:p>
          <a:pPr>
            <a:buNone/>
          </a:pPr>
          <a:r>
            <a:rPr lang="en-US" sz="2400" baseline="0">
              <a:latin typeface="Segoe UI"/>
              <a:ea typeface="+mn-ea"/>
              <a:cs typeface="+mn-cs"/>
            </a:rPr>
            <a:t>Brute force SQL credentials</a:t>
          </a:r>
          <a:endParaRPr lang="nl-BE" sz="2400">
            <a:latin typeface="Segoe UI"/>
            <a:ea typeface="+mn-ea"/>
            <a:cs typeface="+mn-cs"/>
          </a:endParaRPr>
        </a:p>
      </dgm:t>
    </dgm:pt>
    <dgm:pt modelId="{9B2434FF-EB5F-4741-A348-74E43A70E370}" type="parTrans" cxnId="{E4A1FA08-0964-45F2-A70F-6D9CFD008250}">
      <dgm:prSet/>
      <dgm:spPr/>
      <dgm:t>
        <a:bodyPr/>
        <a:lstStyle/>
        <a:p>
          <a:endParaRPr lang="nl-BE"/>
        </a:p>
      </dgm:t>
    </dgm:pt>
    <dgm:pt modelId="{9FCCDC6F-DBF4-42FC-B397-45560BE3A8D6}" type="sibTrans" cxnId="{E4A1FA08-0964-45F2-A70F-6D9CFD008250}">
      <dgm:prSet/>
      <dgm:spPr/>
      <dgm:t>
        <a:bodyPr/>
        <a:lstStyle/>
        <a:p>
          <a:endParaRPr lang="nl-BE"/>
        </a:p>
      </dgm:t>
    </dgm:pt>
    <dgm:pt modelId="{7EBC5866-9634-409D-90DB-0616E87F941B}" type="pres">
      <dgm:prSet presAssocID="{391F7F86-A937-4CB5-890A-31D3E95F99A7}" presName="Name0" presStyleCnt="0">
        <dgm:presLayoutVars>
          <dgm:chMax val="7"/>
          <dgm:chPref val="7"/>
          <dgm:dir/>
        </dgm:presLayoutVars>
      </dgm:prSet>
      <dgm:spPr/>
    </dgm:pt>
    <dgm:pt modelId="{3EE08BD7-8D7F-482E-8FAD-C98FC6ED5F76}" type="pres">
      <dgm:prSet presAssocID="{391F7F86-A937-4CB5-890A-31D3E95F99A7}" presName="Name1" presStyleCnt="0"/>
      <dgm:spPr/>
    </dgm:pt>
    <dgm:pt modelId="{8EEBE7F0-B3B4-4388-87E4-FD7F04FA6552}" type="pres">
      <dgm:prSet presAssocID="{391F7F86-A937-4CB5-890A-31D3E95F99A7}" presName="cycle" presStyleCnt="0"/>
      <dgm:spPr/>
    </dgm:pt>
    <dgm:pt modelId="{90FEAC56-A134-4CDC-B007-D7180AC49310}" type="pres">
      <dgm:prSet presAssocID="{391F7F86-A937-4CB5-890A-31D3E95F99A7}" presName="srcNode" presStyleLbl="node1" presStyleIdx="0" presStyleCnt="7"/>
      <dgm:spPr/>
    </dgm:pt>
    <dgm:pt modelId="{95D53B1B-5754-4C13-94F6-DB860CFF652B}" type="pres">
      <dgm:prSet presAssocID="{391F7F86-A937-4CB5-890A-31D3E95F99A7}" presName="conn" presStyleLbl="parChTrans1D2" presStyleIdx="0" presStyleCnt="1"/>
      <dgm:spPr/>
    </dgm:pt>
    <dgm:pt modelId="{D2A0B02A-14DA-48C2-A4F6-2521A6C0BCAF}" type="pres">
      <dgm:prSet presAssocID="{391F7F86-A937-4CB5-890A-31D3E95F99A7}" presName="extraNode" presStyleLbl="node1" presStyleIdx="0" presStyleCnt="7"/>
      <dgm:spPr/>
    </dgm:pt>
    <dgm:pt modelId="{56C9F2B3-B02A-412C-8244-C5A4FB04D120}" type="pres">
      <dgm:prSet presAssocID="{391F7F86-A937-4CB5-890A-31D3E95F99A7}" presName="dstNode" presStyleLbl="node1" presStyleIdx="0" presStyleCnt="7"/>
      <dgm:spPr/>
    </dgm:pt>
    <dgm:pt modelId="{B9DC1C5B-AA1F-4657-B30E-8BDDAE3FB497}" type="pres">
      <dgm:prSet presAssocID="{F8FA16CD-5779-4B70-AA52-1D296B276149}" presName="text_1" presStyleLbl="node1" presStyleIdx="0" presStyleCnt="7">
        <dgm:presLayoutVars>
          <dgm:bulletEnabled val="1"/>
        </dgm:presLayoutVars>
      </dgm:prSet>
      <dgm:spPr/>
    </dgm:pt>
    <dgm:pt modelId="{C9C887A6-2C17-4902-8254-5F6FDFFB3BF9}" type="pres">
      <dgm:prSet presAssocID="{F8FA16CD-5779-4B70-AA52-1D296B276149}" presName="accent_1" presStyleCnt="0"/>
      <dgm:spPr/>
    </dgm:pt>
    <dgm:pt modelId="{E8E5CE25-A54E-4012-8E1D-D2AB08D98A99}" type="pres">
      <dgm:prSet presAssocID="{F8FA16CD-5779-4B70-AA52-1D296B276149}" presName="accentRepeatNode" presStyleLbl="solidFgAcc1" presStyleIdx="0" presStyleCnt="7"/>
      <dgm:spPr>
        <a:xfrm>
          <a:off x="65132" y="166367"/>
          <a:ext cx="554232" cy="554232"/>
        </a:xfrm>
        <a:prstGeom prst="ellipse">
          <a:avLst/>
        </a:prstGeom>
      </dgm:spPr>
    </dgm:pt>
    <dgm:pt modelId="{7284C32C-6157-49E3-9A98-0D2F9230B2C7}" type="pres">
      <dgm:prSet presAssocID="{181B2B3F-1638-4773-BDF5-D9F841FFC09E}" presName="text_2" presStyleLbl="node1" presStyleIdx="1" presStyleCnt="7">
        <dgm:presLayoutVars>
          <dgm:bulletEnabled val="1"/>
        </dgm:presLayoutVars>
      </dgm:prSet>
      <dgm:spPr/>
    </dgm:pt>
    <dgm:pt modelId="{A17C592F-7B60-4D85-991F-506665E05773}" type="pres">
      <dgm:prSet presAssocID="{181B2B3F-1638-4773-BDF5-D9F841FFC09E}" presName="accent_2" presStyleCnt="0"/>
      <dgm:spPr/>
    </dgm:pt>
    <dgm:pt modelId="{1030206F-BA13-443D-8C11-AA99242C8FC7}" type="pres">
      <dgm:prSet presAssocID="{181B2B3F-1638-4773-BDF5-D9F841FFC09E}" presName="accentRepeatNode" presStyleLbl="solidFgAcc1" presStyleIdx="1" presStyleCnt="7"/>
      <dgm:spPr>
        <a:xfrm>
          <a:off x="466657" y="831836"/>
          <a:ext cx="554232" cy="554232"/>
        </a:xfrm>
        <a:prstGeom prst="ellipse">
          <a:avLst/>
        </a:prstGeom>
      </dgm:spPr>
    </dgm:pt>
    <dgm:pt modelId="{E2C44903-3735-48E7-8E6A-DF0A4E480900}" type="pres">
      <dgm:prSet presAssocID="{8ABED08E-2D1A-48A5-90DC-2AEAB7238A93}" presName="text_3" presStyleLbl="node1" presStyleIdx="2" presStyleCnt="7">
        <dgm:presLayoutVars>
          <dgm:bulletEnabled val="1"/>
        </dgm:presLayoutVars>
      </dgm:prSet>
      <dgm:spPr/>
    </dgm:pt>
    <dgm:pt modelId="{15BF2DA7-5728-47C9-94DF-97D6053429AE}" type="pres">
      <dgm:prSet presAssocID="{8ABED08E-2D1A-48A5-90DC-2AEAB7238A93}" presName="accent_3" presStyleCnt="0"/>
      <dgm:spPr/>
    </dgm:pt>
    <dgm:pt modelId="{91DC3EF6-96A7-49D4-A97D-47E9C5DCCD3E}" type="pres">
      <dgm:prSet presAssocID="{8ABED08E-2D1A-48A5-90DC-2AEAB7238A93}" presName="accentRepeatNode" presStyleLbl="solidFgAcc1" presStyleIdx="2" presStyleCnt="7"/>
      <dgm:spPr>
        <a:xfrm>
          <a:off x="686691" y="1496817"/>
          <a:ext cx="554232" cy="554232"/>
        </a:xfrm>
        <a:prstGeom prst="ellipse">
          <a:avLst/>
        </a:prstGeom>
      </dgm:spPr>
    </dgm:pt>
    <dgm:pt modelId="{50FAECC8-400D-453E-AA16-073CDDD205C9}" type="pres">
      <dgm:prSet presAssocID="{404E95B7-53A6-4E8F-A511-78F34B7FF6BE}" presName="text_4" presStyleLbl="node1" presStyleIdx="3" presStyleCnt="7">
        <dgm:presLayoutVars>
          <dgm:bulletEnabled val="1"/>
        </dgm:presLayoutVars>
      </dgm:prSet>
      <dgm:spPr/>
    </dgm:pt>
    <dgm:pt modelId="{A0279B94-3128-42DE-B2D6-7864BD99ECF6}" type="pres">
      <dgm:prSet presAssocID="{404E95B7-53A6-4E8F-A511-78F34B7FF6BE}" presName="accent_4" presStyleCnt="0"/>
      <dgm:spPr/>
    </dgm:pt>
    <dgm:pt modelId="{E1C4BB68-B2A4-4A92-87B2-49D3DA1CE52C}" type="pres">
      <dgm:prSet presAssocID="{404E95B7-53A6-4E8F-A511-78F34B7FF6BE}" presName="accentRepeatNode" presStyleLbl="solidFgAcc1" presStyleIdx="3" presStyleCnt="7"/>
      <dgm:spPr>
        <a:xfrm>
          <a:off x="756946" y="2162286"/>
          <a:ext cx="554232" cy="554232"/>
        </a:xfrm>
        <a:prstGeom prst="ellipse">
          <a:avLst/>
        </a:prstGeom>
      </dgm:spPr>
    </dgm:pt>
    <dgm:pt modelId="{F93A98EF-7F21-410E-9A87-1849BCF2FFB9}" type="pres">
      <dgm:prSet presAssocID="{61E000BE-3D06-417E-A632-0824929F5470}" presName="text_5" presStyleLbl="node1" presStyleIdx="4" presStyleCnt="7">
        <dgm:presLayoutVars>
          <dgm:bulletEnabled val="1"/>
        </dgm:presLayoutVars>
      </dgm:prSet>
      <dgm:spPr/>
    </dgm:pt>
    <dgm:pt modelId="{F198982A-4E0F-47F4-BB64-2367E6DE760B}" type="pres">
      <dgm:prSet presAssocID="{61E000BE-3D06-417E-A632-0824929F5470}" presName="accent_5" presStyleCnt="0"/>
      <dgm:spPr/>
    </dgm:pt>
    <dgm:pt modelId="{8592102B-D3F4-494B-BF45-E0A5C3BB44BC}" type="pres">
      <dgm:prSet presAssocID="{61E000BE-3D06-417E-A632-0824929F5470}" presName="accentRepeatNode" presStyleLbl="solidFgAcc1" presStyleIdx="4" presStyleCnt="7"/>
      <dgm:spPr>
        <a:xfrm>
          <a:off x="686691" y="2827755"/>
          <a:ext cx="554232" cy="554232"/>
        </a:xfrm>
        <a:prstGeom prst="ellipse">
          <a:avLst/>
        </a:prstGeom>
      </dgm:spPr>
    </dgm:pt>
    <dgm:pt modelId="{606ED6B2-0023-4C77-AF3D-10661181B949}" type="pres">
      <dgm:prSet presAssocID="{998168B5-131D-429C-8D89-0927B69AE87C}" presName="text_6" presStyleLbl="node1" presStyleIdx="5" presStyleCnt="7">
        <dgm:presLayoutVars>
          <dgm:bulletEnabled val="1"/>
        </dgm:presLayoutVars>
      </dgm:prSet>
      <dgm:spPr/>
    </dgm:pt>
    <dgm:pt modelId="{C36BDEAD-64D1-40D3-9488-76B042DF0F9F}" type="pres">
      <dgm:prSet presAssocID="{998168B5-131D-429C-8D89-0927B69AE87C}" presName="accent_6" presStyleCnt="0"/>
      <dgm:spPr/>
    </dgm:pt>
    <dgm:pt modelId="{BE9DEAFF-DD7D-4687-A090-4FAE277F6833}" type="pres">
      <dgm:prSet presAssocID="{998168B5-131D-429C-8D89-0927B69AE87C}" presName="accentRepeatNode" presStyleLbl="solidFgAcc1" presStyleIdx="5" presStyleCnt="7"/>
      <dgm:spPr>
        <a:xfrm>
          <a:off x="466657" y="3492736"/>
          <a:ext cx="554232" cy="554232"/>
        </a:xfrm>
        <a:prstGeom prst="ellipse">
          <a:avLst/>
        </a:prstGeom>
      </dgm:spPr>
    </dgm:pt>
    <dgm:pt modelId="{0FCCAEF5-117F-42DE-BFFD-C46437B7FC55}" type="pres">
      <dgm:prSet presAssocID="{3AEEA323-5202-4EC1-AF74-DADDCB68C585}" presName="text_7" presStyleLbl="node1" presStyleIdx="6" presStyleCnt="7">
        <dgm:presLayoutVars>
          <dgm:bulletEnabled val="1"/>
        </dgm:presLayoutVars>
      </dgm:prSet>
      <dgm:spPr/>
    </dgm:pt>
    <dgm:pt modelId="{5B980479-4104-4C6E-A334-4482F39D2734}" type="pres">
      <dgm:prSet presAssocID="{3AEEA323-5202-4EC1-AF74-DADDCB68C585}" presName="accent_7" presStyleCnt="0"/>
      <dgm:spPr/>
    </dgm:pt>
    <dgm:pt modelId="{94B0EC2D-894F-42F8-888F-4B813C74F162}" type="pres">
      <dgm:prSet presAssocID="{3AEEA323-5202-4EC1-AF74-DADDCB68C585}" presName="accentRepeatNode" presStyleLbl="solidFgAcc1" presStyleIdx="6" presStyleCnt="7"/>
      <dgm:spPr>
        <a:xfrm>
          <a:off x="65132" y="4158205"/>
          <a:ext cx="554232" cy="554232"/>
        </a:xfrm>
        <a:prstGeom prst="ellipse">
          <a:avLst/>
        </a:prstGeom>
      </dgm:spPr>
    </dgm:pt>
  </dgm:ptLst>
  <dgm:cxnLst>
    <dgm:cxn modelId="{E4A1FA08-0964-45F2-A70F-6D9CFD008250}" srcId="{391F7F86-A937-4CB5-890A-31D3E95F99A7}" destId="{3AEEA323-5202-4EC1-AF74-DADDCB68C585}" srcOrd="6" destOrd="0" parTransId="{9B2434FF-EB5F-4741-A348-74E43A70E370}" sibTransId="{9FCCDC6F-DBF4-42FC-B397-45560BE3A8D6}"/>
    <dgm:cxn modelId="{62D6680F-E28B-497E-BC41-4EF19954FF96}" type="presOf" srcId="{404E95B7-53A6-4E8F-A511-78F34B7FF6BE}" destId="{50FAECC8-400D-453E-AA16-073CDDD205C9}" srcOrd="0" destOrd="0" presId="urn:microsoft.com/office/officeart/2008/layout/VerticalCurvedList"/>
    <dgm:cxn modelId="{BEFF9F3E-4640-40C2-8870-581BD998AD04}" srcId="{391F7F86-A937-4CB5-890A-31D3E95F99A7}" destId="{8ABED08E-2D1A-48A5-90DC-2AEAB7238A93}" srcOrd="2" destOrd="0" parTransId="{8CD6FD9D-C73D-47F9-B756-45F1E4459976}" sibTransId="{FED40BD3-8AFC-4686-8C5E-BF6BDB896AE0}"/>
    <dgm:cxn modelId="{E8FE625C-497A-4963-955D-0AEC273B5880}" srcId="{391F7F86-A937-4CB5-890A-31D3E95F99A7}" destId="{61E000BE-3D06-417E-A632-0824929F5470}" srcOrd="4" destOrd="0" parTransId="{897A5B93-886D-4AA9-8AFC-6C4B61AD4928}" sibTransId="{B567C4A2-C8F4-4C95-94D5-3764B2BDF010}"/>
    <dgm:cxn modelId="{A5E8826C-C8A8-4A1F-802A-534E10CCE1FF}" type="presOf" srcId="{3AEEA323-5202-4EC1-AF74-DADDCB68C585}" destId="{0FCCAEF5-117F-42DE-BFFD-C46437B7FC55}" srcOrd="0" destOrd="0" presId="urn:microsoft.com/office/officeart/2008/layout/VerticalCurvedList"/>
    <dgm:cxn modelId="{FE677A4D-E6E1-42BB-9FD0-613C114BD0D8}" srcId="{391F7F86-A937-4CB5-890A-31D3E95F99A7}" destId="{F8FA16CD-5779-4B70-AA52-1D296B276149}" srcOrd="0" destOrd="0" parTransId="{06D96AAF-008B-4C13-981F-E713FA2CAC30}" sibTransId="{7FF1FAF3-0FC9-441C-BBAE-A9046EC7EEB9}"/>
    <dgm:cxn modelId="{D112F891-5DFB-46AD-8E4A-5D53D8945195}" srcId="{391F7F86-A937-4CB5-890A-31D3E95F99A7}" destId="{998168B5-131D-429C-8D89-0927B69AE87C}" srcOrd="5" destOrd="0" parTransId="{F49CAF2C-C65F-4A68-A0EF-A10E6FBCDB4E}" sibTransId="{523D8C36-72EA-43B7-BE96-ABB5DF37A1E6}"/>
    <dgm:cxn modelId="{48ABBFA2-C1E4-473B-AD7E-2627B15D86FF}" type="presOf" srcId="{181B2B3F-1638-4773-BDF5-D9F841FFC09E}" destId="{7284C32C-6157-49E3-9A98-0D2F9230B2C7}" srcOrd="0" destOrd="0" presId="urn:microsoft.com/office/officeart/2008/layout/VerticalCurvedList"/>
    <dgm:cxn modelId="{503608A7-C85B-4506-8236-89FB5956F57A}" srcId="{391F7F86-A937-4CB5-890A-31D3E95F99A7}" destId="{181B2B3F-1638-4773-BDF5-D9F841FFC09E}" srcOrd="1" destOrd="0" parTransId="{3AC3413A-F84B-4660-81EB-2FD9810F1A2F}" sibTransId="{DAC0A51F-0594-4387-A2BD-524B271A115B}"/>
    <dgm:cxn modelId="{A21513B0-4D71-4348-A5BF-21650E953F4F}" srcId="{391F7F86-A937-4CB5-890A-31D3E95F99A7}" destId="{404E95B7-53A6-4E8F-A511-78F34B7FF6BE}" srcOrd="3" destOrd="0" parTransId="{6DE4F8C5-D77A-442B-B045-07B079ED7AC2}" sibTransId="{BA281984-AEBA-4E66-9652-72A78768F7CD}"/>
    <dgm:cxn modelId="{9E2B17B2-4436-4A72-B7DC-350E8C771757}" type="presOf" srcId="{8ABED08E-2D1A-48A5-90DC-2AEAB7238A93}" destId="{E2C44903-3735-48E7-8E6A-DF0A4E480900}" srcOrd="0" destOrd="0" presId="urn:microsoft.com/office/officeart/2008/layout/VerticalCurvedList"/>
    <dgm:cxn modelId="{61C71BB9-942E-4686-872B-AC34A54C21DD}" type="presOf" srcId="{7FF1FAF3-0FC9-441C-BBAE-A9046EC7EEB9}" destId="{95D53B1B-5754-4C13-94F6-DB860CFF652B}" srcOrd="0" destOrd="0" presId="urn:microsoft.com/office/officeart/2008/layout/VerticalCurvedList"/>
    <dgm:cxn modelId="{A1C13EB9-A8C1-49E7-8208-045CC20DA126}" type="presOf" srcId="{998168B5-131D-429C-8D89-0927B69AE87C}" destId="{606ED6B2-0023-4C77-AF3D-10661181B949}" srcOrd="0" destOrd="0" presId="urn:microsoft.com/office/officeart/2008/layout/VerticalCurvedList"/>
    <dgm:cxn modelId="{F57E51E8-67BF-4F8B-ABA2-C042DDEB8C45}" type="presOf" srcId="{61E000BE-3D06-417E-A632-0824929F5470}" destId="{F93A98EF-7F21-410E-9A87-1849BCF2FFB9}" srcOrd="0" destOrd="0" presId="urn:microsoft.com/office/officeart/2008/layout/VerticalCurvedList"/>
    <dgm:cxn modelId="{D5677DE8-33A1-4847-9358-D9039F36BF7A}" type="presOf" srcId="{391F7F86-A937-4CB5-890A-31D3E95F99A7}" destId="{7EBC5866-9634-409D-90DB-0616E87F941B}" srcOrd="0" destOrd="0" presId="urn:microsoft.com/office/officeart/2008/layout/VerticalCurvedList"/>
    <dgm:cxn modelId="{3957F1FB-CFFA-4B66-B5F7-FC1C12FDC960}" type="presOf" srcId="{F8FA16CD-5779-4B70-AA52-1D296B276149}" destId="{B9DC1C5B-AA1F-4657-B30E-8BDDAE3FB497}" srcOrd="0" destOrd="0" presId="urn:microsoft.com/office/officeart/2008/layout/VerticalCurvedList"/>
    <dgm:cxn modelId="{78891BC1-5B9E-4103-872B-BA54C5268B0D}" type="presParOf" srcId="{7EBC5866-9634-409D-90DB-0616E87F941B}" destId="{3EE08BD7-8D7F-482E-8FAD-C98FC6ED5F76}" srcOrd="0" destOrd="0" presId="urn:microsoft.com/office/officeart/2008/layout/VerticalCurvedList"/>
    <dgm:cxn modelId="{74650F15-199C-45AB-B248-A4327E8A1ED8}" type="presParOf" srcId="{3EE08BD7-8D7F-482E-8FAD-C98FC6ED5F76}" destId="{8EEBE7F0-B3B4-4388-87E4-FD7F04FA6552}" srcOrd="0" destOrd="0" presId="urn:microsoft.com/office/officeart/2008/layout/VerticalCurvedList"/>
    <dgm:cxn modelId="{61F137C0-2087-471F-8D7D-877E1B321453}" type="presParOf" srcId="{8EEBE7F0-B3B4-4388-87E4-FD7F04FA6552}" destId="{90FEAC56-A134-4CDC-B007-D7180AC49310}" srcOrd="0" destOrd="0" presId="urn:microsoft.com/office/officeart/2008/layout/VerticalCurvedList"/>
    <dgm:cxn modelId="{9EAD3AFB-BCDF-457C-9CD4-844A9E6B44EE}" type="presParOf" srcId="{8EEBE7F0-B3B4-4388-87E4-FD7F04FA6552}" destId="{95D53B1B-5754-4C13-94F6-DB860CFF652B}" srcOrd="1" destOrd="0" presId="urn:microsoft.com/office/officeart/2008/layout/VerticalCurvedList"/>
    <dgm:cxn modelId="{4773B998-1DB9-4D43-8E5D-B4438BCEF383}" type="presParOf" srcId="{8EEBE7F0-B3B4-4388-87E4-FD7F04FA6552}" destId="{D2A0B02A-14DA-48C2-A4F6-2521A6C0BCAF}" srcOrd="2" destOrd="0" presId="urn:microsoft.com/office/officeart/2008/layout/VerticalCurvedList"/>
    <dgm:cxn modelId="{0E07826F-D05C-4AD6-B761-8438AEEFCBCA}" type="presParOf" srcId="{8EEBE7F0-B3B4-4388-87E4-FD7F04FA6552}" destId="{56C9F2B3-B02A-412C-8244-C5A4FB04D120}" srcOrd="3" destOrd="0" presId="urn:microsoft.com/office/officeart/2008/layout/VerticalCurvedList"/>
    <dgm:cxn modelId="{7D56C1C3-58C2-49DE-A414-D0DD4C80423C}" type="presParOf" srcId="{3EE08BD7-8D7F-482E-8FAD-C98FC6ED5F76}" destId="{B9DC1C5B-AA1F-4657-B30E-8BDDAE3FB497}" srcOrd="1" destOrd="0" presId="urn:microsoft.com/office/officeart/2008/layout/VerticalCurvedList"/>
    <dgm:cxn modelId="{1FF4DCDA-9AB8-4E07-841B-CAD71C499D9B}" type="presParOf" srcId="{3EE08BD7-8D7F-482E-8FAD-C98FC6ED5F76}" destId="{C9C887A6-2C17-4902-8254-5F6FDFFB3BF9}" srcOrd="2" destOrd="0" presId="urn:microsoft.com/office/officeart/2008/layout/VerticalCurvedList"/>
    <dgm:cxn modelId="{7DA847C9-5E82-476C-BD67-9100950709E0}" type="presParOf" srcId="{C9C887A6-2C17-4902-8254-5F6FDFFB3BF9}" destId="{E8E5CE25-A54E-4012-8E1D-D2AB08D98A99}" srcOrd="0" destOrd="0" presId="urn:microsoft.com/office/officeart/2008/layout/VerticalCurvedList"/>
    <dgm:cxn modelId="{6F5CE4C6-1E7A-4608-AEA3-2495DAFA1126}" type="presParOf" srcId="{3EE08BD7-8D7F-482E-8FAD-C98FC6ED5F76}" destId="{7284C32C-6157-49E3-9A98-0D2F9230B2C7}" srcOrd="3" destOrd="0" presId="urn:microsoft.com/office/officeart/2008/layout/VerticalCurvedList"/>
    <dgm:cxn modelId="{23D79B8C-7268-4E81-9A7F-B91608371447}" type="presParOf" srcId="{3EE08BD7-8D7F-482E-8FAD-C98FC6ED5F76}" destId="{A17C592F-7B60-4D85-991F-506665E05773}" srcOrd="4" destOrd="0" presId="urn:microsoft.com/office/officeart/2008/layout/VerticalCurvedList"/>
    <dgm:cxn modelId="{74F4FFFC-A26C-452C-84BC-D211A554634F}" type="presParOf" srcId="{A17C592F-7B60-4D85-991F-506665E05773}" destId="{1030206F-BA13-443D-8C11-AA99242C8FC7}" srcOrd="0" destOrd="0" presId="urn:microsoft.com/office/officeart/2008/layout/VerticalCurvedList"/>
    <dgm:cxn modelId="{E55F3D50-EFAA-4122-BACE-62F49962A7BA}" type="presParOf" srcId="{3EE08BD7-8D7F-482E-8FAD-C98FC6ED5F76}" destId="{E2C44903-3735-48E7-8E6A-DF0A4E480900}" srcOrd="5" destOrd="0" presId="urn:microsoft.com/office/officeart/2008/layout/VerticalCurvedList"/>
    <dgm:cxn modelId="{E5E4C601-CEC6-4AC9-AD43-B941F9388D84}" type="presParOf" srcId="{3EE08BD7-8D7F-482E-8FAD-C98FC6ED5F76}" destId="{15BF2DA7-5728-47C9-94DF-97D6053429AE}" srcOrd="6" destOrd="0" presId="urn:microsoft.com/office/officeart/2008/layout/VerticalCurvedList"/>
    <dgm:cxn modelId="{18768610-8A99-47DF-BE1A-B9D9ED89B7CB}" type="presParOf" srcId="{15BF2DA7-5728-47C9-94DF-97D6053429AE}" destId="{91DC3EF6-96A7-49D4-A97D-47E9C5DCCD3E}" srcOrd="0" destOrd="0" presId="urn:microsoft.com/office/officeart/2008/layout/VerticalCurvedList"/>
    <dgm:cxn modelId="{4A707176-3E0A-48A7-9310-989A4805EB6D}" type="presParOf" srcId="{3EE08BD7-8D7F-482E-8FAD-C98FC6ED5F76}" destId="{50FAECC8-400D-453E-AA16-073CDDD205C9}" srcOrd="7" destOrd="0" presId="urn:microsoft.com/office/officeart/2008/layout/VerticalCurvedList"/>
    <dgm:cxn modelId="{094CC51B-DB08-4A6B-B64A-9E2CD55839FB}" type="presParOf" srcId="{3EE08BD7-8D7F-482E-8FAD-C98FC6ED5F76}" destId="{A0279B94-3128-42DE-B2D6-7864BD99ECF6}" srcOrd="8" destOrd="0" presId="urn:microsoft.com/office/officeart/2008/layout/VerticalCurvedList"/>
    <dgm:cxn modelId="{DCBB5044-413A-498E-8A35-562D667BDB4F}" type="presParOf" srcId="{A0279B94-3128-42DE-B2D6-7864BD99ECF6}" destId="{E1C4BB68-B2A4-4A92-87B2-49D3DA1CE52C}" srcOrd="0" destOrd="0" presId="urn:microsoft.com/office/officeart/2008/layout/VerticalCurvedList"/>
    <dgm:cxn modelId="{BE262DB8-0134-412E-B5AD-8E5A46788A91}" type="presParOf" srcId="{3EE08BD7-8D7F-482E-8FAD-C98FC6ED5F76}" destId="{F93A98EF-7F21-410E-9A87-1849BCF2FFB9}" srcOrd="9" destOrd="0" presId="urn:microsoft.com/office/officeart/2008/layout/VerticalCurvedList"/>
    <dgm:cxn modelId="{C1BD9AE2-5F7E-4D0C-8084-40D2EEB971A7}" type="presParOf" srcId="{3EE08BD7-8D7F-482E-8FAD-C98FC6ED5F76}" destId="{F198982A-4E0F-47F4-BB64-2367E6DE760B}" srcOrd="10" destOrd="0" presId="urn:microsoft.com/office/officeart/2008/layout/VerticalCurvedList"/>
    <dgm:cxn modelId="{D2527A60-9B13-4AA5-B58F-90D0DA67C37D}" type="presParOf" srcId="{F198982A-4E0F-47F4-BB64-2367E6DE760B}" destId="{8592102B-D3F4-494B-BF45-E0A5C3BB44BC}" srcOrd="0" destOrd="0" presId="urn:microsoft.com/office/officeart/2008/layout/VerticalCurvedList"/>
    <dgm:cxn modelId="{F6D2C226-28CF-4373-8796-4871AAB70186}" type="presParOf" srcId="{3EE08BD7-8D7F-482E-8FAD-C98FC6ED5F76}" destId="{606ED6B2-0023-4C77-AF3D-10661181B949}" srcOrd="11" destOrd="0" presId="urn:microsoft.com/office/officeart/2008/layout/VerticalCurvedList"/>
    <dgm:cxn modelId="{ACE210FC-CA01-4C8C-A29D-3F39A75B5520}" type="presParOf" srcId="{3EE08BD7-8D7F-482E-8FAD-C98FC6ED5F76}" destId="{C36BDEAD-64D1-40D3-9488-76B042DF0F9F}" srcOrd="12" destOrd="0" presId="urn:microsoft.com/office/officeart/2008/layout/VerticalCurvedList"/>
    <dgm:cxn modelId="{84A856B4-9624-4E1C-929E-AC4475FA4B8A}" type="presParOf" srcId="{C36BDEAD-64D1-40D3-9488-76B042DF0F9F}" destId="{BE9DEAFF-DD7D-4687-A090-4FAE277F6833}" srcOrd="0" destOrd="0" presId="urn:microsoft.com/office/officeart/2008/layout/VerticalCurvedList"/>
    <dgm:cxn modelId="{C3D928E0-88FC-48E1-8843-36C3632F4FCC}" type="presParOf" srcId="{3EE08BD7-8D7F-482E-8FAD-C98FC6ED5F76}" destId="{0FCCAEF5-117F-42DE-BFFD-C46437B7FC55}" srcOrd="13" destOrd="0" presId="urn:microsoft.com/office/officeart/2008/layout/VerticalCurvedList"/>
    <dgm:cxn modelId="{A49A3ABC-EEE1-47A0-AAB9-6CCE1641A7A4}" type="presParOf" srcId="{3EE08BD7-8D7F-482E-8FAD-C98FC6ED5F76}" destId="{5B980479-4104-4C6E-A334-4482F39D2734}" srcOrd="14" destOrd="0" presId="urn:microsoft.com/office/officeart/2008/layout/VerticalCurvedList"/>
    <dgm:cxn modelId="{3D0B8C7B-EDCF-4A2F-8018-236B409CA1EF}" type="presParOf" srcId="{5B980479-4104-4C6E-A334-4482F39D2734}" destId="{94B0EC2D-894F-42F8-888F-4B813C74F16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56495CED-5222-4F38-849F-C3EBAFA135F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EA45CB9F-05F9-4CDD-AEC7-CEE8BA6073A3}">
      <dgm:prSet custT="1"/>
      <dgm:spPr>
        <a:xfrm>
          <a:off x="0" y="363110"/>
          <a:ext cx="11155039" cy="2625480"/>
        </a:xfrm>
        <a:prstGeom prst="roundRect">
          <a:avLst/>
        </a:prstGeom>
      </dgm:spPr>
      <dgm:t>
        <a:bodyPr/>
        <a:lstStyle/>
        <a:p>
          <a:pPr>
            <a:buNone/>
          </a:pPr>
          <a:r>
            <a:rPr lang="en-US" sz="2400">
              <a:latin typeface="Segoe UI"/>
              <a:ea typeface="+mn-ea"/>
              <a:cs typeface="+mn-cs"/>
            </a:rPr>
            <a:t>Data discovery &amp; classification provides advanced capabilities built into Azure SQL Database for </a:t>
          </a:r>
          <a:r>
            <a:rPr lang="en-US" sz="2400" b="1">
              <a:latin typeface="Segoe UI"/>
              <a:ea typeface="+mn-ea"/>
              <a:cs typeface="+mn-cs"/>
            </a:rPr>
            <a:t>discovering</a:t>
          </a:r>
          <a:r>
            <a:rPr lang="en-US" sz="2400">
              <a:latin typeface="Segoe UI"/>
              <a:ea typeface="+mn-ea"/>
              <a:cs typeface="+mn-cs"/>
            </a:rPr>
            <a:t>, </a:t>
          </a:r>
          <a:r>
            <a:rPr lang="en-US" sz="2400" b="1">
              <a:latin typeface="Segoe UI"/>
              <a:ea typeface="+mn-ea"/>
              <a:cs typeface="+mn-cs"/>
            </a:rPr>
            <a:t>classifying</a:t>
          </a:r>
          <a:r>
            <a:rPr lang="en-US" sz="2400">
              <a:latin typeface="Segoe UI"/>
              <a:ea typeface="+mn-ea"/>
              <a:cs typeface="+mn-cs"/>
            </a:rPr>
            <a:t>, </a:t>
          </a:r>
          <a:r>
            <a:rPr lang="en-US" sz="2400" b="1">
              <a:latin typeface="Segoe UI"/>
              <a:ea typeface="+mn-ea"/>
              <a:cs typeface="+mn-cs"/>
            </a:rPr>
            <a:t>labeling</a:t>
          </a:r>
          <a:r>
            <a:rPr lang="en-US" sz="2400">
              <a:latin typeface="Segoe UI"/>
              <a:ea typeface="+mn-ea"/>
              <a:cs typeface="+mn-cs"/>
            </a:rPr>
            <a:t> &amp; </a:t>
          </a:r>
          <a:r>
            <a:rPr lang="en-US" sz="2400" b="1">
              <a:latin typeface="Segoe UI"/>
              <a:ea typeface="+mn-ea"/>
              <a:cs typeface="+mn-cs"/>
            </a:rPr>
            <a:t>protecting</a:t>
          </a:r>
          <a:r>
            <a:rPr lang="en-US" sz="2400">
              <a:latin typeface="Segoe UI"/>
              <a:ea typeface="+mn-ea"/>
              <a:cs typeface="+mn-cs"/>
            </a:rPr>
            <a:t> the sensitive data in your databases.</a:t>
          </a:r>
        </a:p>
      </dgm:t>
    </dgm:pt>
    <dgm:pt modelId="{A751C64C-29B9-4599-8F01-B84242FDD69E}" type="parTrans" cxnId="{E1A8A93D-3986-47A1-BEA1-C156434BB24E}">
      <dgm:prSet/>
      <dgm:spPr/>
      <dgm:t>
        <a:bodyPr/>
        <a:lstStyle/>
        <a:p>
          <a:endParaRPr lang="en-US"/>
        </a:p>
      </dgm:t>
    </dgm:pt>
    <dgm:pt modelId="{C41F1679-9E1F-47CB-8589-EE8719E2BD7D}" type="sibTrans" cxnId="{E1A8A93D-3986-47A1-BEA1-C156434BB24E}">
      <dgm:prSet/>
      <dgm:spPr/>
      <dgm:t>
        <a:bodyPr/>
        <a:lstStyle/>
        <a:p>
          <a:endParaRPr lang="en-US"/>
        </a:p>
      </dgm:t>
    </dgm:pt>
    <dgm:pt modelId="{15BAA6AE-02D9-48BC-93D8-A2E109E53809}" type="pres">
      <dgm:prSet presAssocID="{56495CED-5222-4F38-849F-C3EBAFA135FE}" presName="linear" presStyleCnt="0">
        <dgm:presLayoutVars>
          <dgm:animLvl val="lvl"/>
          <dgm:resizeHandles val="exact"/>
        </dgm:presLayoutVars>
      </dgm:prSet>
      <dgm:spPr/>
    </dgm:pt>
    <dgm:pt modelId="{B9016463-C238-474B-9A11-F89ECB5663EC}" type="pres">
      <dgm:prSet presAssocID="{EA45CB9F-05F9-4CDD-AEC7-CEE8BA6073A3}" presName="parentText" presStyleLbl="node1" presStyleIdx="0" presStyleCnt="1">
        <dgm:presLayoutVars>
          <dgm:chMax val="0"/>
          <dgm:bulletEnabled val="1"/>
        </dgm:presLayoutVars>
      </dgm:prSet>
      <dgm:spPr/>
    </dgm:pt>
  </dgm:ptLst>
  <dgm:cxnLst>
    <dgm:cxn modelId="{D2B47B1E-2961-468A-9146-F3879CF8E660}" type="presOf" srcId="{EA45CB9F-05F9-4CDD-AEC7-CEE8BA6073A3}" destId="{B9016463-C238-474B-9A11-F89ECB5663EC}" srcOrd="0" destOrd="0" presId="urn:microsoft.com/office/officeart/2005/8/layout/vList2"/>
    <dgm:cxn modelId="{E1A8A93D-3986-47A1-BEA1-C156434BB24E}" srcId="{56495CED-5222-4F38-849F-C3EBAFA135FE}" destId="{EA45CB9F-05F9-4CDD-AEC7-CEE8BA6073A3}" srcOrd="0" destOrd="0" parTransId="{A751C64C-29B9-4599-8F01-B84242FDD69E}" sibTransId="{C41F1679-9E1F-47CB-8589-EE8719E2BD7D}"/>
    <dgm:cxn modelId="{AD497E6F-5A2E-418E-8D53-0571168BFF86}" type="presOf" srcId="{56495CED-5222-4F38-849F-C3EBAFA135FE}" destId="{15BAA6AE-02D9-48BC-93D8-A2E109E53809}" srcOrd="0" destOrd="0" presId="urn:microsoft.com/office/officeart/2005/8/layout/vList2"/>
    <dgm:cxn modelId="{0EAE41CE-7A65-40B4-89C7-58DDC3E760BE}" type="presParOf" srcId="{15BAA6AE-02D9-48BC-93D8-A2E109E53809}" destId="{B9016463-C238-474B-9A11-F89ECB5663EC}"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391F7F86-A937-4CB5-890A-31D3E95F99A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nl-BE"/>
        </a:p>
      </dgm:t>
    </dgm:pt>
    <dgm:pt modelId="{F8FA16CD-5779-4B70-AA52-1D296B276149}">
      <dgm:prSet custT="1"/>
      <dgm:spPr>
        <a:xfrm>
          <a:off x="469445" y="311328"/>
          <a:ext cx="8752010" cy="623055"/>
        </a:xfrm>
        <a:prstGeom prst="rect">
          <a:avLst/>
        </a:prstGeom>
      </dgm:spPr>
      <dgm:t>
        <a:bodyPr/>
        <a:lstStyle/>
        <a:p>
          <a:pPr>
            <a:buNone/>
          </a:pPr>
          <a:r>
            <a:rPr lang="en-US" sz="2400" b="0" i="0" u="none" strike="noStrike" dirty="0">
              <a:effectLst/>
              <a:latin typeface="+mn-lt"/>
              <a:ea typeface="+mn-ea"/>
              <a:cs typeface="+mn-cs"/>
            </a:rPr>
            <a:t>Discovery &amp; recommendations </a:t>
          </a:r>
          <a:endParaRPr lang="nl-BE" sz="2400" b="0" dirty="0">
            <a:latin typeface="+mn-lt"/>
            <a:ea typeface="+mn-ea"/>
            <a:cs typeface="+mn-cs"/>
          </a:endParaRPr>
        </a:p>
      </dgm:t>
    </dgm:pt>
    <dgm:pt modelId="{06D96AAF-008B-4C13-981F-E713FA2CAC30}" type="parTrans" cxnId="{FE677A4D-E6E1-42BB-9FD0-613C114BD0D8}">
      <dgm:prSet/>
      <dgm:spPr/>
      <dgm:t>
        <a:bodyPr/>
        <a:lstStyle/>
        <a:p>
          <a:endParaRPr lang="nl-BE"/>
        </a:p>
      </dgm:t>
    </dgm:pt>
    <dgm:pt modelId="{7FF1FAF3-0FC9-441C-BBAE-A9046EC7EEB9}" type="sibTrans" cxnId="{FE677A4D-E6E1-42BB-9FD0-613C114BD0D8}">
      <dgm:prSet/>
      <dgm:spPr>
        <a:xfrm>
          <a:off x="-5633907" y="-862450"/>
          <a:ext cx="6707751" cy="6707751"/>
        </a:xfrm>
        <a:prstGeom prst="blockArc">
          <a:avLst>
            <a:gd name="adj1" fmla="val 18900000"/>
            <a:gd name="adj2" fmla="val 2700000"/>
            <a:gd name="adj3" fmla="val 322"/>
          </a:avLst>
        </a:prstGeom>
      </dgm:spPr>
      <dgm:t>
        <a:bodyPr/>
        <a:lstStyle/>
        <a:p>
          <a:endParaRPr lang="nl-BE"/>
        </a:p>
      </dgm:t>
    </dgm:pt>
    <dgm:pt modelId="{F9644AFA-237B-474A-85ED-323180C100CF}">
      <dgm:prSet custT="1"/>
      <dgm:spPr>
        <a:xfrm>
          <a:off x="915909" y="1245613"/>
          <a:ext cx="8305547" cy="623055"/>
        </a:xfrm>
        <a:prstGeom prst="rect">
          <a:avLst/>
        </a:prstGeom>
      </dgm:spPr>
      <dgm:t>
        <a:bodyPr/>
        <a:lstStyle/>
        <a:p>
          <a:pPr>
            <a:buNone/>
          </a:pPr>
          <a:r>
            <a:rPr lang="nl-BE" sz="2400">
              <a:latin typeface="Segoe UI"/>
              <a:ea typeface="+mn-ea"/>
              <a:cs typeface="+mn-cs"/>
            </a:rPr>
            <a:t>Labeling</a:t>
          </a:r>
        </a:p>
      </dgm:t>
    </dgm:pt>
    <dgm:pt modelId="{73376CC0-72D6-4E83-A4B1-98B8A62CDAC5}" type="parTrans" cxnId="{CBD1D3CA-36F5-45A2-99EE-68CD9EA21166}">
      <dgm:prSet/>
      <dgm:spPr/>
      <dgm:t>
        <a:bodyPr/>
        <a:lstStyle/>
        <a:p>
          <a:endParaRPr lang="nl-BE"/>
        </a:p>
      </dgm:t>
    </dgm:pt>
    <dgm:pt modelId="{28D24278-460E-4763-B5F6-2C97712938D2}" type="sibTrans" cxnId="{CBD1D3CA-36F5-45A2-99EE-68CD9EA21166}">
      <dgm:prSet/>
      <dgm:spPr/>
      <dgm:t>
        <a:bodyPr/>
        <a:lstStyle/>
        <a:p>
          <a:endParaRPr lang="nl-BE"/>
        </a:p>
      </dgm:t>
    </dgm:pt>
    <dgm:pt modelId="{794CDDFB-ED47-4AD8-8895-020EAF66D4D2}">
      <dgm:prSet custT="1"/>
      <dgm:spPr>
        <a:xfrm>
          <a:off x="1052937" y="2179897"/>
          <a:ext cx="8168518" cy="623055"/>
        </a:xfrm>
        <a:prstGeom prst="rect">
          <a:avLst/>
        </a:prstGeom>
      </dgm:spPr>
      <dgm:t>
        <a:bodyPr/>
        <a:lstStyle/>
        <a:p>
          <a:pPr>
            <a:buNone/>
          </a:pPr>
          <a:r>
            <a:rPr lang="nl-BE" sz="2400">
              <a:latin typeface="Segoe UI"/>
              <a:ea typeface="+mn-ea"/>
              <a:cs typeface="+mn-cs"/>
            </a:rPr>
            <a:t>Query result set sensitivity</a:t>
          </a:r>
        </a:p>
      </dgm:t>
    </dgm:pt>
    <dgm:pt modelId="{B935095C-7C9F-4C34-98EF-47F8252C0DDD}" type="parTrans" cxnId="{2CD5DFC9-C8E4-4A36-B613-5B8DC1B5CF0D}">
      <dgm:prSet/>
      <dgm:spPr/>
      <dgm:t>
        <a:bodyPr/>
        <a:lstStyle/>
        <a:p>
          <a:endParaRPr lang="nl-BE"/>
        </a:p>
      </dgm:t>
    </dgm:pt>
    <dgm:pt modelId="{487694F6-648E-49FE-A947-70809F87F427}" type="sibTrans" cxnId="{2CD5DFC9-C8E4-4A36-B613-5B8DC1B5CF0D}">
      <dgm:prSet/>
      <dgm:spPr/>
      <dgm:t>
        <a:bodyPr/>
        <a:lstStyle/>
        <a:p>
          <a:endParaRPr lang="nl-BE"/>
        </a:p>
      </dgm:t>
    </dgm:pt>
    <dgm:pt modelId="{C30A1111-2055-48D6-B0B6-D4A0EEEB686C}">
      <dgm:prSet custT="1"/>
      <dgm:spPr>
        <a:xfrm>
          <a:off x="915909" y="3114182"/>
          <a:ext cx="8305547" cy="623055"/>
        </a:xfrm>
        <a:prstGeom prst="rect">
          <a:avLst/>
        </a:prstGeom>
      </dgm:spPr>
      <dgm:t>
        <a:bodyPr/>
        <a:lstStyle/>
        <a:p>
          <a:pPr>
            <a:buNone/>
          </a:pPr>
          <a:r>
            <a:rPr lang="nl-BE" sz="2400">
              <a:latin typeface="Segoe UI"/>
              <a:ea typeface="+mn-ea"/>
              <a:cs typeface="+mn-cs"/>
            </a:rPr>
            <a:t>Visibility</a:t>
          </a:r>
        </a:p>
      </dgm:t>
    </dgm:pt>
    <dgm:pt modelId="{A43EBA5D-AD72-4C61-BE79-17CB0C4B8E7B}" type="parTrans" cxnId="{0D297B87-B251-4365-AD67-9A64129B06A6}">
      <dgm:prSet/>
      <dgm:spPr/>
      <dgm:t>
        <a:bodyPr/>
        <a:lstStyle/>
        <a:p>
          <a:endParaRPr lang="nl-BE"/>
        </a:p>
      </dgm:t>
    </dgm:pt>
    <dgm:pt modelId="{A95D2223-ABE4-4CF9-AD9B-EA33ABBAEF1C}" type="sibTrans" cxnId="{0D297B87-B251-4365-AD67-9A64129B06A6}">
      <dgm:prSet/>
      <dgm:spPr/>
      <dgm:t>
        <a:bodyPr/>
        <a:lstStyle/>
        <a:p>
          <a:endParaRPr lang="nl-BE"/>
        </a:p>
      </dgm:t>
    </dgm:pt>
    <dgm:pt modelId="{8FDF2768-4018-4E07-BBEA-61949EC9E9EA}">
      <dgm:prSet custT="1"/>
      <dgm:spPr>
        <a:xfrm>
          <a:off x="469445" y="4048466"/>
          <a:ext cx="8752010" cy="623055"/>
        </a:xfrm>
        <a:prstGeom prst="rect">
          <a:avLst/>
        </a:prstGeom>
      </dgm:spPr>
      <dgm:t>
        <a:bodyPr/>
        <a:lstStyle/>
        <a:p>
          <a:pPr>
            <a:buNone/>
          </a:pPr>
          <a:r>
            <a:rPr lang="en-US" sz="2400">
              <a:latin typeface="Segoe UI"/>
              <a:ea typeface="+mn-ea"/>
              <a:cs typeface="+mn-cs"/>
            </a:rPr>
            <a:t>Auditing access to sensitive data</a:t>
          </a:r>
          <a:endParaRPr lang="nl-BE" sz="2400">
            <a:latin typeface="Segoe UI"/>
            <a:ea typeface="+mn-ea"/>
            <a:cs typeface="+mn-cs"/>
          </a:endParaRPr>
        </a:p>
      </dgm:t>
    </dgm:pt>
    <dgm:pt modelId="{9A75DD8E-89B1-44DA-94CB-AFC6C233E1A2}" type="parTrans" cxnId="{1E69AC74-7A4A-42BB-979E-3ACCE4C8CC68}">
      <dgm:prSet/>
      <dgm:spPr/>
      <dgm:t>
        <a:bodyPr/>
        <a:lstStyle/>
        <a:p>
          <a:endParaRPr lang="en-US"/>
        </a:p>
      </dgm:t>
    </dgm:pt>
    <dgm:pt modelId="{683B284D-941C-442D-A09E-A41B5532082D}" type="sibTrans" cxnId="{1E69AC74-7A4A-42BB-979E-3ACCE4C8CC68}">
      <dgm:prSet/>
      <dgm:spPr/>
      <dgm:t>
        <a:bodyPr/>
        <a:lstStyle/>
        <a:p>
          <a:endParaRPr lang="en-US"/>
        </a:p>
      </dgm:t>
    </dgm:pt>
    <dgm:pt modelId="{8CC9DFAF-AE06-494A-BE6A-39034894A0D0}" type="pres">
      <dgm:prSet presAssocID="{391F7F86-A937-4CB5-890A-31D3E95F99A7}" presName="Name0" presStyleCnt="0">
        <dgm:presLayoutVars>
          <dgm:chMax val="7"/>
          <dgm:chPref val="7"/>
          <dgm:dir/>
        </dgm:presLayoutVars>
      </dgm:prSet>
      <dgm:spPr/>
    </dgm:pt>
    <dgm:pt modelId="{CD4BE898-4C8C-4861-BF13-4A3B0DE5D922}" type="pres">
      <dgm:prSet presAssocID="{391F7F86-A937-4CB5-890A-31D3E95F99A7}" presName="Name1" presStyleCnt="0"/>
      <dgm:spPr/>
    </dgm:pt>
    <dgm:pt modelId="{D0CD6D96-2EAD-47F3-A3C8-4558887885CC}" type="pres">
      <dgm:prSet presAssocID="{391F7F86-A937-4CB5-890A-31D3E95F99A7}" presName="cycle" presStyleCnt="0"/>
      <dgm:spPr/>
    </dgm:pt>
    <dgm:pt modelId="{E5F67261-F0C5-463F-AB84-45F05240B1E9}" type="pres">
      <dgm:prSet presAssocID="{391F7F86-A937-4CB5-890A-31D3E95F99A7}" presName="srcNode" presStyleLbl="node1" presStyleIdx="0" presStyleCnt="5"/>
      <dgm:spPr/>
    </dgm:pt>
    <dgm:pt modelId="{3E6CE577-3135-45ED-B437-0909A2276718}" type="pres">
      <dgm:prSet presAssocID="{391F7F86-A937-4CB5-890A-31D3E95F99A7}" presName="conn" presStyleLbl="parChTrans1D2" presStyleIdx="0" presStyleCnt="1"/>
      <dgm:spPr/>
    </dgm:pt>
    <dgm:pt modelId="{5DD473ED-22AC-4013-B3CC-A38E9D9EA7A2}" type="pres">
      <dgm:prSet presAssocID="{391F7F86-A937-4CB5-890A-31D3E95F99A7}" presName="extraNode" presStyleLbl="node1" presStyleIdx="0" presStyleCnt="5"/>
      <dgm:spPr/>
    </dgm:pt>
    <dgm:pt modelId="{2FAFBFE2-526E-413D-91EA-B0DAB33A5588}" type="pres">
      <dgm:prSet presAssocID="{391F7F86-A937-4CB5-890A-31D3E95F99A7}" presName="dstNode" presStyleLbl="node1" presStyleIdx="0" presStyleCnt="5"/>
      <dgm:spPr/>
    </dgm:pt>
    <dgm:pt modelId="{8EAA2EF7-0365-4860-B5A9-34020B27D7F3}" type="pres">
      <dgm:prSet presAssocID="{F8FA16CD-5779-4B70-AA52-1D296B276149}" presName="text_1" presStyleLbl="node1" presStyleIdx="0" presStyleCnt="5">
        <dgm:presLayoutVars>
          <dgm:bulletEnabled val="1"/>
        </dgm:presLayoutVars>
      </dgm:prSet>
      <dgm:spPr/>
    </dgm:pt>
    <dgm:pt modelId="{63FBA14D-340B-4AE9-9EF9-ACC6353C348C}" type="pres">
      <dgm:prSet presAssocID="{F8FA16CD-5779-4B70-AA52-1D296B276149}" presName="accent_1" presStyleCnt="0"/>
      <dgm:spPr/>
    </dgm:pt>
    <dgm:pt modelId="{048F5345-A67F-4ACB-8EF6-A0C71A556E29}" type="pres">
      <dgm:prSet presAssocID="{F8FA16CD-5779-4B70-AA52-1D296B276149}" presName="accentRepeatNode" presStyleLbl="solidFgAcc1" presStyleIdx="0" presStyleCnt="5"/>
      <dgm:spPr>
        <a:xfrm>
          <a:off x="80035" y="233446"/>
          <a:ext cx="778819" cy="778819"/>
        </a:xfrm>
        <a:prstGeom prst="ellipse">
          <a:avLst/>
        </a:prstGeom>
      </dgm:spPr>
    </dgm:pt>
    <dgm:pt modelId="{EC4A256D-0EDB-4DCE-87DC-AA2E4F390A92}" type="pres">
      <dgm:prSet presAssocID="{F9644AFA-237B-474A-85ED-323180C100CF}" presName="text_2" presStyleLbl="node1" presStyleIdx="1" presStyleCnt="5">
        <dgm:presLayoutVars>
          <dgm:bulletEnabled val="1"/>
        </dgm:presLayoutVars>
      </dgm:prSet>
      <dgm:spPr/>
    </dgm:pt>
    <dgm:pt modelId="{994C7EFE-3A24-4946-9B19-F4ACDDF126D9}" type="pres">
      <dgm:prSet presAssocID="{F9644AFA-237B-474A-85ED-323180C100CF}" presName="accent_2" presStyleCnt="0"/>
      <dgm:spPr/>
    </dgm:pt>
    <dgm:pt modelId="{D085F822-9231-42EA-80AE-D414E5E81C2E}" type="pres">
      <dgm:prSet presAssocID="{F9644AFA-237B-474A-85ED-323180C100CF}" presName="accentRepeatNode" presStyleLbl="solidFgAcc1" presStyleIdx="1" presStyleCnt="5"/>
      <dgm:spPr>
        <a:xfrm>
          <a:off x="526499" y="1167731"/>
          <a:ext cx="778819" cy="778819"/>
        </a:xfrm>
        <a:prstGeom prst="ellipse">
          <a:avLst/>
        </a:prstGeom>
      </dgm:spPr>
    </dgm:pt>
    <dgm:pt modelId="{C69E11E5-B507-4C20-A75A-858083FD981E}" type="pres">
      <dgm:prSet presAssocID="{794CDDFB-ED47-4AD8-8895-020EAF66D4D2}" presName="text_3" presStyleLbl="node1" presStyleIdx="2" presStyleCnt="5">
        <dgm:presLayoutVars>
          <dgm:bulletEnabled val="1"/>
        </dgm:presLayoutVars>
      </dgm:prSet>
      <dgm:spPr/>
    </dgm:pt>
    <dgm:pt modelId="{2BF3FDA0-370F-4A54-907C-3DEEFC1DC7BD}" type="pres">
      <dgm:prSet presAssocID="{794CDDFB-ED47-4AD8-8895-020EAF66D4D2}" presName="accent_3" presStyleCnt="0"/>
      <dgm:spPr/>
    </dgm:pt>
    <dgm:pt modelId="{BFE8A08C-85C2-4E79-BC90-76A29B928BEE}" type="pres">
      <dgm:prSet presAssocID="{794CDDFB-ED47-4AD8-8895-020EAF66D4D2}" presName="accentRepeatNode" presStyleLbl="solidFgAcc1" presStyleIdx="2" presStyleCnt="5"/>
      <dgm:spPr>
        <a:xfrm>
          <a:off x="663527" y="2102015"/>
          <a:ext cx="778819" cy="778819"/>
        </a:xfrm>
        <a:prstGeom prst="ellipse">
          <a:avLst/>
        </a:prstGeom>
      </dgm:spPr>
    </dgm:pt>
    <dgm:pt modelId="{A7AC9D81-28D7-4F58-B969-D3F080D7F31D}" type="pres">
      <dgm:prSet presAssocID="{C30A1111-2055-48D6-B0B6-D4A0EEEB686C}" presName="text_4" presStyleLbl="node1" presStyleIdx="3" presStyleCnt="5">
        <dgm:presLayoutVars>
          <dgm:bulletEnabled val="1"/>
        </dgm:presLayoutVars>
      </dgm:prSet>
      <dgm:spPr/>
    </dgm:pt>
    <dgm:pt modelId="{D27347DC-AC3B-4ED1-A1A5-ED20E2C2C7A2}" type="pres">
      <dgm:prSet presAssocID="{C30A1111-2055-48D6-B0B6-D4A0EEEB686C}" presName="accent_4" presStyleCnt="0"/>
      <dgm:spPr/>
    </dgm:pt>
    <dgm:pt modelId="{E782F6CC-65FA-4263-B239-FD0ACD11C09F}" type="pres">
      <dgm:prSet presAssocID="{C30A1111-2055-48D6-B0B6-D4A0EEEB686C}" presName="accentRepeatNode" presStyleLbl="solidFgAcc1" presStyleIdx="3" presStyleCnt="5"/>
      <dgm:spPr>
        <a:xfrm>
          <a:off x="526499" y="3036300"/>
          <a:ext cx="778819" cy="778819"/>
        </a:xfrm>
        <a:prstGeom prst="ellipse">
          <a:avLst/>
        </a:prstGeom>
      </dgm:spPr>
    </dgm:pt>
    <dgm:pt modelId="{976697AF-387E-466C-BB8E-F19958E78F05}" type="pres">
      <dgm:prSet presAssocID="{8FDF2768-4018-4E07-BBEA-61949EC9E9EA}" presName="text_5" presStyleLbl="node1" presStyleIdx="4" presStyleCnt="5">
        <dgm:presLayoutVars>
          <dgm:bulletEnabled val="1"/>
        </dgm:presLayoutVars>
      </dgm:prSet>
      <dgm:spPr/>
    </dgm:pt>
    <dgm:pt modelId="{E1A6CCA2-0744-4462-B4E5-869998DD71C0}" type="pres">
      <dgm:prSet presAssocID="{8FDF2768-4018-4E07-BBEA-61949EC9E9EA}" presName="accent_5" presStyleCnt="0"/>
      <dgm:spPr/>
    </dgm:pt>
    <dgm:pt modelId="{1598694E-D32E-4874-90F4-366BFC842A01}" type="pres">
      <dgm:prSet presAssocID="{8FDF2768-4018-4E07-BBEA-61949EC9E9EA}" presName="accentRepeatNode" presStyleLbl="solidFgAcc1" presStyleIdx="4" presStyleCnt="5"/>
      <dgm:spPr>
        <a:xfrm>
          <a:off x="80035" y="3970584"/>
          <a:ext cx="778819" cy="778819"/>
        </a:xfrm>
        <a:prstGeom prst="ellipse">
          <a:avLst/>
        </a:prstGeom>
      </dgm:spPr>
    </dgm:pt>
  </dgm:ptLst>
  <dgm:cxnLst>
    <dgm:cxn modelId="{65932F03-724F-4BDD-A850-23C1F808EAF3}" type="presOf" srcId="{391F7F86-A937-4CB5-890A-31D3E95F99A7}" destId="{8CC9DFAF-AE06-494A-BE6A-39034894A0D0}" srcOrd="0" destOrd="0" presId="urn:microsoft.com/office/officeart/2008/layout/VerticalCurvedList"/>
    <dgm:cxn modelId="{3C7F6234-DADA-475E-86D8-07899C493994}" type="presOf" srcId="{7FF1FAF3-0FC9-441C-BBAE-A9046EC7EEB9}" destId="{3E6CE577-3135-45ED-B437-0909A2276718}" srcOrd="0" destOrd="0" presId="urn:microsoft.com/office/officeart/2008/layout/VerticalCurvedList"/>
    <dgm:cxn modelId="{FE677A4D-E6E1-42BB-9FD0-613C114BD0D8}" srcId="{391F7F86-A937-4CB5-890A-31D3E95F99A7}" destId="{F8FA16CD-5779-4B70-AA52-1D296B276149}" srcOrd="0" destOrd="0" parTransId="{06D96AAF-008B-4C13-981F-E713FA2CAC30}" sibTransId="{7FF1FAF3-0FC9-441C-BBAE-A9046EC7EEB9}"/>
    <dgm:cxn modelId="{F7E7B873-9355-4512-BA33-B68659AF1ED2}" type="presOf" srcId="{8FDF2768-4018-4E07-BBEA-61949EC9E9EA}" destId="{976697AF-387E-466C-BB8E-F19958E78F05}" srcOrd="0" destOrd="0" presId="urn:microsoft.com/office/officeart/2008/layout/VerticalCurvedList"/>
    <dgm:cxn modelId="{1E69AC74-7A4A-42BB-979E-3ACCE4C8CC68}" srcId="{391F7F86-A937-4CB5-890A-31D3E95F99A7}" destId="{8FDF2768-4018-4E07-BBEA-61949EC9E9EA}" srcOrd="4" destOrd="0" parTransId="{9A75DD8E-89B1-44DA-94CB-AFC6C233E1A2}" sibTransId="{683B284D-941C-442D-A09E-A41B5532082D}"/>
    <dgm:cxn modelId="{AE95DC58-2698-4C16-95F5-7F148CC3E77D}" type="presOf" srcId="{794CDDFB-ED47-4AD8-8895-020EAF66D4D2}" destId="{C69E11E5-B507-4C20-A75A-858083FD981E}" srcOrd="0" destOrd="0" presId="urn:microsoft.com/office/officeart/2008/layout/VerticalCurvedList"/>
    <dgm:cxn modelId="{7DAC4780-3119-4526-A644-B0BBC05CFB21}" type="presOf" srcId="{C30A1111-2055-48D6-B0B6-D4A0EEEB686C}" destId="{A7AC9D81-28D7-4F58-B969-D3F080D7F31D}" srcOrd="0" destOrd="0" presId="urn:microsoft.com/office/officeart/2008/layout/VerticalCurvedList"/>
    <dgm:cxn modelId="{0D297B87-B251-4365-AD67-9A64129B06A6}" srcId="{391F7F86-A937-4CB5-890A-31D3E95F99A7}" destId="{C30A1111-2055-48D6-B0B6-D4A0EEEB686C}" srcOrd="3" destOrd="0" parTransId="{A43EBA5D-AD72-4C61-BE79-17CB0C4B8E7B}" sibTransId="{A95D2223-ABE4-4CF9-AD9B-EA33ABBAEF1C}"/>
    <dgm:cxn modelId="{D0BAD69C-7C3D-48E4-91EF-43CC3317D70A}" type="presOf" srcId="{F8FA16CD-5779-4B70-AA52-1D296B276149}" destId="{8EAA2EF7-0365-4860-B5A9-34020B27D7F3}" srcOrd="0" destOrd="0" presId="urn:microsoft.com/office/officeart/2008/layout/VerticalCurvedList"/>
    <dgm:cxn modelId="{2CD5DFC9-C8E4-4A36-B613-5B8DC1B5CF0D}" srcId="{391F7F86-A937-4CB5-890A-31D3E95F99A7}" destId="{794CDDFB-ED47-4AD8-8895-020EAF66D4D2}" srcOrd="2" destOrd="0" parTransId="{B935095C-7C9F-4C34-98EF-47F8252C0DDD}" sibTransId="{487694F6-648E-49FE-A947-70809F87F427}"/>
    <dgm:cxn modelId="{CBD1D3CA-36F5-45A2-99EE-68CD9EA21166}" srcId="{391F7F86-A937-4CB5-890A-31D3E95F99A7}" destId="{F9644AFA-237B-474A-85ED-323180C100CF}" srcOrd="1" destOrd="0" parTransId="{73376CC0-72D6-4E83-A4B1-98B8A62CDAC5}" sibTransId="{28D24278-460E-4763-B5F6-2C97712938D2}"/>
    <dgm:cxn modelId="{38F6E7D8-740E-4353-A80A-6C5A1C508716}" type="presOf" srcId="{F9644AFA-237B-474A-85ED-323180C100CF}" destId="{EC4A256D-0EDB-4DCE-87DC-AA2E4F390A92}" srcOrd="0" destOrd="0" presId="urn:microsoft.com/office/officeart/2008/layout/VerticalCurvedList"/>
    <dgm:cxn modelId="{D535D815-2AB0-453C-838B-14E58CFD6A2B}" type="presParOf" srcId="{8CC9DFAF-AE06-494A-BE6A-39034894A0D0}" destId="{CD4BE898-4C8C-4861-BF13-4A3B0DE5D922}" srcOrd="0" destOrd="0" presId="urn:microsoft.com/office/officeart/2008/layout/VerticalCurvedList"/>
    <dgm:cxn modelId="{FD70CD3E-CB6B-4316-843B-0C0E61FD66D6}" type="presParOf" srcId="{CD4BE898-4C8C-4861-BF13-4A3B0DE5D922}" destId="{D0CD6D96-2EAD-47F3-A3C8-4558887885CC}" srcOrd="0" destOrd="0" presId="urn:microsoft.com/office/officeart/2008/layout/VerticalCurvedList"/>
    <dgm:cxn modelId="{01B91417-F0F4-4D32-BAB3-CD12503AA084}" type="presParOf" srcId="{D0CD6D96-2EAD-47F3-A3C8-4558887885CC}" destId="{E5F67261-F0C5-463F-AB84-45F05240B1E9}" srcOrd="0" destOrd="0" presId="urn:microsoft.com/office/officeart/2008/layout/VerticalCurvedList"/>
    <dgm:cxn modelId="{191F9288-DB08-4814-A092-68DCC6B0B582}" type="presParOf" srcId="{D0CD6D96-2EAD-47F3-A3C8-4558887885CC}" destId="{3E6CE577-3135-45ED-B437-0909A2276718}" srcOrd="1" destOrd="0" presId="urn:microsoft.com/office/officeart/2008/layout/VerticalCurvedList"/>
    <dgm:cxn modelId="{44910EBD-177C-45F3-86F6-DFC84E869B0D}" type="presParOf" srcId="{D0CD6D96-2EAD-47F3-A3C8-4558887885CC}" destId="{5DD473ED-22AC-4013-B3CC-A38E9D9EA7A2}" srcOrd="2" destOrd="0" presId="urn:microsoft.com/office/officeart/2008/layout/VerticalCurvedList"/>
    <dgm:cxn modelId="{CD963A63-489C-456F-8D55-734ED061DB51}" type="presParOf" srcId="{D0CD6D96-2EAD-47F3-A3C8-4558887885CC}" destId="{2FAFBFE2-526E-413D-91EA-B0DAB33A5588}" srcOrd="3" destOrd="0" presId="urn:microsoft.com/office/officeart/2008/layout/VerticalCurvedList"/>
    <dgm:cxn modelId="{D97C98DF-DB3C-45BF-BACD-DEFAD8FF37D5}" type="presParOf" srcId="{CD4BE898-4C8C-4861-BF13-4A3B0DE5D922}" destId="{8EAA2EF7-0365-4860-B5A9-34020B27D7F3}" srcOrd="1" destOrd="0" presId="urn:microsoft.com/office/officeart/2008/layout/VerticalCurvedList"/>
    <dgm:cxn modelId="{FCB2FA7C-FE23-4C48-8B43-98E08E597DAE}" type="presParOf" srcId="{CD4BE898-4C8C-4861-BF13-4A3B0DE5D922}" destId="{63FBA14D-340B-4AE9-9EF9-ACC6353C348C}" srcOrd="2" destOrd="0" presId="urn:microsoft.com/office/officeart/2008/layout/VerticalCurvedList"/>
    <dgm:cxn modelId="{3C9A9CDA-16EE-4F8A-B291-0FC3B2F5AE82}" type="presParOf" srcId="{63FBA14D-340B-4AE9-9EF9-ACC6353C348C}" destId="{048F5345-A67F-4ACB-8EF6-A0C71A556E29}" srcOrd="0" destOrd="0" presId="urn:microsoft.com/office/officeart/2008/layout/VerticalCurvedList"/>
    <dgm:cxn modelId="{36B9EB5B-AD77-4638-8B4F-A835C722C8AF}" type="presParOf" srcId="{CD4BE898-4C8C-4861-BF13-4A3B0DE5D922}" destId="{EC4A256D-0EDB-4DCE-87DC-AA2E4F390A92}" srcOrd="3" destOrd="0" presId="urn:microsoft.com/office/officeart/2008/layout/VerticalCurvedList"/>
    <dgm:cxn modelId="{E5086691-3477-44C1-8944-3D460E85A45B}" type="presParOf" srcId="{CD4BE898-4C8C-4861-BF13-4A3B0DE5D922}" destId="{994C7EFE-3A24-4946-9B19-F4ACDDF126D9}" srcOrd="4" destOrd="0" presId="urn:microsoft.com/office/officeart/2008/layout/VerticalCurvedList"/>
    <dgm:cxn modelId="{DCA7BEFC-3EF3-4B91-9DDD-172421BB00EC}" type="presParOf" srcId="{994C7EFE-3A24-4946-9B19-F4ACDDF126D9}" destId="{D085F822-9231-42EA-80AE-D414E5E81C2E}" srcOrd="0" destOrd="0" presId="urn:microsoft.com/office/officeart/2008/layout/VerticalCurvedList"/>
    <dgm:cxn modelId="{6D1C2E41-0527-4A85-8DC1-1B31DDC2AD28}" type="presParOf" srcId="{CD4BE898-4C8C-4861-BF13-4A3B0DE5D922}" destId="{C69E11E5-B507-4C20-A75A-858083FD981E}" srcOrd="5" destOrd="0" presId="urn:microsoft.com/office/officeart/2008/layout/VerticalCurvedList"/>
    <dgm:cxn modelId="{F6545699-4130-40FA-8AF2-AD51915A8C41}" type="presParOf" srcId="{CD4BE898-4C8C-4861-BF13-4A3B0DE5D922}" destId="{2BF3FDA0-370F-4A54-907C-3DEEFC1DC7BD}" srcOrd="6" destOrd="0" presId="urn:microsoft.com/office/officeart/2008/layout/VerticalCurvedList"/>
    <dgm:cxn modelId="{D9CC7BA1-EB32-49DA-ACCC-CA54C17BB2A2}" type="presParOf" srcId="{2BF3FDA0-370F-4A54-907C-3DEEFC1DC7BD}" destId="{BFE8A08C-85C2-4E79-BC90-76A29B928BEE}" srcOrd="0" destOrd="0" presId="urn:microsoft.com/office/officeart/2008/layout/VerticalCurvedList"/>
    <dgm:cxn modelId="{8411DAFF-0EBA-4BCA-A83F-C223E3DFD15C}" type="presParOf" srcId="{CD4BE898-4C8C-4861-BF13-4A3B0DE5D922}" destId="{A7AC9D81-28D7-4F58-B969-D3F080D7F31D}" srcOrd="7" destOrd="0" presId="urn:microsoft.com/office/officeart/2008/layout/VerticalCurvedList"/>
    <dgm:cxn modelId="{C626B5D8-7DE8-469B-BBD6-A36C19C7A945}" type="presParOf" srcId="{CD4BE898-4C8C-4861-BF13-4A3B0DE5D922}" destId="{D27347DC-AC3B-4ED1-A1A5-ED20E2C2C7A2}" srcOrd="8" destOrd="0" presId="urn:microsoft.com/office/officeart/2008/layout/VerticalCurvedList"/>
    <dgm:cxn modelId="{E4EA2AD3-81A7-417C-83BB-FD774C501AD5}" type="presParOf" srcId="{D27347DC-AC3B-4ED1-A1A5-ED20E2C2C7A2}" destId="{E782F6CC-65FA-4263-B239-FD0ACD11C09F}" srcOrd="0" destOrd="0" presId="urn:microsoft.com/office/officeart/2008/layout/VerticalCurvedList"/>
    <dgm:cxn modelId="{6977C690-F56A-40DF-9C28-679AB90D3CD9}" type="presParOf" srcId="{CD4BE898-4C8C-4861-BF13-4A3B0DE5D922}" destId="{976697AF-387E-466C-BB8E-F19958E78F05}" srcOrd="9" destOrd="0" presId="urn:microsoft.com/office/officeart/2008/layout/VerticalCurvedList"/>
    <dgm:cxn modelId="{560830A6-264A-4C67-930F-16E36F537FCA}" type="presParOf" srcId="{CD4BE898-4C8C-4861-BF13-4A3B0DE5D922}" destId="{E1A6CCA2-0744-4462-B4E5-869998DD71C0}" srcOrd="10" destOrd="0" presId="urn:microsoft.com/office/officeart/2008/layout/VerticalCurvedList"/>
    <dgm:cxn modelId="{A55A37A0-14F2-4F55-A5BF-746D91BBB1B2}" type="presParOf" srcId="{E1A6CCA2-0744-4462-B4E5-869998DD71C0}" destId="{1598694E-D32E-4874-90F4-366BFC842A0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1B47BFD9-A602-4F9E-9C8E-5F4073C4A81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0AD2966-ED6D-4AF6-9158-D642D96E0050}">
      <dgm:prSet custT="1"/>
      <dgm:spPr>
        <a:xfrm>
          <a:off x="0" y="686717"/>
          <a:ext cx="11163932" cy="2129400"/>
        </a:xfrm>
        <a:prstGeom prst="roundRect">
          <a:avLst/>
        </a:prstGeom>
      </dgm:spPr>
      <dgm:t>
        <a:bodyPr/>
        <a:lstStyle/>
        <a:p>
          <a:pPr>
            <a:buNone/>
          </a:pPr>
          <a:r>
            <a:rPr lang="en-US" sz="2400" dirty="0">
              <a:latin typeface="Segoe UI"/>
              <a:ea typeface="+mn-ea"/>
              <a:cs typeface="+mn-cs"/>
            </a:rPr>
            <a:t>SQL Vulnerability Assessment is an easy to configure service that can </a:t>
          </a:r>
          <a:r>
            <a:rPr lang="en-US" sz="2400" b="1" dirty="0">
              <a:latin typeface="Segoe UI"/>
              <a:ea typeface="+mn-ea"/>
              <a:cs typeface="+mn-cs"/>
            </a:rPr>
            <a:t>discover</a:t>
          </a:r>
          <a:r>
            <a:rPr lang="en-US" sz="2400" dirty="0">
              <a:latin typeface="Segoe UI"/>
              <a:ea typeface="+mn-ea"/>
              <a:cs typeface="+mn-cs"/>
            </a:rPr>
            <a:t>, </a:t>
          </a:r>
          <a:r>
            <a:rPr lang="en-US" sz="2400" b="1" dirty="0">
              <a:latin typeface="Segoe UI"/>
              <a:ea typeface="+mn-ea"/>
              <a:cs typeface="+mn-cs"/>
            </a:rPr>
            <a:t>track</a:t>
          </a:r>
          <a:r>
            <a:rPr lang="en-US" sz="2400" dirty="0">
              <a:latin typeface="Segoe UI"/>
              <a:ea typeface="+mn-ea"/>
              <a:cs typeface="+mn-cs"/>
            </a:rPr>
            <a:t>, and </a:t>
          </a:r>
          <a:r>
            <a:rPr lang="en-US" sz="2400" b="1" dirty="0">
              <a:latin typeface="Segoe UI"/>
              <a:ea typeface="+mn-ea"/>
              <a:cs typeface="+mn-cs"/>
            </a:rPr>
            <a:t>help you remediate potential database vulnerabilities</a:t>
          </a:r>
          <a:r>
            <a:rPr lang="en-US" sz="2400" dirty="0">
              <a:latin typeface="Segoe UI"/>
              <a:ea typeface="+mn-ea"/>
              <a:cs typeface="+mn-cs"/>
            </a:rPr>
            <a:t>. Use it to </a:t>
          </a:r>
          <a:r>
            <a:rPr lang="en-US" sz="2400" b="1" dirty="0">
              <a:latin typeface="Segoe UI"/>
              <a:ea typeface="+mn-ea"/>
              <a:cs typeface="+mn-cs"/>
            </a:rPr>
            <a:t>proactively</a:t>
          </a:r>
          <a:r>
            <a:rPr lang="en-US" sz="2400" dirty="0">
              <a:latin typeface="Segoe UI"/>
              <a:ea typeface="+mn-ea"/>
              <a:cs typeface="+mn-cs"/>
            </a:rPr>
            <a:t> improve your database security.</a:t>
          </a:r>
        </a:p>
      </dgm:t>
    </dgm:pt>
    <dgm:pt modelId="{9CF5DFD1-CD1B-4A0A-84A1-C942CEF1880D}" type="parTrans" cxnId="{2342F2A1-553E-4578-9F13-1AABCF072FCE}">
      <dgm:prSet/>
      <dgm:spPr/>
      <dgm:t>
        <a:bodyPr/>
        <a:lstStyle/>
        <a:p>
          <a:endParaRPr lang="en-US"/>
        </a:p>
      </dgm:t>
    </dgm:pt>
    <dgm:pt modelId="{A9E51BCC-0896-4906-863C-8701C498A353}" type="sibTrans" cxnId="{2342F2A1-553E-4578-9F13-1AABCF072FCE}">
      <dgm:prSet/>
      <dgm:spPr/>
      <dgm:t>
        <a:bodyPr/>
        <a:lstStyle/>
        <a:p>
          <a:endParaRPr lang="en-US"/>
        </a:p>
      </dgm:t>
    </dgm:pt>
    <dgm:pt modelId="{70ABD5BB-CBB3-4DB9-8A94-CB3207882D8B}" type="pres">
      <dgm:prSet presAssocID="{1B47BFD9-A602-4F9E-9C8E-5F4073C4A81E}" presName="linear" presStyleCnt="0">
        <dgm:presLayoutVars>
          <dgm:animLvl val="lvl"/>
          <dgm:resizeHandles val="exact"/>
        </dgm:presLayoutVars>
      </dgm:prSet>
      <dgm:spPr/>
    </dgm:pt>
    <dgm:pt modelId="{2F57F7C0-EDA0-4FCD-9B29-378435924FF8}" type="pres">
      <dgm:prSet presAssocID="{60AD2966-ED6D-4AF6-9158-D642D96E0050}" presName="parentText" presStyleLbl="node1" presStyleIdx="0" presStyleCnt="1" custLinFactNeighborX="-15654" custLinFactNeighborY="10084">
        <dgm:presLayoutVars>
          <dgm:chMax val="0"/>
          <dgm:bulletEnabled val="1"/>
        </dgm:presLayoutVars>
      </dgm:prSet>
      <dgm:spPr/>
    </dgm:pt>
  </dgm:ptLst>
  <dgm:cxnLst>
    <dgm:cxn modelId="{1BEA8F11-4A0D-4FDF-A478-B1D9117DB103}" type="presOf" srcId="{1B47BFD9-A602-4F9E-9C8E-5F4073C4A81E}" destId="{70ABD5BB-CBB3-4DB9-8A94-CB3207882D8B}" srcOrd="0" destOrd="0" presId="urn:microsoft.com/office/officeart/2005/8/layout/vList2"/>
    <dgm:cxn modelId="{4033301C-B98B-4813-A5F3-6EFE108967D0}" type="presOf" srcId="{60AD2966-ED6D-4AF6-9158-D642D96E0050}" destId="{2F57F7C0-EDA0-4FCD-9B29-378435924FF8}" srcOrd="0" destOrd="0" presId="urn:microsoft.com/office/officeart/2005/8/layout/vList2"/>
    <dgm:cxn modelId="{2342F2A1-553E-4578-9F13-1AABCF072FCE}" srcId="{1B47BFD9-A602-4F9E-9C8E-5F4073C4A81E}" destId="{60AD2966-ED6D-4AF6-9158-D642D96E0050}" srcOrd="0" destOrd="0" parTransId="{9CF5DFD1-CD1B-4A0A-84A1-C942CEF1880D}" sibTransId="{A9E51BCC-0896-4906-863C-8701C498A353}"/>
    <dgm:cxn modelId="{5E1055CD-9C07-4FA2-9AE0-080C3E03E944}" type="presParOf" srcId="{70ABD5BB-CBB3-4DB9-8A94-CB3207882D8B}" destId="{2F57F7C0-EDA0-4FCD-9B29-378435924FF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36ED9382-8685-493E-BE14-785CECC1CA5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047696B-527F-4641-A5E3-6C121FC60D6D}">
      <dgm:prSet phldrT="[Text]"/>
      <dgm:spPr>
        <a:xfrm>
          <a:off x="277653" y="74399"/>
          <a:ext cx="3887154" cy="501840"/>
        </a:xfrm>
      </dgm:spPr>
      <dgm:t>
        <a:bodyPr/>
        <a:lstStyle/>
        <a:p>
          <a:pPr>
            <a:buClr>
              <a:srgbClr val="0078D7"/>
            </a:buClr>
            <a:buSzPct val="90000"/>
            <a:buFont typeface="Arial" panose="020B0604020202020204" pitchFamily="34" charset="0"/>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Get visibility </a:t>
          </a:r>
          <a:endParaRPr lang="en-US">
            <a:latin typeface="Segoe UI"/>
            <a:ea typeface="+mn-ea"/>
            <a:cs typeface="+mn-cs"/>
          </a:endParaRPr>
        </a:p>
      </dgm:t>
    </dgm:pt>
    <dgm:pt modelId="{ED50DC8E-8E39-43F7-B0EA-C248EC56D32B}" type="parTrans" cxnId="{ED9328A6-0C09-40D5-83BD-0BA92CA0F63C}">
      <dgm:prSet/>
      <dgm:spPr/>
      <dgm:t>
        <a:bodyPr/>
        <a:lstStyle/>
        <a:p>
          <a:endParaRPr lang="en-US"/>
        </a:p>
      </dgm:t>
    </dgm:pt>
    <dgm:pt modelId="{2149CBEE-3FD2-414A-8C0D-2D6018D40597}" type="sibTrans" cxnId="{ED9328A6-0C09-40D5-83BD-0BA92CA0F63C}">
      <dgm:prSet/>
      <dgm:spPr/>
      <dgm:t>
        <a:bodyPr/>
        <a:lstStyle/>
        <a:p>
          <a:endParaRPr lang="en-US"/>
        </a:p>
      </dgm:t>
    </dgm:pt>
    <dgm:pt modelId="{F0CD8110-8153-4612-8C3B-A086C1C103FE}">
      <dgm:prSet/>
      <dgm:spPr>
        <a:xfrm>
          <a:off x="0" y="325319"/>
          <a:ext cx="5553077" cy="101745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Discover sensitive data and potential security holes.</a:t>
          </a:r>
        </a:p>
      </dgm:t>
    </dgm:pt>
    <dgm:pt modelId="{B23168A0-6BAF-4019-9618-B04C3A10E3BF}" type="parTrans" cxnId="{11AC6B84-CE86-4CF3-B4DE-D38B00339E41}">
      <dgm:prSet/>
      <dgm:spPr/>
      <dgm:t>
        <a:bodyPr/>
        <a:lstStyle/>
        <a:p>
          <a:endParaRPr lang="en-US"/>
        </a:p>
      </dgm:t>
    </dgm:pt>
    <dgm:pt modelId="{EC32C634-5F4B-4D91-BC19-7BD3605172EA}" type="sibTrans" cxnId="{11AC6B84-CE86-4CF3-B4DE-D38B00339E41}">
      <dgm:prSet/>
      <dgm:spPr/>
      <dgm:t>
        <a:bodyPr/>
        <a:lstStyle/>
        <a:p>
          <a:endParaRPr lang="en-US"/>
        </a:p>
      </dgm:t>
    </dgm:pt>
    <dgm:pt modelId="{32992F10-63FB-4FAE-90E0-083B6ABF7C9B}">
      <dgm:prSet/>
      <dgm:spPr>
        <a:xfrm>
          <a:off x="277653" y="1434569"/>
          <a:ext cx="3887154" cy="50184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Remediate </a:t>
          </a:r>
        </a:p>
      </dgm:t>
    </dgm:pt>
    <dgm:pt modelId="{5894D00A-9AD5-4B44-ADDC-F752EF7014A4}" type="parTrans" cxnId="{EFD07AAB-83D3-48D4-A1BC-33F30C281CF9}">
      <dgm:prSet/>
      <dgm:spPr/>
      <dgm:t>
        <a:bodyPr/>
        <a:lstStyle/>
        <a:p>
          <a:endParaRPr lang="en-US"/>
        </a:p>
      </dgm:t>
    </dgm:pt>
    <dgm:pt modelId="{A83F6C36-1C1F-4A87-B0D7-3045B67092AF}" type="sibTrans" cxnId="{EFD07AAB-83D3-48D4-A1BC-33F30C281CF9}">
      <dgm:prSet/>
      <dgm:spPr/>
      <dgm:t>
        <a:bodyPr/>
        <a:lstStyle/>
        <a:p>
          <a:endParaRPr lang="en-US"/>
        </a:p>
      </dgm:t>
    </dgm:pt>
    <dgm:pt modelId="{468C4E54-7EEC-4007-B74D-E110CAE18F07}">
      <dgm:prSet/>
      <dgm:spPr>
        <a:xfrm>
          <a:off x="0" y="1685489"/>
          <a:ext cx="5553077" cy="1017450"/>
        </a:xfrm>
      </dgm:spPr>
      <dgm:t>
        <a:bodyPr/>
        <a:lstStyle/>
        <a:p>
          <a:pPr>
            <a:buNone/>
          </a:pPr>
          <a:r>
            <a:rPr kumimoji="0" lang="en-US" b="0" i="0" u="none" strike="noStrike" cap="none" spc="0" normalizeH="0" baseline="0" noProof="0" dirty="0">
              <a:ln/>
              <a:effectLst/>
              <a:uLnTx/>
              <a:uFillTx/>
              <a:latin typeface="Segoe UI Semilight" panose="020B0402040204020203" pitchFamily="34" charset="0"/>
              <a:ea typeface="+mn-ea"/>
              <a:cs typeface="Segoe UI Semilight" panose="020B0402040204020203" pitchFamily="34" charset="0"/>
            </a:rPr>
            <a:t>Actionable remediation and security hardening steps.</a:t>
          </a:r>
        </a:p>
      </dgm:t>
    </dgm:pt>
    <dgm:pt modelId="{499352E5-DA93-45F3-BF02-0D1FE835008A}" type="parTrans" cxnId="{96B79CEC-DAF1-45CE-8A88-A824A17A4AD1}">
      <dgm:prSet/>
      <dgm:spPr/>
      <dgm:t>
        <a:bodyPr/>
        <a:lstStyle/>
        <a:p>
          <a:endParaRPr lang="en-US"/>
        </a:p>
      </dgm:t>
    </dgm:pt>
    <dgm:pt modelId="{E2CB3D0B-2C1A-446E-AEE6-94F618FC525E}" type="sibTrans" cxnId="{96B79CEC-DAF1-45CE-8A88-A824A17A4AD1}">
      <dgm:prSet/>
      <dgm:spPr/>
      <dgm:t>
        <a:bodyPr/>
        <a:lstStyle/>
        <a:p>
          <a:endParaRPr lang="en-US"/>
        </a:p>
      </dgm:t>
    </dgm:pt>
    <dgm:pt modelId="{2DDB0410-536B-4C8D-9CBB-DD3FB1FA920B}">
      <dgm:prSet/>
      <dgm:spPr>
        <a:xfrm>
          <a:off x="277653" y="2794739"/>
          <a:ext cx="3887154" cy="50184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Customize </a:t>
          </a:r>
        </a:p>
      </dgm:t>
    </dgm:pt>
    <dgm:pt modelId="{B12E3796-E542-4AAB-84FA-9947926EACD3}" type="parTrans" cxnId="{9D21CE2F-6615-4BB1-BD3B-0A240A96A14B}">
      <dgm:prSet/>
      <dgm:spPr/>
      <dgm:t>
        <a:bodyPr/>
        <a:lstStyle/>
        <a:p>
          <a:endParaRPr lang="en-US"/>
        </a:p>
      </dgm:t>
    </dgm:pt>
    <dgm:pt modelId="{4C7E597C-9BBD-45C0-AA12-5FECEA103AE3}" type="sibTrans" cxnId="{9D21CE2F-6615-4BB1-BD3B-0A240A96A14B}">
      <dgm:prSet/>
      <dgm:spPr/>
      <dgm:t>
        <a:bodyPr/>
        <a:lstStyle/>
        <a:p>
          <a:endParaRPr lang="en-US"/>
        </a:p>
      </dgm:t>
    </dgm:pt>
    <dgm:pt modelId="{39D68740-94B2-48B8-AB18-2AF2BD18EC81}">
      <dgm:prSet/>
      <dgm:spPr>
        <a:xfrm>
          <a:off x="0" y="3045659"/>
          <a:ext cx="5553077" cy="101745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Baseline policy tuned to your environment, allowing you to focus on deviations. </a:t>
          </a:r>
        </a:p>
      </dgm:t>
    </dgm:pt>
    <dgm:pt modelId="{E3D91DD3-E196-4EE7-AB64-2BB68DBEEE96}" type="parTrans" cxnId="{F868914B-7FC9-4E82-9929-DE154B6A7D5D}">
      <dgm:prSet/>
      <dgm:spPr/>
      <dgm:t>
        <a:bodyPr/>
        <a:lstStyle/>
        <a:p>
          <a:endParaRPr lang="en-US"/>
        </a:p>
      </dgm:t>
    </dgm:pt>
    <dgm:pt modelId="{C0A47B24-EBBD-474E-9033-4C84C3F588D1}" type="sibTrans" cxnId="{F868914B-7FC9-4E82-9929-DE154B6A7D5D}">
      <dgm:prSet/>
      <dgm:spPr/>
      <dgm:t>
        <a:bodyPr/>
        <a:lstStyle/>
        <a:p>
          <a:endParaRPr lang="en-US"/>
        </a:p>
      </dgm:t>
    </dgm:pt>
    <dgm:pt modelId="{EF9B2DE3-AC5F-4C51-A22B-2DBC98D13FCA}">
      <dgm:prSet/>
      <dgm:spPr>
        <a:xfrm>
          <a:off x="277653" y="4154909"/>
          <a:ext cx="3887154" cy="50184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Report </a:t>
          </a:r>
        </a:p>
      </dgm:t>
    </dgm:pt>
    <dgm:pt modelId="{44E5D2F5-5C26-4C4B-9CFE-49C7899280C9}" type="parTrans" cxnId="{8DD1F9EB-C4AD-4FFB-8D96-5DEF98F07ABD}">
      <dgm:prSet/>
      <dgm:spPr/>
      <dgm:t>
        <a:bodyPr/>
        <a:lstStyle/>
        <a:p>
          <a:endParaRPr lang="en-US"/>
        </a:p>
      </dgm:t>
    </dgm:pt>
    <dgm:pt modelId="{D4845D74-BE49-4C41-B797-645F1935E406}" type="sibTrans" cxnId="{8DD1F9EB-C4AD-4FFB-8D96-5DEF98F07ABD}">
      <dgm:prSet/>
      <dgm:spPr/>
      <dgm:t>
        <a:bodyPr/>
        <a:lstStyle/>
        <a:p>
          <a:endParaRPr lang="en-US"/>
        </a:p>
      </dgm:t>
    </dgm:pt>
    <dgm:pt modelId="{4D7B7CE8-7B5E-4334-AD2D-2261F94F5A43}">
      <dgm:prSet/>
      <dgm:spPr>
        <a:xfrm>
          <a:off x="0" y="4405829"/>
          <a:ext cx="5553077" cy="1017450"/>
        </a:xfrm>
      </dgm:spPr>
      <dgm:t>
        <a:bodyPr/>
        <a:lstStyle/>
        <a:p>
          <a:pPr>
            <a:buNone/>
          </a:pPr>
          <a:r>
            <a:rPr kumimoji="0" lang="en-US" b="0" i="0" u="none" strike="noStrike" cap="none" spc="0" normalizeH="0" baseline="0" noProof="0">
              <a:ln/>
              <a:effectLst/>
              <a:uLnTx/>
              <a:uFillTx/>
              <a:latin typeface="Segoe UI Semilight" panose="020B0402040204020203" pitchFamily="34" charset="0"/>
              <a:ea typeface="+mn-ea"/>
              <a:cs typeface="Segoe UI Semilight" panose="020B0402040204020203" pitchFamily="34" charset="0"/>
            </a:rPr>
            <a:t>Pass internal or external audits to facilitate compliance.</a:t>
          </a:r>
        </a:p>
      </dgm:t>
    </dgm:pt>
    <dgm:pt modelId="{FC567374-9A60-419C-89EE-14A03CA830FF}" type="parTrans" cxnId="{B95CD4CA-6CC6-4F74-9869-43A8518C3D6A}">
      <dgm:prSet/>
      <dgm:spPr/>
      <dgm:t>
        <a:bodyPr/>
        <a:lstStyle/>
        <a:p>
          <a:endParaRPr lang="en-US"/>
        </a:p>
      </dgm:t>
    </dgm:pt>
    <dgm:pt modelId="{239BDAC2-625A-444B-89D6-35E20788C16C}" type="sibTrans" cxnId="{B95CD4CA-6CC6-4F74-9869-43A8518C3D6A}">
      <dgm:prSet/>
      <dgm:spPr/>
      <dgm:t>
        <a:bodyPr/>
        <a:lstStyle/>
        <a:p>
          <a:endParaRPr lang="en-US"/>
        </a:p>
      </dgm:t>
    </dgm:pt>
    <dgm:pt modelId="{2495FDD6-B959-4AD6-B412-F4E035FAA6C4}" type="pres">
      <dgm:prSet presAssocID="{36ED9382-8685-493E-BE14-785CECC1CA52}" presName="Name0" presStyleCnt="0">
        <dgm:presLayoutVars>
          <dgm:dir/>
          <dgm:animLvl val="lvl"/>
          <dgm:resizeHandles val="exact"/>
        </dgm:presLayoutVars>
      </dgm:prSet>
      <dgm:spPr/>
    </dgm:pt>
    <dgm:pt modelId="{74EA80D3-BF90-4893-A6DF-FCDD3F583A4B}" type="pres">
      <dgm:prSet presAssocID="{1047696B-527F-4641-A5E3-6C121FC60D6D}" presName="linNode" presStyleCnt="0"/>
      <dgm:spPr/>
    </dgm:pt>
    <dgm:pt modelId="{424CBEF9-BC3B-4483-84E4-582BA6767F6B}" type="pres">
      <dgm:prSet presAssocID="{1047696B-527F-4641-A5E3-6C121FC60D6D}" presName="parentText" presStyleLbl="node1" presStyleIdx="0" presStyleCnt="4">
        <dgm:presLayoutVars>
          <dgm:chMax val="1"/>
          <dgm:bulletEnabled val="1"/>
        </dgm:presLayoutVars>
      </dgm:prSet>
      <dgm:spPr>
        <a:prstGeom prst="roundRect">
          <a:avLst/>
        </a:prstGeom>
      </dgm:spPr>
    </dgm:pt>
    <dgm:pt modelId="{92906042-8573-4D62-9645-4DB4D3B70571}" type="pres">
      <dgm:prSet presAssocID="{1047696B-527F-4641-A5E3-6C121FC60D6D}" presName="descendantText" presStyleLbl="alignAccFollowNode1" presStyleIdx="0" presStyleCnt="4">
        <dgm:presLayoutVars>
          <dgm:bulletEnabled val="1"/>
        </dgm:presLayoutVars>
      </dgm:prSet>
      <dgm:spPr>
        <a:prstGeom prst="rect">
          <a:avLst/>
        </a:prstGeom>
      </dgm:spPr>
    </dgm:pt>
    <dgm:pt modelId="{C02A643F-A2BF-4938-89B3-6DFBDD0D1CF6}" type="pres">
      <dgm:prSet presAssocID="{2149CBEE-3FD2-414A-8C0D-2D6018D40597}" presName="sp" presStyleCnt="0"/>
      <dgm:spPr/>
    </dgm:pt>
    <dgm:pt modelId="{0EC4FB3D-1C85-436F-A1BA-1F96DC7276F9}" type="pres">
      <dgm:prSet presAssocID="{32992F10-63FB-4FAE-90E0-083B6ABF7C9B}" presName="linNode" presStyleCnt="0"/>
      <dgm:spPr/>
    </dgm:pt>
    <dgm:pt modelId="{084AE520-A755-4805-A6AB-8C26939AA813}" type="pres">
      <dgm:prSet presAssocID="{32992F10-63FB-4FAE-90E0-083B6ABF7C9B}" presName="parentText" presStyleLbl="node1" presStyleIdx="1" presStyleCnt="4">
        <dgm:presLayoutVars>
          <dgm:chMax val="1"/>
          <dgm:bulletEnabled val="1"/>
        </dgm:presLayoutVars>
      </dgm:prSet>
      <dgm:spPr>
        <a:prstGeom prst="roundRect">
          <a:avLst/>
        </a:prstGeom>
      </dgm:spPr>
    </dgm:pt>
    <dgm:pt modelId="{EFCB8670-142F-4C35-93FE-5128E40FE8FA}" type="pres">
      <dgm:prSet presAssocID="{32992F10-63FB-4FAE-90E0-083B6ABF7C9B}" presName="descendantText" presStyleLbl="alignAccFollowNode1" presStyleIdx="1" presStyleCnt="4">
        <dgm:presLayoutVars>
          <dgm:bulletEnabled val="1"/>
        </dgm:presLayoutVars>
      </dgm:prSet>
      <dgm:spPr>
        <a:prstGeom prst="rect">
          <a:avLst/>
        </a:prstGeom>
      </dgm:spPr>
    </dgm:pt>
    <dgm:pt modelId="{98229B8A-1E5A-4BE9-ADEA-B3A42F2B4FDC}" type="pres">
      <dgm:prSet presAssocID="{A83F6C36-1C1F-4A87-B0D7-3045B67092AF}" presName="sp" presStyleCnt="0"/>
      <dgm:spPr/>
    </dgm:pt>
    <dgm:pt modelId="{68EF5A83-6666-436B-A75C-47E16D59B0C8}" type="pres">
      <dgm:prSet presAssocID="{2DDB0410-536B-4C8D-9CBB-DD3FB1FA920B}" presName="linNode" presStyleCnt="0"/>
      <dgm:spPr/>
    </dgm:pt>
    <dgm:pt modelId="{6350F853-4F22-4E58-9B82-55A8236DCB03}" type="pres">
      <dgm:prSet presAssocID="{2DDB0410-536B-4C8D-9CBB-DD3FB1FA920B}" presName="parentText" presStyleLbl="node1" presStyleIdx="2" presStyleCnt="4">
        <dgm:presLayoutVars>
          <dgm:chMax val="1"/>
          <dgm:bulletEnabled val="1"/>
        </dgm:presLayoutVars>
      </dgm:prSet>
      <dgm:spPr>
        <a:prstGeom prst="roundRect">
          <a:avLst/>
        </a:prstGeom>
      </dgm:spPr>
    </dgm:pt>
    <dgm:pt modelId="{4188B5E2-50FD-4A08-9BE4-1C852E0CEF9A}" type="pres">
      <dgm:prSet presAssocID="{2DDB0410-536B-4C8D-9CBB-DD3FB1FA920B}" presName="descendantText" presStyleLbl="alignAccFollowNode1" presStyleIdx="2" presStyleCnt="4">
        <dgm:presLayoutVars>
          <dgm:bulletEnabled val="1"/>
        </dgm:presLayoutVars>
      </dgm:prSet>
      <dgm:spPr>
        <a:prstGeom prst="rect">
          <a:avLst/>
        </a:prstGeom>
      </dgm:spPr>
    </dgm:pt>
    <dgm:pt modelId="{D1253483-C470-4487-B6FF-604765339C83}" type="pres">
      <dgm:prSet presAssocID="{4C7E597C-9BBD-45C0-AA12-5FECEA103AE3}" presName="sp" presStyleCnt="0"/>
      <dgm:spPr/>
    </dgm:pt>
    <dgm:pt modelId="{5FC3E827-8742-45CE-B2B8-D162E9A64B9F}" type="pres">
      <dgm:prSet presAssocID="{EF9B2DE3-AC5F-4C51-A22B-2DBC98D13FCA}" presName="linNode" presStyleCnt="0"/>
      <dgm:spPr/>
    </dgm:pt>
    <dgm:pt modelId="{0CB9EFFD-D6F4-4AC4-A475-900FB12C136A}" type="pres">
      <dgm:prSet presAssocID="{EF9B2DE3-AC5F-4C51-A22B-2DBC98D13FCA}" presName="parentText" presStyleLbl="node1" presStyleIdx="3" presStyleCnt="4">
        <dgm:presLayoutVars>
          <dgm:chMax val="1"/>
          <dgm:bulletEnabled val="1"/>
        </dgm:presLayoutVars>
      </dgm:prSet>
      <dgm:spPr>
        <a:prstGeom prst="roundRect">
          <a:avLst/>
        </a:prstGeom>
      </dgm:spPr>
    </dgm:pt>
    <dgm:pt modelId="{F553E03E-2F8D-4013-9C77-80464D956870}" type="pres">
      <dgm:prSet presAssocID="{EF9B2DE3-AC5F-4C51-A22B-2DBC98D13FCA}" presName="descendantText" presStyleLbl="alignAccFollowNode1" presStyleIdx="3" presStyleCnt="4">
        <dgm:presLayoutVars>
          <dgm:bulletEnabled val="1"/>
        </dgm:presLayoutVars>
      </dgm:prSet>
      <dgm:spPr>
        <a:prstGeom prst="rect">
          <a:avLst/>
        </a:prstGeom>
      </dgm:spPr>
    </dgm:pt>
  </dgm:ptLst>
  <dgm:cxnLst>
    <dgm:cxn modelId="{8B026C02-206F-4383-9D93-B78E23873446}" type="presOf" srcId="{1047696B-527F-4641-A5E3-6C121FC60D6D}" destId="{424CBEF9-BC3B-4483-84E4-582BA6767F6B}" srcOrd="0" destOrd="0" presId="urn:microsoft.com/office/officeart/2005/8/layout/vList5"/>
    <dgm:cxn modelId="{2A48220B-1DD7-44F0-929A-855115BD4EBB}" type="presOf" srcId="{EF9B2DE3-AC5F-4C51-A22B-2DBC98D13FCA}" destId="{0CB9EFFD-D6F4-4AC4-A475-900FB12C136A}" srcOrd="0" destOrd="0" presId="urn:microsoft.com/office/officeart/2005/8/layout/vList5"/>
    <dgm:cxn modelId="{9D21CE2F-6615-4BB1-BD3B-0A240A96A14B}" srcId="{36ED9382-8685-493E-BE14-785CECC1CA52}" destId="{2DDB0410-536B-4C8D-9CBB-DD3FB1FA920B}" srcOrd="2" destOrd="0" parTransId="{B12E3796-E542-4AAB-84FA-9947926EACD3}" sibTransId="{4C7E597C-9BBD-45C0-AA12-5FECEA103AE3}"/>
    <dgm:cxn modelId="{F6CFAC3C-D5A8-4900-A6F0-FC51CC3C9A4F}" type="presOf" srcId="{32992F10-63FB-4FAE-90E0-083B6ABF7C9B}" destId="{084AE520-A755-4805-A6AB-8C26939AA813}" srcOrd="0" destOrd="0" presId="urn:microsoft.com/office/officeart/2005/8/layout/vList5"/>
    <dgm:cxn modelId="{3F6C0464-3AEA-42CA-9D6A-1F7DF3346CAF}" type="presOf" srcId="{468C4E54-7EEC-4007-B74D-E110CAE18F07}" destId="{EFCB8670-142F-4C35-93FE-5128E40FE8FA}" srcOrd="0" destOrd="0" presId="urn:microsoft.com/office/officeart/2005/8/layout/vList5"/>
    <dgm:cxn modelId="{F868914B-7FC9-4E82-9929-DE154B6A7D5D}" srcId="{2DDB0410-536B-4C8D-9CBB-DD3FB1FA920B}" destId="{39D68740-94B2-48B8-AB18-2AF2BD18EC81}" srcOrd="0" destOrd="0" parTransId="{E3D91DD3-E196-4EE7-AB64-2BB68DBEEE96}" sibTransId="{C0A47B24-EBBD-474E-9033-4C84C3F588D1}"/>
    <dgm:cxn modelId="{7E69944E-2E81-4EC4-803B-85279C011112}" type="presOf" srcId="{39D68740-94B2-48B8-AB18-2AF2BD18EC81}" destId="{4188B5E2-50FD-4A08-9BE4-1C852E0CEF9A}" srcOrd="0" destOrd="0" presId="urn:microsoft.com/office/officeart/2005/8/layout/vList5"/>
    <dgm:cxn modelId="{11AC6B84-CE86-4CF3-B4DE-D38B00339E41}" srcId="{1047696B-527F-4641-A5E3-6C121FC60D6D}" destId="{F0CD8110-8153-4612-8C3B-A086C1C103FE}" srcOrd="0" destOrd="0" parTransId="{B23168A0-6BAF-4019-9618-B04C3A10E3BF}" sibTransId="{EC32C634-5F4B-4D91-BC19-7BD3605172EA}"/>
    <dgm:cxn modelId="{ED9328A6-0C09-40D5-83BD-0BA92CA0F63C}" srcId="{36ED9382-8685-493E-BE14-785CECC1CA52}" destId="{1047696B-527F-4641-A5E3-6C121FC60D6D}" srcOrd="0" destOrd="0" parTransId="{ED50DC8E-8E39-43F7-B0EA-C248EC56D32B}" sibTransId="{2149CBEE-3FD2-414A-8C0D-2D6018D40597}"/>
    <dgm:cxn modelId="{8439FAA8-C1E3-4B13-85A8-10A6B4DA3A0E}" type="presOf" srcId="{F0CD8110-8153-4612-8C3B-A086C1C103FE}" destId="{92906042-8573-4D62-9645-4DB4D3B70571}" srcOrd="0" destOrd="0" presId="urn:microsoft.com/office/officeart/2005/8/layout/vList5"/>
    <dgm:cxn modelId="{EFD07AAB-83D3-48D4-A1BC-33F30C281CF9}" srcId="{36ED9382-8685-493E-BE14-785CECC1CA52}" destId="{32992F10-63FB-4FAE-90E0-083B6ABF7C9B}" srcOrd="1" destOrd="0" parTransId="{5894D00A-9AD5-4B44-ADDC-F752EF7014A4}" sibTransId="{A83F6C36-1C1F-4A87-B0D7-3045B67092AF}"/>
    <dgm:cxn modelId="{D93927B8-D6C5-4F04-959D-816CF5C8E844}" type="presOf" srcId="{2DDB0410-536B-4C8D-9CBB-DD3FB1FA920B}" destId="{6350F853-4F22-4E58-9B82-55A8236DCB03}" srcOrd="0" destOrd="0" presId="urn:microsoft.com/office/officeart/2005/8/layout/vList5"/>
    <dgm:cxn modelId="{B95CD4CA-6CC6-4F74-9869-43A8518C3D6A}" srcId="{EF9B2DE3-AC5F-4C51-A22B-2DBC98D13FCA}" destId="{4D7B7CE8-7B5E-4334-AD2D-2261F94F5A43}" srcOrd="0" destOrd="0" parTransId="{FC567374-9A60-419C-89EE-14A03CA830FF}" sibTransId="{239BDAC2-625A-444B-89D6-35E20788C16C}"/>
    <dgm:cxn modelId="{B9B09BD0-7260-4CBA-8941-72E4A3BB8223}" type="presOf" srcId="{4D7B7CE8-7B5E-4334-AD2D-2261F94F5A43}" destId="{F553E03E-2F8D-4013-9C77-80464D956870}" srcOrd="0" destOrd="0" presId="urn:microsoft.com/office/officeart/2005/8/layout/vList5"/>
    <dgm:cxn modelId="{8DD1F9EB-C4AD-4FFB-8D96-5DEF98F07ABD}" srcId="{36ED9382-8685-493E-BE14-785CECC1CA52}" destId="{EF9B2DE3-AC5F-4C51-A22B-2DBC98D13FCA}" srcOrd="3" destOrd="0" parTransId="{44E5D2F5-5C26-4C4B-9CFE-49C7899280C9}" sibTransId="{D4845D74-BE49-4C41-B797-645F1935E406}"/>
    <dgm:cxn modelId="{96B79CEC-DAF1-45CE-8A88-A824A17A4AD1}" srcId="{32992F10-63FB-4FAE-90E0-083B6ABF7C9B}" destId="{468C4E54-7EEC-4007-B74D-E110CAE18F07}" srcOrd="0" destOrd="0" parTransId="{499352E5-DA93-45F3-BF02-0D1FE835008A}" sibTransId="{E2CB3D0B-2C1A-446E-AEE6-94F618FC525E}"/>
    <dgm:cxn modelId="{6D2EB6EC-D80F-4E85-AB6C-51C05E3193F4}" type="presOf" srcId="{36ED9382-8685-493E-BE14-785CECC1CA52}" destId="{2495FDD6-B959-4AD6-B412-F4E035FAA6C4}" srcOrd="0" destOrd="0" presId="urn:microsoft.com/office/officeart/2005/8/layout/vList5"/>
    <dgm:cxn modelId="{E9060DC7-393D-46D4-A289-CED2DE59B7C7}" type="presParOf" srcId="{2495FDD6-B959-4AD6-B412-F4E035FAA6C4}" destId="{74EA80D3-BF90-4893-A6DF-FCDD3F583A4B}" srcOrd="0" destOrd="0" presId="urn:microsoft.com/office/officeart/2005/8/layout/vList5"/>
    <dgm:cxn modelId="{4C4BB480-6192-4688-B573-DC9D4AE78DD0}" type="presParOf" srcId="{74EA80D3-BF90-4893-A6DF-FCDD3F583A4B}" destId="{424CBEF9-BC3B-4483-84E4-582BA6767F6B}" srcOrd="0" destOrd="0" presId="urn:microsoft.com/office/officeart/2005/8/layout/vList5"/>
    <dgm:cxn modelId="{7107BCBB-6C95-46CD-B241-2CF30A9B7497}" type="presParOf" srcId="{74EA80D3-BF90-4893-A6DF-FCDD3F583A4B}" destId="{92906042-8573-4D62-9645-4DB4D3B70571}" srcOrd="1" destOrd="0" presId="urn:microsoft.com/office/officeart/2005/8/layout/vList5"/>
    <dgm:cxn modelId="{367ACEE9-86E5-4775-9144-D5BF81821331}" type="presParOf" srcId="{2495FDD6-B959-4AD6-B412-F4E035FAA6C4}" destId="{C02A643F-A2BF-4938-89B3-6DFBDD0D1CF6}" srcOrd="1" destOrd="0" presId="urn:microsoft.com/office/officeart/2005/8/layout/vList5"/>
    <dgm:cxn modelId="{7D3EAA70-7DB8-4401-A495-F8D371279076}" type="presParOf" srcId="{2495FDD6-B959-4AD6-B412-F4E035FAA6C4}" destId="{0EC4FB3D-1C85-436F-A1BA-1F96DC7276F9}" srcOrd="2" destOrd="0" presId="urn:microsoft.com/office/officeart/2005/8/layout/vList5"/>
    <dgm:cxn modelId="{7E5CC691-5966-46C0-B9D5-9D74DDD9D711}" type="presParOf" srcId="{0EC4FB3D-1C85-436F-A1BA-1F96DC7276F9}" destId="{084AE520-A755-4805-A6AB-8C26939AA813}" srcOrd="0" destOrd="0" presId="urn:microsoft.com/office/officeart/2005/8/layout/vList5"/>
    <dgm:cxn modelId="{F01C054E-3606-45FC-AEDA-DFC11B8E0B5A}" type="presParOf" srcId="{0EC4FB3D-1C85-436F-A1BA-1F96DC7276F9}" destId="{EFCB8670-142F-4C35-93FE-5128E40FE8FA}" srcOrd="1" destOrd="0" presId="urn:microsoft.com/office/officeart/2005/8/layout/vList5"/>
    <dgm:cxn modelId="{3E399881-7DC9-4D1D-9B1D-179246BF39E6}" type="presParOf" srcId="{2495FDD6-B959-4AD6-B412-F4E035FAA6C4}" destId="{98229B8A-1E5A-4BE9-ADEA-B3A42F2B4FDC}" srcOrd="3" destOrd="0" presId="urn:microsoft.com/office/officeart/2005/8/layout/vList5"/>
    <dgm:cxn modelId="{5EE127B4-AC66-4098-8975-D22D0899DE71}" type="presParOf" srcId="{2495FDD6-B959-4AD6-B412-F4E035FAA6C4}" destId="{68EF5A83-6666-436B-A75C-47E16D59B0C8}" srcOrd="4" destOrd="0" presId="urn:microsoft.com/office/officeart/2005/8/layout/vList5"/>
    <dgm:cxn modelId="{B09460B1-2BC3-47CB-8121-F10F4ADBDED4}" type="presParOf" srcId="{68EF5A83-6666-436B-A75C-47E16D59B0C8}" destId="{6350F853-4F22-4E58-9B82-55A8236DCB03}" srcOrd="0" destOrd="0" presId="urn:microsoft.com/office/officeart/2005/8/layout/vList5"/>
    <dgm:cxn modelId="{B2DF13C5-C23A-42B7-921A-AE59BB9ACD0E}" type="presParOf" srcId="{68EF5A83-6666-436B-A75C-47E16D59B0C8}" destId="{4188B5E2-50FD-4A08-9BE4-1C852E0CEF9A}" srcOrd="1" destOrd="0" presId="urn:microsoft.com/office/officeart/2005/8/layout/vList5"/>
    <dgm:cxn modelId="{7B967A24-14F2-4172-A509-204CFA254AA8}" type="presParOf" srcId="{2495FDD6-B959-4AD6-B412-F4E035FAA6C4}" destId="{D1253483-C470-4487-B6FF-604765339C83}" srcOrd="5" destOrd="0" presId="urn:microsoft.com/office/officeart/2005/8/layout/vList5"/>
    <dgm:cxn modelId="{0CE64318-E24A-4833-8DE0-87F143FB02BA}" type="presParOf" srcId="{2495FDD6-B959-4AD6-B412-F4E035FAA6C4}" destId="{5FC3E827-8742-45CE-B2B8-D162E9A64B9F}" srcOrd="6" destOrd="0" presId="urn:microsoft.com/office/officeart/2005/8/layout/vList5"/>
    <dgm:cxn modelId="{4454C1D4-B1E2-4EC6-B63E-1013D3A8ABBA}" type="presParOf" srcId="{5FC3E827-8742-45CE-B2B8-D162E9A64B9F}" destId="{0CB9EFFD-D6F4-4AC4-A475-900FB12C136A}" srcOrd="0" destOrd="0" presId="urn:microsoft.com/office/officeart/2005/8/layout/vList5"/>
    <dgm:cxn modelId="{99B01E67-583F-4D32-8AAC-DFF2D4409014}" type="presParOf" srcId="{5FC3E827-8742-45CE-B2B8-D162E9A64B9F}" destId="{F553E03E-2F8D-4013-9C77-80464D956870}"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dgm:spPr/>
      <dgm:t>
        <a:bodyPr/>
        <a:lstStyle/>
        <a:p>
          <a:r>
            <a:rPr lang="en-US">
              <a:solidFill>
                <a:srgbClr val="FFFFFF"/>
              </a:solidFill>
            </a:rPr>
            <a:t>List one important event type captured in threat detection.</a:t>
          </a:r>
          <a:endParaRPr lang="en-US"/>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58B1B991-212A-410E-8681-A6D95915757E}">
      <dgm:prSet/>
      <dgm:spPr/>
      <dgm:t>
        <a:bodyPr/>
        <a:lstStyle/>
        <a:p>
          <a:r>
            <a:rPr lang="en-US">
              <a:solidFill>
                <a:srgbClr val="FFFFFF"/>
              </a:solidFill>
            </a:rPr>
            <a:t>Where are the threat detection records stored?</a:t>
          </a:r>
          <a:endParaRPr lang="en-US"/>
        </a:p>
      </dgm:t>
    </dgm:pt>
    <dgm:pt modelId="{08EE05D8-057C-42F7-B3DB-54849EF3F801}" type="parTrans" cxnId="{8DCF3101-190D-48D2-8E3B-9B578D82E1A5}">
      <dgm:prSet/>
      <dgm:spPr/>
      <dgm:t>
        <a:bodyPr/>
        <a:lstStyle/>
        <a:p>
          <a:endParaRPr lang="en-US"/>
        </a:p>
      </dgm:t>
    </dgm:pt>
    <dgm:pt modelId="{AD379122-9DA8-482B-A8C0-ABBC422BBC25}" type="sibTrans" cxnId="{8DCF3101-190D-48D2-8E3B-9B578D82E1A5}">
      <dgm:prSet/>
      <dgm:spPr/>
      <dgm:t>
        <a:bodyPr/>
        <a:lstStyle/>
        <a:p>
          <a:endParaRPr lang="en-US"/>
        </a:p>
      </dgm:t>
    </dgm:pt>
    <dgm:pt modelId="{085D760E-0926-4536-B186-E5BF65C95441}">
      <dgm:prSet/>
      <dgm:spPr/>
      <dgm:t>
        <a:bodyPr/>
        <a:lstStyle/>
        <a:p>
          <a:pPr>
            <a:buFont typeface="Arial" panose="020B0604020202020204" pitchFamily="34" charset="0"/>
            <a:buChar char="•"/>
          </a:pPr>
          <a:r>
            <a:rPr lang="en-US">
              <a:solidFill>
                <a:srgbClr val="FFFFFF"/>
              </a:solidFill>
            </a:rPr>
            <a:t>What are the steps to implement a Vulnerability Assessment?</a:t>
          </a:r>
          <a:endParaRPr lang="en-US"/>
        </a:p>
      </dgm:t>
    </dgm:pt>
    <dgm:pt modelId="{7292A2CD-5A5E-43A8-87E5-F677B96E985B}" type="parTrans" cxnId="{5486B67B-0BBF-40E6-BBD1-08C223E2AE36}">
      <dgm:prSet/>
      <dgm:spPr/>
      <dgm:t>
        <a:bodyPr/>
        <a:lstStyle/>
        <a:p>
          <a:endParaRPr lang="en-US"/>
        </a:p>
      </dgm:t>
    </dgm:pt>
    <dgm:pt modelId="{7659A5FD-238E-4772-9C9C-A3EDD6FC4DEE}" type="sibTrans" cxnId="{5486B67B-0BBF-40E6-BBD1-08C223E2AE3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custLinFactY="-32279" custLinFactNeighborY="-100000">
        <dgm:presLayoutVars>
          <dgm:chMax val="0"/>
          <dgm:bulletEnabled val="1"/>
        </dgm:presLayoutVars>
      </dgm:prSet>
      <dgm:spPr/>
    </dgm:pt>
    <dgm:pt modelId="{C612FDE1-CA0B-4448-B2A9-6EB44CD0983E}" type="pres">
      <dgm:prSet presAssocID="{CAE4D9F8-FDBB-4525-9125-6BAF56328FCE}" presName="spacer" presStyleCnt="0"/>
      <dgm:spPr/>
    </dgm:pt>
    <dgm:pt modelId="{E922B38C-D007-46D8-9A79-C8E951BC8385}" type="pres">
      <dgm:prSet presAssocID="{58B1B991-212A-410E-8681-A6D95915757E}" presName="parentText" presStyleLbl="node1" presStyleIdx="1" presStyleCnt="3" custLinFactY="-37008" custLinFactNeighborY="-100000">
        <dgm:presLayoutVars>
          <dgm:chMax val="0"/>
          <dgm:bulletEnabled val="1"/>
        </dgm:presLayoutVars>
      </dgm:prSet>
      <dgm:spPr/>
    </dgm:pt>
    <dgm:pt modelId="{F8F8599D-64EA-4122-AA39-C6FBC071AACB}" type="pres">
      <dgm:prSet presAssocID="{AD379122-9DA8-482B-A8C0-ABBC422BBC25}" presName="spacer" presStyleCnt="0"/>
      <dgm:spPr/>
    </dgm:pt>
    <dgm:pt modelId="{330C0406-7617-4A08-A9D6-96E04941E1BD}" type="pres">
      <dgm:prSet presAssocID="{085D760E-0926-4536-B186-E5BF65C95441}" presName="parentText" presStyleLbl="node1" presStyleIdx="2" presStyleCnt="3" custLinFactY="-37008" custLinFactNeighborY="-100000">
        <dgm:presLayoutVars>
          <dgm:chMax val="0"/>
          <dgm:bulletEnabled val="1"/>
        </dgm:presLayoutVars>
      </dgm:prSet>
      <dgm:spPr/>
    </dgm:pt>
  </dgm:ptLst>
  <dgm:cxnLst>
    <dgm:cxn modelId="{8DCF3101-190D-48D2-8E3B-9B578D82E1A5}" srcId="{15A7774C-B622-4F48-8F7B-AF1AAB74E997}" destId="{58B1B991-212A-410E-8681-A6D95915757E}" srcOrd="1" destOrd="0" parTransId="{08EE05D8-057C-42F7-B3DB-54849EF3F801}" sibTransId="{AD379122-9DA8-482B-A8C0-ABBC422BBC25}"/>
    <dgm:cxn modelId="{36D7E407-3150-4513-85B0-C20EDB658460}" type="presOf" srcId="{58B1B991-212A-410E-8681-A6D95915757E}" destId="{E922B38C-D007-46D8-9A79-C8E951BC8385}" srcOrd="0" destOrd="0" presId="urn:microsoft.com/office/officeart/2005/8/layout/vList2"/>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486B67B-0BBF-40E6-BBD1-08C223E2AE36}" srcId="{15A7774C-B622-4F48-8F7B-AF1AAB74E997}" destId="{085D760E-0926-4536-B186-E5BF65C95441}" srcOrd="2" destOrd="0" parTransId="{7292A2CD-5A5E-43A8-87E5-F677B96E985B}" sibTransId="{7659A5FD-238E-4772-9C9C-A3EDD6FC4DEE}"/>
    <dgm:cxn modelId="{F6F91D98-12C3-4034-A41D-D955756BA20A}" type="presOf" srcId="{085D760E-0926-4536-B186-E5BF65C95441}" destId="{330C0406-7617-4A08-A9D6-96E04941E1BD}"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BE82A84E-B3D8-4926-A1BA-5048D0113830}" type="presParOf" srcId="{97400BD5-14CE-4761-8A6A-64BC46D23158}" destId="{E922B38C-D007-46D8-9A79-C8E951BC8385}" srcOrd="2" destOrd="0" presId="urn:microsoft.com/office/officeart/2005/8/layout/vList2"/>
    <dgm:cxn modelId="{A6EED5F3-9E16-43ED-ABF6-6512AB768E37}" type="presParOf" srcId="{97400BD5-14CE-4761-8A6A-64BC46D23158}" destId="{F8F8599D-64EA-4122-AA39-C6FBC071AACB}" srcOrd="3" destOrd="0" presId="urn:microsoft.com/office/officeart/2005/8/layout/vList2"/>
    <dgm:cxn modelId="{9F796BCC-D789-4E84-B28A-D888D6D19451}" type="presParOf" srcId="{97400BD5-14CE-4761-8A6A-64BC46D23158}" destId="{330C0406-7617-4A08-A9D6-96E04941E1B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a:solidFill>
                <a:srgbClr val="FFFFFF"/>
              </a:solidFill>
            </a:rPr>
            <a:t>List three benefits of Azure Activity Directory Authentication.</a:t>
          </a:r>
          <a:endParaRPr lang="en-US" sz="2400"/>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E2F45CBA-68D7-44B5-BBC3-9877ACAF7879}">
      <dgm:prSet custT="1"/>
      <dgm:spPr/>
      <dgm:t>
        <a:bodyPr/>
        <a:lstStyle/>
        <a:p>
          <a:pPr>
            <a:buFont typeface="Arial" panose="020B0604020202020204" pitchFamily="34" charset="0"/>
            <a:buChar char="•"/>
          </a:pPr>
          <a:r>
            <a:rPr lang="en-US" sz="2400">
              <a:solidFill>
                <a:srgbClr val="FFFFFF"/>
              </a:solidFill>
            </a:rPr>
            <a:t>Can we use Windows authentication for Azure SQL Database?</a:t>
          </a:r>
          <a:endParaRPr lang="en-US" sz="2400"/>
        </a:p>
      </dgm:t>
    </dgm:pt>
    <dgm:pt modelId="{EAB59AE3-7157-4F54-BADD-BC6450701AAD}" type="parTrans" cxnId="{9C5CD42F-0B03-44EB-9C99-0017C6FFD75B}">
      <dgm:prSet/>
      <dgm:spPr/>
      <dgm:t>
        <a:bodyPr/>
        <a:lstStyle/>
        <a:p>
          <a:endParaRPr lang="en-US"/>
        </a:p>
      </dgm:t>
    </dgm:pt>
    <dgm:pt modelId="{47331C04-30E5-4727-8F89-C52803FCEFF9}" type="sibTrans" cxnId="{9C5CD42F-0B03-44EB-9C99-0017C6FFD75B}">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20EC9B6A-3E10-4E84-9721-18DCD67007A3}" type="pres">
      <dgm:prSet presAssocID="{CAE4D9F8-FDBB-4525-9125-6BAF56328FCE}" presName="spacer" presStyleCnt="0"/>
      <dgm:spPr/>
    </dgm:pt>
    <dgm:pt modelId="{4A33671D-E411-4E64-9C6E-8646BDFFDF93}" type="pres">
      <dgm:prSet presAssocID="{E2F45CBA-68D7-44B5-BBC3-9877ACAF7879}"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A356F71E-C7F0-4CB5-AF48-3E22737DD89E}" type="presOf" srcId="{E2F45CBA-68D7-44B5-BBC3-9877ACAF7879}" destId="{4A33671D-E411-4E64-9C6E-8646BDFFDF93}"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9C5CD42F-0B03-44EB-9C99-0017C6FFD75B}" srcId="{15A7774C-B622-4F48-8F7B-AF1AAB74E997}" destId="{E2F45CBA-68D7-44B5-BBC3-9877ACAF7879}" srcOrd="1" destOrd="0" parTransId="{EAB59AE3-7157-4F54-BADD-BC6450701AAD}" sibTransId="{47331C04-30E5-4727-8F89-C52803FCEFF9}"/>
    <dgm:cxn modelId="{4BB646B5-2A6D-439D-A88F-AC928930541F}" srcId="{15A7774C-B622-4F48-8F7B-AF1AAB74E997}" destId="{CDCA19B1-3B45-4B24-8F19-085A650701BC}" srcOrd="0" destOrd="0" parTransId="{74BFB16A-6DC3-47DD-AE97-F15F596B23DF}" sibTransId="{CAE4D9F8-FDBB-4525-9125-6BAF56328FCE}"/>
    <dgm:cxn modelId="{8DEFA225-8389-4C32-8391-464D66A4B297}" type="presParOf" srcId="{97400BD5-14CE-4761-8A6A-64BC46D23158}" destId="{86989247-99F6-4AF2-B76D-35A7CDAFD370}" srcOrd="0" destOrd="0" presId="urn:microsoft.com/office/officeart/2005/8/layout/vList2"/>
    <dgm:cxn modelId="{7FAFFC13-F8F4-4799-972C-05F6CBFF9755}" type="presParOf" srcId="{97400BD5-14CE-4761-8A6A-64BC46D23158}" destId="{20EC9B6A-3E10-4E84-9721-18DCD67007A3}" srcOrd="1" destOrd="0" presId="urn:microsoft.com/office/officeart/2005/8/layout/vList2"/>
    <dgm:cxn modelId="{6EA0E794-FE62-4DE5-A34B-7419EFC930DA}" type="presParOf" srcId="{97400BD5-14CE-4761-8A6A-64BC46D23158}" destId="{4A33671D-E411-4E64-9C6E-8646BDFFDF93}"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B98A83F4-8F85-4F14-9C49-65405939F0F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7498D8A-3366-4FAE-B475-8182D51F8BF8}">
      <dgm:prSet/>
      <dgm:spPr/>
      <dgm:t>
        <a:bodyPr/>
        <a:lstStyle/>
        <a:p>
          <a:r>
            <a:rPr lang="en-US"/>
            <a:t>Introduction to Azure SQL Database Security</a:t>
          </a:r>
        </a:p>
      </dgm:t>
    </dgm:pt>
    <dgm:pt modelId="{FAF0E8AB-16B6-4432-9B9D-5539C9DDC4ED}" type="parTrans" cxnId="{C40B2C5E-C13B-40EA-9B39-85DC3C6AE6A3}">
      <dgm:prSet/>
      <dgm:spPr/>
      <dgm:t>
        <a:bodyPr/>
        <a:lstStyle/>
        <a:p>
          <a:endParaRPr lang="en-US"/>
        </a:p>
      </dgm:t>
    </dgm:pt>
    <dgm:pt modelId="{F5A3B5FB-A0AD-442E-A53B-77ADA3B37A23}" type="sibTrans" cxnId="{C40B2C5E-C13B-40EA-9B39-85DC3C6AE6A3}">
      <dgm:prSet/>
      <dgm:spPr/>
      <dgm:t>
        <a:bodyPr/>
        <a:lstStyle/>
        <a:p>
          <a:endParaRPr lang="en-US"/>
        </a:p>
      </dgm:t>
    </dgm:pt>
    <dgm:pt modelId="{05CDDAB3-FE21-4AF5-B627-6A92506AD22B}">
      <dgm:prSet/>
      <dgm:spPr/>
      <dgm:t>
        <a:bodyPr/>
        <a:lstStyle/>
        <a:p>
          <a:r>
            <a:rPr lang="en-US"/>
            <a:t>Implement Azure Active Directory Security</a:t>
          </a:r>
        </a:p>
      </dgm:t>
    </dgm:pt>
    <dgm:pt modelId="{D7800F9B-9B20-4DC8-A5ED-B6A93498DAE6}" type="parTrans" cxnId="{CCD10956-55A1-4C6B-829F-DC339AADE3FA}">
      <dgm:prSet/>
      <dgm:spPr/>
      <dgm:t>
        <a:bodyPr/>
        <a:lstStyle/>
        <a:p>
          <a:endParaRPr lang="en-US"/>
        </a:p>
      </dgm:t>
    </dgm:pt>
    <dgm:pt modelId="{ADEC98CD-C752-45BD-B796-25060EAF7474}" type="sibTrans" cxnId="{CCD10956-55A1-4C6B-829F-DC339AADE3FA}">
      <dgm:prSet/>
      <dgm:spPr/>
      <dgm:t>
        <a:bodyPr/>
        <a:lstStyle/>
        <a:p>
          <a:endParaRPr lang="en-US"/>
        </a:p>
      </dgm:t>
    </dgm:pt>
    <dgm:pt modelId="{789CCEF9-51C1-4ADC-9B47-33453188AE20}">
      <dgm:prSet/>
      <dgm:spPr/>
      <dgm:t>
        <a:bodyPr/>
        <a:lstStyle/>
        <a:p>
          <a:r>
            <a:rPr lang="en-US"/>
            <a:t>Manage Logins in Azure SQL Database</a:t>
          </a:r>
        </a:p>
      </dgm:t>
    </dgm:pt>
    <dgm:pt modelId="{BFA69F26-32F8-47E9-9F6D-C65992A100F4}" type="parTrans" cxnId="{E4A20F7B-863E-4FF7-B6A0-8F40A5913DA6}">
      <dgm:prSet/>
      <dgm:spPr/>
      <dgm:t>
        <a:bodyPr/>
        <a:lstStyle/>
        <a:p>
          <a:endParaRPr lang="en-US"/>
        </a:p>
      </dgm:t>
    </dgm:pt>
    <dgm:pt modelId="{2BE1F817-8960-46E3-9757-0EBB5E56013D}" type="sibTrans" cxnId="{E4A20F7B-863E-4FF7-B6A0-8F40A5913DA6}">
      <dgm:prSet/>
      <dgm:spPr/>
      <dgm:t>
        <a:bodyPr/>
        <a:lstStyle/>
        <a:p>
          <a:endParaRPr lang="en-US"/>
        </a:p>
      </dgm:t>
    </dgm:pt>
    <dgm:pt modelId="{781E564D-EB74-42C2-93E5-CF7AF808E329}">
      <dgm:prSet/>
      <dgm:spPr/>
      <dgm:t>
        <a:bodyPr/>
        <a:lstStyle/>
        <a:p>
          <a:r>
            <a:rPr lang="en-US"/>
            <a:t>Implement Firewall Rules and Virtual Networks</a:t>
          </a:r>
        </a:p>
      </dgm:t>
    </dgm:pt>
    <dgm:pt modelId="{DD0D20A7-4670-4D0A-8ED8-C2001CF87DD5}" type="parTrans" cxnId="{6E51ADDF-9376-4EB7-85B7-ED3D30FFDA90}">
      <dgm:prSet/>
      <dgm:spPr/>
      <dgm:t>
        <a:bodyPr/>
        <a:lstStyle/>
        <a:p>
          <a:endParaRPr lang="en-US"/>
        </a:p>
      </dgm:t>
    </dgm:pt>
    <dgm:pt modelId="{6FE252F5-A880-4301-82F8-AD27CACB5F7D}" type="sibTrans" cxnId="{6E51ADDF-9376-4EB7-85B7-ED3D30FFDA90}">
      <dgm:prSet/>
      <dgm:spPr/>
      <dgm:t>
        <a:bodyPr/>
        <a:lstStyle/>
        <a:p>
          <a:endParaRPr lang="en-US"/>
        </a:p>
      </dgm:t>
    </dgm:pt>
    <dgm:pt modelId="{2EA011A5-E108-484B-B234-461ECB9D35D4}">
      <dgm:prSet/>
      <dgm:spPr/>
      <dgm:t>
        <a:bodyPr/>
        <a:lstStyle/>
        <a:p>
          <a:r>
            <a:rPr lang="en-US"/>
            <a:t>Implement Transparent Data Encryption</a:t>
          </a:r>
        </a:p>
      </dgm:t>
    </dgm:pt>
    <dgm:pt modelId="{4608747C-7E5E-43B0-9E12-7F5F60B97ACC}" type="parTrans" cxnId="{A88375A2-EC02-45C3-875F-B3CCABC12214}">
      <dgm:prSet/>
      <dgm:spPr/>
      <dgm:t>
        <a:bodyPr/>
        <a:lstStyle/>
        <a:p>
          <a:endParaRPr lang="en-US"/>
        </a:p>
      </dgm:t>
    </dgm:pt>
    <dgm:pt modelId="{A3A38524-3145-41B9-9E30-F5C9C236947C}" type="sibTrans" cxnId="{A88375A2-EC02-45C3-875F-B3CCABC12214}">
      <dgm:prSet/>
      <dgm:spPr/>
      <dgm:t>
        <a:bodyPr/>
        <a:lstStyle/>
        <a:p>
          <a:endParaRPr lang="en-US"/>
        </a:p>
      </dgm:t>
    </dgm:pt>
    <dgm:pt modelId="{363BD025-55A9-4B72-8899-CF56C52E6877}">
      <dgm:prSet/>
      <dgm:spPr/>
      <dgm:t>
        <a:bodyPr/>
        <a:lstStyle/>
        <a:p>
          <a:r>
            <a:rPr lang="en-US"/>
            <a:t>Implement Always Encrypted</a:t>
          </a:r>
        </a:p>
      </dgm:t>
    </dgm:pt>
    <dgm:pt modelId="{5CA528A5-63F7-4CFA-B83D-235282E45C9D}" type="parTrans" cxnId="{4FF4201A-8255-4BE9-BF75-7B78159E6DDE}">
      <dgm:prSet/>
      <dgm:spPr/>
      <dgm:t>
        <a:bodyPr/>
        <a:lstStyle/>
        <a:p>
          <a:endParaRPr lang="en-US"/>
        </a:p>
      </dgm:t>
    </dgm:pt>
    <dgm:pt modelId="{1506F551-9AA7-4339-90D6-591DD20A9633}" type="sibTrans" cxnId="{4FF4201A-8255-4BE9-BF75-7B78159E6DDE}">
      <dgm:prSet/>
      <dgm:spPr/>
      <dgm:t>
        <a:bodyPr/>
        <a:lstStyle/>
        <a:p>
          <a:endParaRPr lang="en-US"/>
        </a:p>
      </dgm:t>
    </dgm:pt>
    <dgm:pt modelId="{E38CEE8F-1D6E-43FD-9E66-43B6EFF44D91}">
      <dgm:prSet/>
      <dgm:spPr/>
      <dgm:t>
        <a:bodyPr/>
        <a:lstStyle/>
        <a:p>
          <a:r>
            <a:rPr lang="en-US"/>
            <a:t>Implement Row Level Security</a:t>
          </a:r>
        </a:p>
      </dgm:t>
    </dgm:pt>
    <dgm:pt modelId="{4EAE8378-9EA5-4B52-A6B4-ED33FDC4AE71}" type="parTrans" cxnId="{B29EAF24-2825-422F-BC00-26B2AD18CC52}">
      <dgm:prSet/>
      <dgm:spPr/>
      <dgm:t>
        <a:bodyPr/>
        <a:lstStyle/>
        <a:p>
          <a:endParaRPr lang="en-US"/>
        </a:p>
      </dgm:t>
    </dgm:pt>
    <dgm:pt modelId="{CBE30CBE-968F-4EBB-AD6F-9CF17128895D}" type="sibTrans" cxnId="{B29EAF24-2825-422F-BC00-26B2AD18CC52}">
      <dgm:prSet/>
      <dgm:spPr/>
      <dgm:t>
        <a:bodyPr/>
        <a:lstStyle/>
        <a:p>
          <a:endParaRPr lang="en-US"/>
        </a:p>
      </dgm:t>
    </dgm:pt>
    <dgm:pt modelId="{270EBC94-1E09-4DB0-8EC2-1513DCD55519}">
      <dgm:prSet/>
      <dgm:spPr/>
      <dgm:t>
        <a:bodyPr/>
        <a:lstStyle/>
        <a:p>
          <a:r>
            <a:rPr lang="en-US"/>
            <a:t>Implement Dynamic Data Masking</a:t>
          </a:r>
        </a:p>
      </dgm:t>
    </dgm:pt>
    <dgm:pt modelId="{A380C22E-9252-47C2-A3A8-36FA26B2E104}" type="parTrans" cxnId="{48C446A7-2FF2-4AB3-A0A5-9C33632DCC96}">
      <dgm:prSet/>
      <dgm:spPr/>
      <dgm:t>
        <a:bodyPr/>
        <a:lstStyle/>
        <a:p>
          <a:endParaRPr lang="en-US"/>
        </a:p>
      </dgm:t>
    </dgm:pt>
    <dgm:pt modelId="{6FEC631E-4DFC-4E52-914A-4D3BB2317C01}" type="sibTrans" cxnId="{48C446A7-2FF2-4AB3-A0A5-9C33632DCC96}">
      <dgm:prSet/>
      <dgm:spPr/>
      <dgm:t>
        <a:bodyPr/>
        <a:lstStyle/>
        <a:p>
          <a:endParaRPr lang="en-US"/>
        </a:p>
      </dgm:t>
    </dgm:pt>
    <dgm:pt modelId="{1F3DDD71-85AD-479C-ADD0-6EA557C326A1}">
      <dgm:prSet/>
      <dgm:spPr/>
      <dgm:t>
        <a:bodyPr/>
        <a:lstStyle/>
        <a:p>
          <a:r>
            <a:rPr lang="en-US"/>
            <a:t>Implement Auditing for Azure SQL Database</a:t>
          </a:r>
        </a:p>
      </dgm:t>
    </dgm:pt>
    <dgm:pt modelId="{0C34DBFB-5BD6-4F64-9845-49D9F62E7178}" type="parTrans" cxnId="{D163995F-AB52-4B10-BC9E-E60E3C928ABA}">
      <dgm:prSet/>
      <dgm:spPr/>
      <dgm:t>
        <a:bodyPr/>
        <a:lstStyle/>
        <a:p>
          <a:endParaRPr lang="en-US"/>
        </a:p>
      </dgm:t>
    </dgm:pt>
    <dgm:pt modelId="{67440E49-531D-421F-B021-DD1C15649BF1}" type="sibTrans" cxnId="{D163995F-AB52-4B10-BC9E-E60E3C928ABA}">
      <dgm:prSet/>
      <dgm:spPr/>
      <dgm:t>
        <a:bodyPr/>
        <a:lstStyle/>
        <a:p>
          <a:endParaRPr lang="en-US"/>
        </a:p>
      </dgm:t>
    </dgm:pt>
    <dgm:pt modelId="{A9CBC489-1539-454D-B09E-5E85082B227D}">
      <dgm:prSet/>
      <dgm:spPr/>
      <dgm:t>
        <a:bodyPr/>
        <a:lstStyle/>
        <a:p>
          <a:r>
            <a:rPr lang="en-US"/>
            <a:t>Implement Advanced Data Security</a:t>
          </a:r>
        </a:p>
      </dgm:t>
    </dgm:pt>
    <dgm:pt modelId="{2A8474D1-FA2B-41DA-88F6-E751A00689BA}" type="parTrans" cxnId="{3B6AFDDD-F0A4-4463-BB4F-F4CAE1768556}">
      <dgm:prSet/>
      <dgm:spPr/>
      <dgm:t>
        <a:bodyPr/>
        <a:lstStyle/>
        <a:p>
          <a:endParaRPr lang="en-US"/>
        </a:p>
      </dgm:t>
    </dgm:pt>
    <dgm:pt modelId="{712A4939-1E49-4DFF-9366-14ACBB43BF23}" type="sibTrans" cxnId="{3B6AFDDD-F0A4-4463-BB4F-F4CAE1768556}">
      <dgm:prSet/>
      <dgm:spPr/>
      <dgm:t>
        <a:bodyPr/>
        <a:lstStyle/>
        <a:p>
          <a:endParaRPr lang="en-US"/>
        </a:p>
      </dgm:t>
    </dgm:pt>
    <dgm:pt modelId="{09632C6E-31F5-4683-9BD3-2C2E7BC16E11}" type="pres">
      <dgm:prSet presAssocID="{B98A83F4-8F85-4F14-9C49-65405939F0F0}" presName="linear" presStyleCnt="0">
        <dgm:presLayoutVars>
          <dgm:animLvl val="lvl"/>
          <dgm:resizeHandles val="exact"/>
        </dgm:presLayoutVars>
      </dgm:prSet>
      <dgm:spPr/>
    </dgm:pt>
    <dgm:pt modelId="{947F9EA5-A53C-4068-87ED-01F93B1B6679}" type="pres">
      <dgm:prSet presAssocID="{A7498D8A-3366-4FAE-B475-8182D51F8BF8}" presName="parentText" presStyleLbl="node1" presStyleIdx="0" presStyleCnt="10">
        <dgm:presLayoutVars>
          <dgm:chMax val="0"/>
          <dgm:bulletEnabled val="1"/>
        </dgm:presLayoutVars>
      </dgm:prSet>
      <dgm:spPr/>
    </dgm:pt>
    <dgm:pt modelId="{293B508D-2B9F-4A21-92AB-866151D91E00}" type="pres">
      <dgm:prSet presAssocID="{F5A3B5FB-A0AD-442E-A53B-77ADA3B37A23}" presName="spacer" presStyleCnt="0"/>
      <dgm:spPr/>
    </dgm:pt>
    <dgm:pt modelId="{3CCEF63C-9790-409A-86A8-E94362D432FC}" type="pres">
      <dgm:prSet presAssocID="{05CDDAB3-FE21-4AF5-B627-6A92506AD22B}" presName="parentText" presStyleLbl="node1" presStyleIdx="1" presStyleCnt="10">
        <dgm:presLayoutVars>
          <dgm:chMax val="0"/>
          <dgm:bulletEnabled val="1"/>
        </dgm:presLayoutVars>
      </dgm:prSet>
      <dgm:spPr/>
    </dgm:pt>
    <dgm:pt modelId="{ACA6A485-0AF7-4A8E-8F90-778DB05F8E80}" type="pres">
      <dgm:prSet presAssocID="{ADEC98CD-C752-45BD-B796-25060EAF7474}" presName="spacer" presStyleCnt="0"/>
      <dgm:spPr/>
    </dgm:pt>
    <dgm:pt modelId="{70A3944B-0AAA-49F7-AB74-06AAF27442AE}" type="pres">
      <dgm:prSet presAssocID="{789CCEF9-51C1-4ADC-9B47-33453188AE20}" presName="parentText" presStyleLbl="node1" presStyleIdx="2" presStyleCnt="10">
        <dgm:presLayoutVars>
          <dgm:chMax val="0"/>
          <dgm:bulletEnabled val="1"/>
        </dgm:presLayoutVars>
      </dgm:prSet>
      <dgm:spPr/>
    </dgm:pt>
    <dgm:pt modelId="{A5C2E173-D197-44DD-9B14-811173DBCC96}" type="pres">
      <dgm:prSet presAssocID="{2BE1F817-8960-46E3-9757-0EBB5E56013D}" presName="spacer" presStyleCnt="0"/>
      <dgm:spPr/>
    </dgm:pt>
    <dgm:pt modelId="{2B7E5D1B-DE75-498C-B845-CB363A7C4CA3}" type="pres">
      <dgm:prSet presAssocID="{781E564D-EB74-42C2-93E5-CF7AF808E329}" presName="parentText" presStyleLbl="node1" presStyleIdx="3" presStyleCnt="10">
        <dgm:presLayoutVars>
          <dgm:chMax val="0"/>
          <dgm:bulletEnabled val="1"/>
        </dgm:presLayoutVars>
      </dgm:prSet>
      <dgm:spPr/>
    </dgm:pt>
    <dgm:pt modelId="{6DE61107-61B1-4AE6-BE04-524E097989C1}" type="pres">
      <dgm:prSet presAssocID="{6FE252F5-A880-4301-82F8-AD27CACB5F7D}" presName="spacer" presStyleCnt="0"/>
      <dgm:spPr/>
    </dgm:pt>
    <dgm:pt modelId="{584563E5-6873-417D-91CE-51A973634DF6}" type="pres">
      <dgm:prSet presAssocID="{2EA011A5-E108-484B-B234-461ECB9D35D4}" presName="parentText" presStyleLbl="node1" presStyleIdx="4" presStyleCnt="10">
        <dgm:presLayoutVars>
          <dgm:chMax val="0"/>
          <dgm:bulletEnabled val="1"/>
        </dgm:presLayoutVars>
      </dgm:prSet>
      <dgm:spPr/>
    </dgm:pt>
    <dgm:pt modelId="{D9C32252-32BB-4C48-900D-69387FE91796}" type="pres">
      <dgm:prSet presAssocID="{A3A38524-3145-41B9-9E30-F5C9C236947C}" presName="spacer" presStyleCnt="0"/>
      <dgm:spPr/>
    </dgm:pt>
    <dgm:pt modelId="{5D73149A-F8A5-4A67-9A68-8D328FEAED80}" type="pres">
      <dgm:prSet presAssocID="{363BD025-55A9-4B72-8899-CF56C52E6877}" presName="parentText" presStyleLbl="node1" presStyleIdx="5" presStyleCnt="10">
        <dgm:presLayoutVars>
          <dgm:chMax val="0"/>
          <dgm:bulletEnabled val="1"/>
        </dgm:presLayoutVars>
      </dgm:prSet>
      <dgm:spPr/>
    </dgm:pt>
    <dgm:pt modelId="{685BF9F7-4747-4F2D-B130-7D976D28F569}" type="pres">
      <dgm:prSet presAssocID="{1506F551-9AA7-4339-90D6-591DD20A9633}" presName="spacer" presStyleCnt="0"/>
      <dgm:spPr/>
    </dgm:pt>
    <dgm:pt modelId="{9843E625-64C0-4AB4-8371-71B72D90BA02}" type="pres">
      <dgm:prSet presAssocID="{E38CEE8F-1D6E-43FD-9E66-43B6EFF44D91}" presName="parentText" presStyleLbl="node1" presStyleIdx="6" presStyleCnt="10">
        <dgm:presLayoutVars>
          <dgm:chMax val="0"/>
          <dgm:bulletEnabled val="1"/>
        </dgm:presLayoutVars>
      </dgm:prSet>
      <dgm:spPr/>
    </dgm:pt>
    <dgm:pt modelId="{CEC8A819-9400-4913-919C-B441A2DA57F9}" type="pres">
      <dgm:prSet presAssocID="{CBE30CBE-968F-4EBB-AD6F-9CF17128895D}" presName="spacer" presStyleCnt="0"/>
      <dgm:spPr/>
    </dgm:pt>
    <dgm:pt modelId="{3D05CF5A-8A45-438A-AF9C-80B398D007FF}" type="pres">
      <dgm:prSet presAssocID="{270EBC94-1E09-4DB0-8EC2-1513DCD55519}" presName="parentText" presStyleLbl="node1" presStyleIdx="7" presStyleCnt="10">
        <dgm:presLayoutVars>
          <dgm:chMax val="0"/>
          <dgm:bulletEnabled val="1"/>
        </dgm:presLayoutVars>
      </dgm:prSet>
      <dgm:spPr/>
    </dgm:pt>
    <dgm:pt modelId="{876519AE-AF1F-4FB0-9771-97F05D54D7A4}" type="pres">
      <dgm:prSet presAssocID="{6FEC631E-4DFC-4E52-914A-4D3BB2317C01}" presName="spacer" presStyleCnt="0"/>
      <dgm:spPr/>
    </dgm:pt>
    <dgm:pt modelId="{8AB84A2A-018B-4FE9-9B75-B9E22F701A2B}" type="pres">
      <dgm:prSet presAssocID="{1F3DDD71-85AD-479C-ADD0-6EA557C326A1}" presName="parentText" presStyleLbl="node1" presStyleIdx="8" presStyleCnt="10">
        <dgm:presLayoutVars>
          <dgm:chMax val="0"/>
          <dgm:bulletEnabled val="1"/>
        </dgm:presLayoutVars>
      </dgm:prSet>
      <dgm:spPr/>
    </dgm:pt>
    <dgm:pt modelId="{5FE1689B-8B9C-4941-BFA4-D10E1F47229F}" type="pres">
      <dgm:prSet presAssocID="{67440E49-531D-421F-B021-DD1C15649BF1}" presName="spacer" presStyleCnt="0"/>
      <dgm:spPr/>
    </dgm:pt>
    <dgm:pt modelId="{779B6E45-19B8-4417-B310-C93BB0090CCA}" type="pres">
      <dgm:prSet presAssocID="{A9CBC489-1539-454D-B09E-5E85082B227D}" presName="parentText" presStyleLbl="node1" presStyleIdx="9" presStyleCnt="10">
        <dgm:presLayoutVars>
          <dgm:chMax val="0"/>
          <dgm:bulletEnabled val="1"/>
        </dgm:presLayoutVars>
      </dgm:prSet>
      <dgm:spPr/>
    </dgm:pt>
  </dgm:ptLst>
  <dgm:cxnLst>
    <dgm:cxn modelId="{4FF4201A-8255-4BE9-BF75-7B78159E6DDE}" srcId="{B98A83F4-8F85-4F14-9C49-65405939F0F0}" destId="{363BD025-55A9-4B72-8899-CF56C52E6877}" srcOrd="5" destOrd="0" parTransId="{5CA528A5-63F7-4CFA-B83D-235282E45C9D}" sibTransId="{1506F551-9AA7-4339-90D6-591DD20A9633}"/>
    <dgm:cxn modelId="{B29EAF24-2825-422F-BC00-26B2AD18CC52}" srcId="{B98A83F4-8F85-4F14-9C49-65405939F0F0}" destId="{E38CEE8F-1D6E-43FD-9E66-43B6EFF44D91}" srcOrd="6" destOrd="0" parTransId="{4EAE8378-9EA5-4B52-A6B4-ED33FDC4AE71}" sibTransId="{CBE30CBE-968F-4EBB-AD6F-9CF17128895D}"/>
    <dgm:cxn modelId="{6072AB3F-D6A5-4721-BA07-4299DD6381E4}" type="presOf" srcId="{2EA011A5-E108-484B-B234-461ECB9D35D4}" destId="{584563E5-6873-417D-91CE-51A973634DF6}" srcOrd="0" destOrd="0" presId="urn:microsoft.com/office/officeart/2005/8/layout/vList2"/>
    <dgm:cxn modelId="{C40B2C5E-C13B-40EA-9B39-85DC3C6AE6A3}" srcId="{B98A83F4-8F85-4F14-9C49-65405939F0F0}" destId="{A7498D8A-3366-4FAE-B475-8182D51F8BF8}" srcOrd="0" destOrd="0" parTransId="{FAF0E8AB-16B6-4432-9B9D-5539C9DDC4ED}" sibTransId="{F5A3B5FB-A0AD-442E-A53B-77ADA3B37A23}"/>
    <dgm:cxn modelId="{D163995F-AB52-4B10-BC9E-E60E3C928ABA}" srcId="{B98A83F4-8F85-4F14-9C49-65405939F0F0}" destId="{1F3DDD71-85AD-479C-ADD0-6EA557C326A1}" srcOrd="8" destOrd="0" parTransId="{0C34DBFB-5BD6-4F64-9845-49D9F62E7178}" sibTransId="{67440E49-531D-421F-B021-DD1C15649BF1}"/>
    <dgm:cxn modelId="{082E4A6C-34EB-4B66-995C-8B9C1534E802}" type="presOf" srcId="{05CDDAB3-FE21-4AF5-B627-6A92506AD22B}" destId="{3CCEF63C-9790-409A-86A8-E94362D432FC}" srcOrd="0" destOrd="0" presId="urn:microsoft.com/office/officeart/2005/8/layout/vList2"/>
    <dgm:cxn modelId="{671D266E-B2B3-4B8B-9AED-B39D6E80C677}" type="presOf" srcId="{363BD025-55A9-4B72-8899-CF56C52E6877}" destId="{5D73149A-F8A5-4A67-9A68-8D328FEAED80}" srcOrd="0" destOrd="0" presId="urn:microsoft.com/office/officeart/2005/8/layout/vList2"/>
    <dgm:cxn modelId="{0128D755-94BF-416D-ACFD-9AE54102E9F9}" type="presOf" srcId="{A7498D8A-3366-4FAE-B475-8182D51F8BF8}" destId="{947F9EA5-A53C-4068-87ED-01F93B1B6679}" srcOrd="0" destOrd="0" presId="urn:microsoft.com/office/officeart/2005/8/layout/vList2"/>
    <dgm:cxn modelId="{CCD10956-55A1-4C6B-829F-DC339AADE3FA}" srcId="{B98A83F4-8F85-4F14-9C49-65405939F0F0}" destId="{05CDDAB3-FE21-4AF5-B627-6A92506AD22B}" srcOrd="1" destOrd="0" parTransId="{D7800F9B-9B20-4DC8-A5ED-B6A93498DAE6}" sibTransId="{ADEC98CD-C752-45BD-B796-25060EAF7474}"/>
    <dgm:cxn modelId="{BBE5FA57-5227-4516-9F61-8DA9A7A72D80}" type="presOf" srcId="{E38CEE8F-1D6E-43FD-9E66-43B6EFF44D91}" destId="{9843E625-64C0-4AB4-8371-71B72D90BA02}" srcOrd="0" destOrd="0" presId="urn:microsoft.com/office/officeart/2005/8/layout/vList2"/>
    <dgm:cxn modelId="{E4A20F7B-863E-4FF7-B6A0-8F40A5913DA6}" srcId="{B98A83F4-8F85-4F14-9C49-65405939F0F0}" destId="{789CCEF9-51C1-4ADC-9B47-33453188AE20}" srcOrd="2" destOrd="0" parTransId="{BFA69F26-32F8-47E9-9F6D-C65992A100F4}" sibTransId="{2BE1F817-8960-46E3-9757-0EBB5E56013D}"/>
    <dgm:cxn modelId="{636DDF7D-5B9D-42D9-B0CB-8303276B1FE8}" type="presOf" srcId="{781E564D-EB74-42C2-93E5-CF7AF808E329}" destId="{2B7E5D1B-DE75-498C-B845-CB363A7C4CA3}" srcOrd="0" destOrd="0" presId="urn:microsoft.com/office/officeart/2005/8/layout/vList2"/>
    <dgm:cxn modelId="{FC463782-9208-4E8A-89E1-6C2DDC97748F}" type="presOf" srcId="{789CCEF9-51C1-4ADC-9B47-33453188AE20}" destId="{70A3944B-0AAA-49F7-AB74-06AAF27442AE}" srcOrd="0" destOrd="0" presId="urn:microsoft.com/office/officeart/2005/8/layout/vList2"/>
    <dgm:cxn modelId="{98D22989-440E-4629-B4F5-2D1BBBCD875C}" type="presOf" srcId="{B98A83F4-8F85-4F14-9C49-65405939F0F0}" destId="{09632C6E-31F5-4683-9BD3-2C2E7BC16E11}" srcOrd="0" destOrd="0" presId="urn:microsoft.com/office/officeart/2005/8/layout/vList2"/>
    <dgm:cxn modelId="{827FF08A-0140-40A1-830F-9E39829D5870}" type="presOf" srcId="{A9CBC489-1539-454D-B09E-5E85082B227D}" destId="{779B6E45-19B8-4417-B310-C93BB0090CCA}" srcOrd="0" destOrd="0" presId="urn:microsoft.com/office/officeart/2005/8/layout/vList2"/>
    <dgm:cxn modelId="{A88375A2-EC02-45C3-875F-B3CCABC12214}" srcId="{B98A83F4-8F85-4F14-9C49-65405939F0F0}" destId="{2EA011A5-E108-484B-B234-461ECB9D35D4}" srcOrd="4" destOrd="0" parTransId="{4608747C-7E5E-43B0-9E12-7F5F60B97ACC}" sibTransId="{A3A38524-3145-41B9-9E30-F5C9C236947C}"/>
    <dgm:cxn modelId="{48C446A7-2FF2-4AB3-A0A5-9C33632DCC96}" srcId="{B98A83F4-8F85-4F14-9C49-65405939F0F0}" destId="{270EBC94-1E09-4DB0-8EC2-1513DCD55519}" srcOrd="7" destOrd="0" parTransId="{A380C22E-9252-47C2-A3A8-36FA26B2E104}" sibTransId="{6FEC631E-4DFC-4E52-914A-4D3BB2317C01}"/>
    <dgm:cxn modelId="{40DBE5CD-4E32-4228-B828-7EBAE3050ACC}" type="presOf" srcId="{270EBC94-1E09-4DB0-8EC2-1513DCD55519}" destId="{3D05CF5A-8A45-438A-AF9C-80B398D007FF}" srcOrd="0" destOrd="0" presId="urn:microsoft.com/office/officeart/2005/8/layout/vList2"/>
    <dgm:cxn modelId="{722AA3D2-7E03-4371-AD61-44B12ACA1DD2}" type="presOf" srcId="{1F3DDD71-85AD-479C-ADD0-6EA557C326A1}" destId="{8AB84A2A-018B-4FE9-9B75-B9E22F701A2B}" srcOrd="0" destOrd="0" presId="urn:microsoft.com/office/officeart/2005/8/layout/vList2"/>
    <dgm:cxn modelId="{3B6AFDDD-F0A4-4463-BB4F-F4CAE1768556}" srcId="{B98A83F4-8F85-4F14-9C49-65405939F0F0}" destId="{A9CBC489-1539-454D-B09E-5E85082B227D}" srcOrd="9" destOrd="0" parTransId="{2A8474D1-FA2B-41DA-88F6-E751A00689BA}" sibTransId="{712A4939-1E49-4DFF-9366-14ACBB43BF23}"/>
    <dgm:cxn modelId="{6E51ADDF-9376-4EB7-85B7-ED3D30FFDA90}" srcId="{B98A83F4-8F85-4F14-9C49-65405939F0F0}" destId="{781E564D-EB74-42C2-93E5-CF7AF808E329}" srcOrd="3" destOrd="0" parTransId="{DD0D20A7-4670-4D0A-8ED8-C2001CF87DD5}" sibTransId="{6FE252F5-A880-4301-82F8-AD27CACB5F7D}"/>
    <dgm:cxn modelId="{ADAF67E0-8196-4985-A37D-23AC8CF6F97C}" type="presParOf" srcId="{09632C6E-31F5-4683-9BD3-2C2E7BC16E11}" destId="{947F9EA5-A53C-4068-87ED-01F93B1B6679}" srcOrd="0" destOrd="0" presId="urn:microsoft.com/office/officeart/2005/8/layout/vList2"/>
    <dgm:cxn modelId="{1A230A70-9939-4A57-8439-2E7C1733BA25}" type="presParOf" srcId="{09632C6E-31F5-4683-9BD3-2C2E7BC16E11}" destId="{293B508D-2B9F-4A21-92AB-866151D91E00}" srcOrd="1" destOrd="0" presId="urn:microsoft.com/office/officeart/2005/8/layout/vList2"/>
    <dgm:cxn modelId="{B105ED90-C2B0-4146-96C1-13CFB1E57DB0}" type="presParOf" srcId="{09632C6E-31F5-4683-9BD3-2C2E7BC16E11}" destId="{3CCEF63C-9790-409A-86A8-E94362D432FC}" srcOrd="2" destOrd="0" presId="urn:microsoft.com/office/officeart/2005/8/layout/vList2"/>
    <dgm:cxn modelId="{E59ABFFC-C312-43A5-B258-E66F24D39C78}" type="presParOf" srcId="{09632C6E-31F5-4683-9BD3-2C2E7BC16E11}" destId="{ACA6A485-0AF7-4A8E-8F90-778DB05F8E80}" srcOrd="3" destOrd="0" presId="urn:microsoft.com/office/officeart/2005/8/layout/vList2"/>
    <dgm:cxn modelId="{2732216A-701A-40D4-B2E8-1CE3B36FC9A8}" type="presParOf" srcId="{09632C6E-31F5-4683-9BD3-2C2E7BC16E11}" destId="{70A3944B-0AAA-49F7-AB74-06AAF27442AE}" srcOrd="4" destOrd="0" presId="urn:microsoft.com/office/officeart/2005/8/layout/vList2"/>
    <dgm:cxn modelId="{7A50ABBF-F407-4359-92EC-D499F3A68E0D}" type="presParOf" srcId="{09632C6E-31F5-4683-9BD3-2C2E7BC16E11}" destId="{A5C2E173-D197-44DD-9B14-811173DBCC96}" srcOrd="5" destOrd="0" presId="urn:microsoft.com/office/officeart/2005/8/layout/vList2"/>
    <dgm:cxn modelId="{9AC9B3DD-C2B2-46CE-956E-DEB9DC30BB4C}" type="presParOf" srcId="{09632C6E-31F5-4683-9BD3-2C2E7BC16E11}" destId="{2B7E5D1B-DE75-498C-B845-CB363A7C4CA3}" srcOrd="6" destOrd="0" presId="urn:microsoft.com/office/officeart/2005/8/layout/vList2"/>
    <dgm:cxn modelId="{1EBB4292-E8B0-47A2-A075-764599D303ED}" type="presParOf" srcId="{09632C6E-31F5-4683-9BD3-2C2E7BC16E11}" destId="{6DE61107-61B1-4AE6-BE04-524E097989C1}" srcOrd="7" destOrd="0" presId="urn:microsoft.com/office/officeart/2005/8/layout/vList2"/>
    <dgm:cxn modelId="{AE9DA2C2-49EE-4970-ABDC-CEB25D78EEE1}" type="presParOf" srcId="{09632C6E-31F5-4683-9BD3-2C2E7BC16E11}" destId="{584563E5-6873-417D-91CE-51A973634DF6}" srcOrd="8" destOrd="0" presId="urn:microsoft.com/office/officeart/2005/8/layout/vList2"/>
    <dgm:cxn modelId="{D6C2DEBE-0D22-4CCD-8C31-9B343FEBC246}" type="presParOf" srcId="{09632C6E-31F5-4683-9BD3-2C2E7BC16E11}" destId="{D9C32252-32BB-4C48-900D-69387FE91796}" srcOrd="9" destOrd="0" presId="urn:microsoft.com/office/officeart/2005/8/layout/vList2"/>
    <dgm:cxn modelId="{7505FAD4-BD99-4E65-AE18-598793ED7A56}" type="presParOf" srcId="{09632C6E-31F5-4683-9BD3-2C2E7BC16E11}" destId="{5D73149A-F8A5-4A67-9A68-8D328FEAED80}" srcOrd="10" destOrd="0" presId="urn:microsoft.com/office/officeart/2005/8/layout/vList2"/>
    <dgm:cxn modelId="{30F61D81-FE33-4F70-B325-1F550E24DEA3}" type="presParOf" srcId="{09632C6E-31F5-4683-9BD3-2C2E7BC16E11}" destId="{685BF9F7-4747-4F2D-B130-7D976D28F569}" srcOrd="11" destOrd="0" presId="urn:microsoft.com/office/officeart/2005/8/layout/vList2"/>
    <dgm:cxn modelId="{42986088-D39E-4C3A-93E5-8AB59DF5311E}" type="presParOf" srcId="{09632C6E-31F5-4683-9BD3-2C2E7BC16E11}" destId="{9843E625-64C0-4AB4-8371-71B72D90BA02}" srcOrd="12" destOrd="0" presId="urn:microsoft.com/office/officeart/2005/8/layout/vList2"/>
    <dgm:cxn modelId="{8B28AD2F-8F3F-4577-A8BD-49B378673ADC}" type="presParOf" srcId="{09632C6E-31F5-4683-9BD3-2C2E7BC16E11}" destId="{CEC8A819-9400-4913-919C-B441A2DA57F9}" srcOrd="13" destOrd="0" presId="urn:microsoft.com/office/officeart/2005/8/layout/vList2"/>
    <dgm:cxn modelId="{638448DF-BA23-4A7B-BEAC-57CCCC48C14C}" type="presParOf" srcId="{09632C6E-31F5-4683-9BD3-2C2E7BC16E11}" destId="{3D05CF5A-8A45-438A-AF9C-80B398D007FF}" srcOrd="14" destOrd="0" presId="urn:microsoft.com/office/officeart/2005/8/layout/vList2"/>
    <dgm:cxn modelId="{BB56FE27-BD61-45D1-8AFC-EEED54343C5C}" type="presParOf" srcId="{09632C6E-31F5-4683-9BD3-2C2E7BC16E11}" destId="{876519AE-AF1F-4FB0-9771-97F05D54D7A4}" srcOrd="15" destOrd="0" presId="urn:microsoft.com/office/officeart/2005/8/layout/vList2"/>
    <dgm:cxn modelId="{1257FC24-1387-4914-AA4E-789A9BDDEFBA}" type="presParOf" srcId="{09632C6E-31F5-4683-9BD3-2C2E7BC16E11}" destId="{8AB84A2A-018B-4FE9-9B75-B9E22F701A2B}" srcOrd="16" destOrd="0" presId="urn:microsoft.com/office/officeart/2005/8/layout/vList2"/>
    <dgm:cxn modelId="{F4AD95A1-DCAA-485D-B47E-1408293825EB}" type="presParOf" srcId="{09632C6E-31F5-4683-9BD3-2C2E7BC16E11}" destId="{5FE1689B-8B9C-4941-BFA4-D10E1F47229F}" srcOrd="17" destOrd="0" presId="urn:microsoft.com/office/officeart/2005/8/layout/vList2"/>
    <dgm:cxn modelId="{24EEAC0C-1108-496C-AF4E-964E2F21B1EA}" type="presParOf" srcId="{09632C6E-31F5-4683-9BD3-2C2E7BC16E11}" destId="{779B6E45-19B8-4417-B310-C93BB0090CCA}"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FBFD28-7CA6-4A2D-8884-6EB5B4F420ED}" type="doc">
      <dgm:prSet loTypeId="urn:microsoft.com/office/officeart/2005/8/layout/orgChart1" loCatId="hierarchy" qsTypeId="urn:microsoft.com/office/officeart/2005/8/quickstyle/simple1" qsCatId="simple" csTypeId="urn:microsoft.com/office/officeart/2005/8/colors/accent1_2" csCatId="accent1"/>
      <dgm:spPr/>
      <dgm:t>
        <a:bodyPr/>
        <a:lstStyle/>
        <a:p>
          <a:endParaRPr lang="en-US"/>
        </a:p>
      </dgm:t>
    </dgm:pt>
    <dgm:pt modelId="{D1329564-F11C-4018-9B6F-AA3BAE17A1D2}">
      <dgm:prSet custT="1"/>
      <dgm:spPr/>
      <dgm:t>
        <a:bodyPr/>
        <a:lstStyle/>
        <a:p>
          <a:r>
            <a:rPr lang="en-US" sz="2400" baseline="0" dirty="0"/>
            <a:t>Server Level Principal accounts</a:t>
          </a:r>
          <a:endParaRPr lang="en-US" sz="2400" dirty="0"/>
        </a:p>
      </dgm:t>
    </dgm:pt>
    <dgm:pt modelId="{39B02E9A-F09C-49B9-B0AD-1A5A0E6C22A2}" type="parTrans" cxnId="{036BABEF-48E9-498B-8B66-47EF67C21DC3}">
      <dgm:prSet/>
      <dgm:spPr/>
      <dgm:t>
        <a:bodyPr/>
        <a:lstStyle/>
        <a:p>
          <a:endParaRPr lang="en-US"/>
        </a:p>
      </dgm:t>
    </dgm:pt>
    <dgm:pt modelId="{FFA98298-EFCA-4258-9CD5-195CAADF7492}" type="sibTrans" cxnId="{036BABEF-48E9-498B-8B66-47EF67C21DC3}">
      <dgm:prSet/>
      <dgm:spPr/>
      <dgm:t>
        <a:bodyPr/>
        <a:lstStyle/>
        <a:p>
          <a:endParaRPr lang="en-US"/>
        </a:p>
      </dgm:t>
    </dgm:pt>
    <dgm:pt modelId="{11BE4758-F617-4A94-9C02-336F27415921}">
      <dgm:prSet custT="1"/>
      <dgm:spPr/>
      <dgm:t>
        <a:bodyPr/>
        <a:lstStyle/>
        <a:p>
          <a:r>
            <a:rPr lang="en-US" sz="2000" baseline="0"/>
            <a:t>Server Admin</a:t>
          </a:r>
          <a:endParaRPr lang="en-US" sz="2000"/>
        </a:p>
      </dgm:t>
    </dgm:pt>
    <dgm:pt modelId="{6E93AF74-2223-446C-9E65-58CFD25CA7C3}" type="parTrans" cxnId="{2957FEE9-0AC8-44E3-A4B8-6CD8BFF89186}">
      <dgm:prSet/>
      <dgm:spPr/>
      <dgm:t>
        <a:bodyPr/>
        <a:lstStyle/>
        <a:p>
          <a:endParaRPr lang="en-US"/>
        </a:p>
      </dgm:t>
    </dgm:pt>
    <dgm:pt modelId="{4343997A-5E89-4BD4-BA55-BFC531A56927}" type="sibTrans" cxnId="{2957FEE9-0AC8-44E3-A4B8-6CD8BFF89186}">
      <dgm:prSet/>
      <dgm:spPr/>
      <dgm:t>
        <a:bodyPr/>
        <a:lstStyle/>
        <a:p>
          <a:endParaRPr lang="en-US"/>
        </a:p>
      </dgm:t>
    </dgm:pt>
    <dgm:pt modelId="{5CDBE694-2F25-479F-8225-17668957FDBE}">
      <dgm:prSet custT="1"/>
      <dgm:spPr/>
      <dgm:t>
        <a:bodyPr/>
        <a:lstStyle/>
        <a:p>
          <a:r>
            <a:rPr lang="en-US" sz="2000" baseline="0"/>
            <a:t>Azure Active Directory Administrator</a:t>
          </a:r>
          <a:endParaRPr lang="en-US" sz="2000"/>
        </a:p>
      </dgm:t>
    </dgm:pt>
    <dgm:pt modelId="{679EE983-A477-41B9-9B09-9C58993D2896}" type="parTrans" cxnId="{553798DD-B5C3-4610-B20E-37AF869B625B}">
      <dgm:prSet/>
      <dgm:spPr/>
      <dgm:t>
        <a:bodyPr/>
        <a:lstStyle/>
        <a:p>
          <a:endParaRPr lang="en-US"/>
        </a:p>
      </dgm:t>
    </dgm:pt>
    <dgm:pt modelId="{54AF0EC1-B05B-476D-A715-FEC70E17CC7C}" type="sibTrans" cxnId="{553798DD-B5C3-4610-B20E-37AF869B625B}">
      <dgm:prSet/>
      <dgm:spPr/>
      <dgm:t>
        <a:bodyPr/>
        <a:lstStyle/>
        <a:p>
          <a:endParaRPr lang="en-US"/>
        </a:p>
      </dgm:t>
    </dgm:pt>
    <dgm:pt modelId="{8B6E1253-7919-4E75-8D88-CE7CA19D9B5B}" type="pres">
      <dgm:prSet presAssocID="{6DFBFD28-7CA6-4A2D-8884-6EB5B4F420ED}" presName="hierChild1" presStyleCnt="0">
        <dgm:presLayoutVars>
          <dgm:orgChart val="1"/>
          <dgm:chPref val="1"/>
          <dgm:dir/>
          <dgm:animOne val="branch"/>
          <dgm:animLvl val="lvl"/>
          <dgm:resizeHandles/>
        </dgm:presLayoutVars>
      </dgm:prSet>
      <dgm:spPr/>
    </dgm:pt>
    <dgm:pt modelId="{5DAB09EB-30A8-4B05-9524-DD03D54CA1A8}" type="pres">
      <dgm:prSet presAssocID="{D1329564-F11C-4018-9B6F-AA3BAE17A1D2}" presName="hierRoot1" presStyleCnt="0">
        <dgm:presLayoutVars>
          <dgm:hierBranch val="init"/>
        </dgm:presLayoutVars>
      </dgm:prSet>
      <dgm:spPr/>
    </dgm:pt>
    <dgm:pt modelId="{715A739C-02B7-477D-8FBA-3F800A505401}" type="pres">
      <dgm:prSet presAssocID="{D1329564-F11C-4018-9B6F-AA3BAE17A1D2}" presName="rootComposite1" presStyleCnt="0"/>
      <dgm:spPr/>
    </dgm:pt>
    <dgm:pt modelId="{AD2C28F2-E4D8-40FC-8996-0E986F106439}" type="pres">
      <dgm:prSet presAssocID="{D1329564-F11C-4018-9B6F-AA3BAE17A1D2}" presName="rootText1" presStyleLbl="node0" presStyleIdx="0" presStyleCnt="1">
        <dgm:presLayoutVars>
          <dgm:chPref val="3"/>
        </dgm:presLayoutVars>
      </dgm:prSet>
      <dgm:spPr/>
    </dgm:pt>
    <dgm:pt modelId="{D505B12C-9DA7-4B05-BB31-2875BCF84EAD}" type="pres">
      <dgm:prSet presAssocID="{D1329564-F11C-4018-9B6F-AA3BAE17A1D2}" presName="rootConnector1" presStyleLbl="node1" presStyleIdx="0" presStyleCnt="0"/>
      <dgm:spPr/>
    </dgm:pt>
    <dgm:pt modelId="{4FA87C6E-BF30-42E7-8FB6-D99DDBC7A7D0}" type="pres">
      <dgm:prSet presAssocID="{D1329564-F11C-4018-9B6F-AA3BAE17A1D2}" presName="hierChild2" presStyleCnt="0"/>
      <dgm:spPr/>
    </dgm:pt>
    <dgm:pt modelId="{67178D28-DDDA-4412-87DC-510B39C98418}" type="pres">
      <dgm:prSet presAssocID="{6E93AF74-2223-446C-9E65-58CFD25CA7C3}" presName="Name37" presStyleLbl="parChTrans1D2" presStyleIdx="0" presStyleCnt="2"/>
      <dgm:spPr/>
    </dgm:pt>
    <dgm:pt modelId="{F8CD620A-EC25-497A-964C-062959F2187A}" type="pres">
      <dgm:prSet presAssocID="{11BE4758-F617-4A94-9C02-336F27415921}" presName="hierRoot2" presStyleCnt="0">
        <dgm:presLayoutVars>
          <dgm:hierBranch val="init"/>
        </dgm:presLayoutVars>
      </dgm:prSet>
      <dgm:spPr/>
    </dgm:pt>
    <dgm:pt modelId="{1570B9E7-2C46-4133-B78E-0BA2D4409533}" type="pres">
      <dgm:prSet presAssocID="{11BE4758-F617-4A94-9C02-336F27415921}" presName="rootComposite" presStyleCnt="0"/>
      <dgm:spPr/>
    </dgm:pt>
    <dgm:pt modelId="{C1171F05-504E-4925-A1A9-02005D84A7DC}" type="pres">
      <dgm:prSet presAssocID="{11BE4758-F617-4A94-9C02-336F27415921}" presName="rootText" presStyleLbl="node2" presStyleIdx="0" presStyleCnt="2">
        <dgm:presLayoutVars>
          <dgm:chPref val="3"/>
        </dgm:presLayoutVars>
      </dgm:prSet>
      <dgm:spPr/>
    </dgm:pt>
    <dgm:pt modelId="{5BB8CD86-4575-422C-88F0-9E2D02197968}" type="pres">
      <dgm:prSet presAssocID="{11BE4758-F617-4A94-9C02-336F27415921}" presName="rootConnector" presStyleLbl="node2" presStyleIdx="0" presStyleCnt="2"/>
      <dgm:spPr/>
    </dgm:pt>
    <dgm:pt modelId="{3FE94C47-403F-4820-8472-7119ACD7A0C3}" type="pres">
      <dgm:prSet presAssocID="{11BE4758-F617-4A94-9C02-336F27415921}" presName="hierChild4" presStyleCnt="0"/>
      <dgm:spPr/>
    </dgm:pt>
    <dgm:pt modelId="{E265664A-62E7-439E-B948-6AF2D861C465}" type="pres">
      <dgm:prSet presAssocID="{11BE4758-F617-4A94-9C02-336F27415921}" presName="hierChild5" presStyleCnt="0"/>
      <dgm:spPr/>
    </dgm:pt>
    <dgm:pt modelId="{51B47041-97FA-4F12-9307-AE8E2C432568}" type="pres">
      <dgm:prSet presAssocID="{679EE983-A477-41B9-9B09-9C58993D2896}" presName="Name37" presStyleLbl="parChTrans1D2" presStyleIdx="1" presStyleCnt="2"/>
      <dgm:spPr/>
    </dgm:pt>
    <dgm:pt modelId="{ADCE7CF8-B3C9-422C-AF8B-A66388F19FE0}" type="pres">
      <dgm:prSet presAssocID="{5CDBE694-2F25-479F-8225-17668957FDBE}" presName="hierRoot2" presStyleCnt="0">
        <dgm:presLayoutVars>
          <dgm:hierBranch val="init"/>
        </dgm:presLayoutVars>
      </dgm:prSet>
      <dgm:spPr/>
    </dgm:pt>
    <dgm:pt modelId="{AE98E782-1FE0-4384-B04B-31B815B9085C}" type="pres">
      <dgm:prSet presAssocID="{5CDBE694-2F25-479F-8225-17668957FDBE}" presName="rootComposite" presStyleCnt="0"/>
      <dgm:spPr/>
    </dgm:pt>
    <dgm:pt modelId="{05361139-8D25-4EE5-8CD5-5AD08C416B7F}" type="pres">
      <dgm:prSet presAssocID="{5CDBE694-2F25-479F-8225-17668957FDBE}" presName="rootText" presStyleLbl="node2" presStyleIdx="1" presStyleCnt="2">
        <dgm:presLayoutVars>
          <dgm:chPref val="3"/>
        </dgm:presLayoutVars>
      </dgm:prSet>
      <dgm:spPr/>
    </dgm:pt>
    <dgm:pt modelId="{1AB7E435-2D1B-4747-B822-CD64EB2570CA}" type="pres">
      <dgm:prSet presAssocID="{5CDBE694-2F25-479F-8225-17668957FDBE}" presName="rootConnector" presStyleLbl="node2" presStyleIdx="1" presStyleCnt="2"/>
      <dgm:spPr/>
    </dgm:pt>
    <dgm:pt modelId="{B700E9AE-4473-4615-896B-5BE4E807C166}" type="pres">
      <dgm:prSet presAssocID="{5CDBE694-2F25-479F-8225-17668957FDBE}" presName="hierChild4" presStyleCnt="0"/>
      <dgm:spPr/>
    </dgm:pt>
    <dgm:pt modelId="{F7BD33E3-44A7-41BF-9DF8-6B4FEE15363A}" type="pres">
      <dgm:prSet presAssocID="{5CDBE694-2F25-479F-8225-17668957FDBE}" presName="hierChild5" presStyleCnt="0"/>
      <dgm:spPr/>
    </dgm:pt>
    <dgm:pt modelId="{C291897A-E88B-4F98-8A9D-8FC09EB6A30E}" type="pres">
      <dgm:prSet presAssocID="{D1329564-F11C-4018-9B6F-AA3BAE17A1D2}" presName="hierChild3" presStyleCnt="0"/>
      <dgm:spPr/>
    </dgm:pt>
  </dgm:ptLst>
  <dgm:cxnLst>
    <dgm:cxn modelId="{FBE0A015-ADD4-411B-850D-87BFA44C899C}" type="presOf" srcId="{5CDBE694-2F25-479F-8225-17668957FDBE}" destId="{05361139-8D25-4EE5-8CD5-5AD08C416B7F}" srcOrd="0" destOrd="0" presId="urn:microsoft.com/office/officeart/2005/8/layout/orgChart1"/>
    <dgm:cxn modelId="{D166513D-370E-4101-90BD-A88FE12407D4}" type="presOf" srcId="{D1329564-F11C-4018-9B6F-AA3BAE17A1D2}" destId="{D505B12C-9DA7-4B05-BB31-2875BCF84EAD}" srcOrd="1" destOrd="0" presId="urn:microsoft.com/office/officeart/2005/8/layout/orgChart1"/>
    <dgm:cxn modelId="{027E3E5F-31D7-4384-8EFE-A7FCF285659A}" type="presOf" srcId="{11BE4758-F617-4A94-9C02-336F27415921}" destId="{5BB8CD86-4575-422C-88F0-9E2D02197968}" srcOrd="1" destOrd="0" presId="urn:microsoft.com/office/officeart/2005/8/layout/orgChart1"/>
    <dgm:cxn modelId="{C86E157E-8000-4669-A45B-774EFD1F19CA}" type="presOf" srcId="{6DFBFD28-7CA6-4A2D-8884-6EB5B4F420ED}" destId="{8B6E1253-7919-4E75-8D88-CE7CA19D9B5B}" srcOrd="0" destOrd="0" presId="urn:microsoft.com/office/officeart/2005/8/layout/orgChart1"/>
    <dgm:cxn modelId="{C98644A5-CF3D-4629-B1CC-1788EDFABA25}" type="presOf" srcId="{D1329564-F11C-4018-9B6F-AA3BAE17A1D2}" destId="{AD2C28F2-E4D8-40FC-8996-0E986F106439}" srcOrd="0" destOrd="0" presId="urn:microsoft.com/office/officeart/2005/8/layout/orgChart1"/>
    <dgm:cxn modelId="{28735CBA-E6C3-479D-9FE5-07CFA55FDBA1}" type="presOf" srcId="{5CDBE694-2F25-479F-8225-17668957FDBE}" destId="{1AB7E435-2D1B-4747-B822-CD64EB2570CA}" srcOrd="1" destOrd="0" presId="urn:microsoft.com/office/officeart/2005/8/layout/orgChart1"/>
    <dgm:cxn modelId="{136356BD-0F1C-42FC-92DD-38C5F8B8C77E}" type="presOf" srcId="{11BE4758-F617-4A94-9C02-336F27415921}" destId="{C1171F05-504E-4925-A1A9-02005D84A7DC}" srcOrd="0" destOrd="0" presId="urn:microsoft.com/office/officeart/2005/8/layout/orgChart1"/>
    <dgm:cxn modelId="{553798DD-B5C3-4610-B20E-37AF869B625B}" srcId="{D1329564-F11C-4018-9B6F-AA3BAE17A1D2}" destId="{5CDBE694-2F25-479F-8225-17668957FDBE}" srcOrd="1" destOrd="0" parTransId="{679EE983-A477-41B9-9B09-9C58993D2896}" sibTransId="{54AF0EC1-B05B-476D-A715-FEC70E17CC7C}"/>
    <dgm:cxn modelId="{2957FEE9-0AC8-44E3-A4B8-6CD8BFF89186}" srcId="{D1329564-F11C-4018-9B6F-AA3BAE17A1D2}" destId="{11BE4758-F617-4A94-9C02-336F27415921}" srcOrd="0" destOrd="0" parTransId="{6E93AF74-2223-446C-9E65-58CFD25CA7C3}" sibTransId="{4343997A-5E89-4BD4-BA55-BFC531A56927}"/>
    <dgm:cxn modelId="{036BABEF-48E9-498B-8B66-47EF67C21DC3}" srcId="{6DFBFD28-7CA6-4A2D-8884-6EB5B4F420ED}" destId="{D1329564-F11C-4018-9B6F-AA3BAE17A1D2}" srcOrd="0" destOrd="0" parTransId="{39B02E9A-F09C-49B9-B0AD-1A5A0E6C22A2}" sibTransId="{FFA98298-EFCA-4258-9CD5-195CAADF7492}"/>
    <dgm:cxn modelId="{9BA5DBF4-C69C-4E26-9F3D-D2D899F84CF3}" type="presOf" srcId="{679EE983-A477-41B9-9B09-9C58993D2896}" destId="{51B47041-97FA-4F12-9307-AE8E2C432568}" srcOrd="0" destOrd="0" presId="urn:microsoft.com/office/officeart/2005/8/layout/orgChart1"/>
    <dgm:cxn modelId="{C22BABF7-0338-4E2E-BC25-B3797D56AD22}" type="presOf" srcId="{6E93AF74-2223-446C-9E65-58CFD25CA7C3}" destId="{67178D28-DDDA-4412-87DC-510B39C98418}" srcOrd="0" destOrd="0" presId="urn:microsoft.com/office/officeart/2005/8/layout/orgChart1"/>
    <dgm:cxn modelId="{ED32577B-C5B7-4D08-846D-A19EB18B1BB4}" type="presParOf" srcId="{8B6E1253-7919-4E75-8D88-CE7CA19D9B5B}" destId="{5DAB09EB-30A8-4B05-9524-DD03D54CA1A8}" srcOrd="0" destOrd="0" presId="urn:microsoft.com/office/officeart/2005/8/layout/orgChart1"/>
    <dgm:cxn modelId="{4F55E972-6828-4F31-BE8A-7ABC58F4C2CD}" type="presParOf" srcId="{5DAB09EB-30A8-4B05-9524-DD03D54CA1A8}" destId="{715A739C-02B7-477D-8FBA-3F800A505401}" srcOrd="0" destOrd="0" presId="urn:microsoft.com/office/officeart/2005/8/layout/orgChart1"/>
    <dgm:cxn modelId="{7BBBB217-E825-4EBF-993F-81126C696930}" type="presParOf" srcId="{715A739C-02B7-477D-8FBA-3F800A505401}" destId="{AD2C28F2-E4D8-40FC-8996-0E986F106439}" srcOrd="0" destOrd="0" presId="urn:microsoft.com/office/officeart/2005/8/layout/orgChart1"/>
    <dgm:cxn modelId="{0E0E3689-C1A5-48E6-8C5E-063A3AE42AC3}" type="presParOf" srcId="{715A739C-02B7-477D-8FBA-3F800A505401}" destId="{D505B12C-9DA7-4B05-BB31-2875BCF84EAD}" srcOrd="1" destOrd="0" presId="urn:microsoft.com/office/officeart/2005/8/layout/orgChart1"/>
    <dgm:cxn modelId="{8E9386D6-B6A7-47E8-B47A-378C8B13172A}" type="presParOf" srcId="{5DAB09EB-30A8-4B05-9524-DD03D54CA1A8}" destId="{4FA87C6E-BF30-42E7-8FB6-D99DDBC7A7D0}" srcOrd="1" destOrd="0" presId="urn:microsoft.com/office/officeart/2005/8/layout/orgChart1"/>
    <dgm:cxn modelId="{A905DD36-69E3-4391-9E4D-CA583CEF7CC7}" type="presParOf" srcId="{4FA87C6E-BF30-42E7-8FB6-D99DDBC7A7D0}" destId="{67178D28-DDDA-4412-87DC-510B39C98418}" srcOrd="0" destOrd="0" presId="urn:microsoft.com/office/officeart/2005/8/layout/orgChart1"/>
    <dgm:cxn modelId="{96A23D8B-6661-4759-8F43-EEFB7DD192DB}" type="presParOf" srcId="{4FA87C6E-BF30-42E7-8FB6-D99DDBC7A7D0}" destId="{F8CD620A-EC25-497A-964C-062959F2187A}" srcOrd="1" destOrd="0" presId="urn:microsoft.com/office/officeart/2005/8/layout/orgChart1"/>
    <dgm:cxn modelId="{BC80AC98-EC76-4ECA-93BE-27D5904C604D}" type="presParOf" srcId="{F8CD620A-EC25-497A-964C-062959F2187A}" destId="{1570B9E7-2C46-4133-B78E-0BA2D4409533}" srcOrd="0" destOrd="0" presId="urn:microsoft.com/office/officeart/2005/8/layout/orgChart1"/>
    <dgm:cxn modelId="{0826EB66-17F5-461C-BD12-56285BA5ED3D}" type="presParOf" srcId="{1570B9E7-2C46-4133-B78E-0BA2D4409533}" destId="{C1171F05-504E-4925-A1A9-02005D84A7DC}" srcOrd="0" destOrd="0" presId="urn:microsoft.com/office/officeart/2005/8/layout/orgChart1"/>
    <dgm:cxn modelId="{CA6D4AB9-2670-4737-8EB8-28913DBE9C03}" type="presParOf" srcId="{1570B9E7-2C46-4133-B78E-0BA2D4409533}" destId="{5BB8CD86-4575-422C-88F0-9E2D02197968}" srcOrd="1" destOrd="0" presId="urn:microsoft.com/office/officeart/2005/8/layout/orgChart1"/>
    <dgm:cxn modelId="{1F079A76-0478-4BDB-909B-D6A8D582CDC0}" type="presParOf" srcId="{F8CD620A-EC25-497A-964C-062959F2187A}" destId="{3FE94C47-403F-4820-8472-7119ACD7A0C3}" srcOrd="1" destOrd="0" presId="urn:microsoft.com/office/officeart/2005/8/layout/orgChart1"/>
    <dgm:cxn modelId="{408CAAC6-8244-4D9C-9B2F-D605FD299AF6}" type="presParOf" srcId="{F8CD620A-EC25-497A-964C-062959F2187A}" destId="{E265664A-62E7-439E-B948-6AF2D861C465}" srcOrd="2" destOrd="0" presId="urn:microsoft.com/office/officeart/2005/8/layout/orgChart1"/>
    <dgm:cxn modelId="{AA953196-36B1-4055-BD05-A4891DDA8D64}" type="presParOf" srcId="{4FA87C6E-BF30-42E7-8FB6-D99DDBC7A7D0}" destId="{51B47041-97FA-4F12-9307-AE8E2C432568}" srcOrd="2" destOrd="0" presId="urn:microsoft.com/office/officeart/2005/8/layout/orgChart1"/>
    <dgm:cxn modelId="{5788A506-8BEF-4B2E-883D-C484E9074FDC}" type="presParOf" srcId="{4FA87C6E-BF30-42E7-8FB6-D99DDBC7A7D0}" destId="{ADCE7CF8-B3C9-422C-AF8B-A66388F19FE0}" srcOrd="3" destOrd="0" presId="urn:microsoft.com/office/officeart/2005/8/layout/orgChart1"/>
    <dgm:cxn modelId="{D7AE5651-A46B-4364-B9CD-2397F1ACCC2A}" type="presParOf" srcId="{ADCE7CF8-B3C9-422C-AF8B-A66388F19FE0}" destId="{AE98E782-1FE0-4384-B04B-31B815B9085C}" srcOrd="0" destOrd="0" presId="urn:microsoft.com/office/officeart/2005/8/layout/orgChart1"/>
    <dgm:cxn modelId="{8A6C66C3-AB70-41B2-BA1D-2AF7A263E154}" type="presParOf" srcId="{AE98E782-1FE0-4384-B04B-31B815B9085C}" destId="{05361139-8D25-4EE5-8CD5-5AD08C416B7F}" srcOrd="0" destOrd="0" presId="urn:microsoft.com/office/officeart/2005/8/layout/orgChart1"/>
    <dgm:cxn modelId="{CCA88EE1-DB04-41E5-A6B2-EEAF0CA9410E}" type="presParOf" srcId="{AE98E782-1FE0-4384-B04B-31B815B9085C}" destId="{1AB7E435-2D1B-4747-B822-CD64EB2570CA}" srcOrd="1" destOrd="0" presId="urn:microsoft.com/office/officeart/2005/8/layout/orgChart1"/>
    <dgm:cxn modelId="{9EDD41A3-8EFB-434D-8E63-A72593AFD035}" type="presParOf" srcId="{ADCE7CF8-B3C9-422C-AF8B-A66388F19FE0}" destId="{B700E9AE-4473-4615-896B-5BE4E807C166}" srcOrd="1" destOrd="0" presId="urn:microsoft.com/office/officeart/2005/8/layout/orgChart1"/>
    <dgm:cxn modelId="{6AA95D88-F1C0-4A1B-9727-9005DED22631}" type="presParOf" srcId="{ADCE7CF8-B3C9-422C-AF8B-A66388F19FE0}" destId="{F7BD33E3-44A7-41BF-9DF8-6B4FEE15363A}" srcOrd="2" destOrd="0" presId="urn:microsoft.com/office/officeart/2005/8/layout/orgChart1"/>
    <dgm:cxn modelId="{3E2F23D6-7E5A-4153-B692-F4BDB4D84CF5}" type="presParOf" srcId="{5DAB09EB-30A8-4B05-9524-DD03D54CA1A8}" destId="{C291897A-E88B-4F98-8A9D-8FC09EB6A30E}"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85F400-69F3-43D2-AE6C-571C6B188E19}" type="doc">
      <dgm:prSet loTypeId="urn:microsoft.com/office/officeart/2005/8/layout/process1" loCatId="process" qsTypeId="urn:microsoft.com/office/officeart/2005/8/quickstyle/simple1" qsCatId="simple" csTypeId="urn:microsoft.com/office/officeart/2005/8/colors/accent1_2" csCatId="accent1"/>
      <dgm:spPr/>
      <dgm:t>
        <a:bodyPr/>
        <a:lstStyle/>
        <a:p>
          <a:endParaRPr lang="en-US"/>
        </a:p>
      </dgm:t>
    </dgm:pt>
    <dgm:pt modelId="{368342D9-978A-400D-9DAF-BCA73A0E0147}">
      <dgm:prSet/>
      <dgm:spPr/>
      <dgm:t>
        <a:bodyPr/>
        <a:lstStyle/>
        <a:p>
          <a:r>
            <a:rPr lang="en-US" baseline="0"/>
            <a:t>Create a server-level login</a:t>
          </a:r>
          <a:endParaRPr lang="en-US"/>
        </a:p>
      </dgm:t>
    </dgm:pt>
    <dgm:pt modelId="{BE8A6E3A-67D6-448F-8D00-88B2B6B8AC43}" type="parTrans" cxnId="{289B1756-0B4A-47D2-8930-7C5888A2DE61}">
      <dgm:prSet/>
      <dgm:spPr/>
      <dgm:t>
        <a:bodyPr/>
        <a:lstStyle/>
        <a:p>
          <a:endParaRPr lang="en-US"/>
        </a:p>
      </dgm:t>
    </dgm:pt>
    <dgm:pt modelId="{3C8F4530-7A6A-4174-A1B1-79B64CD8FA69}" type="sibTrans" cxnId="{289B1756-0B4A-47D2-8930-7C5888A2DE61}">
      <dgm:prSet/>
      <dgm:spPr/>
      <dgm:t>
        <a:bodyPr/>
        <a:lstStyle/>
        <a:p>
          <a:endParaRPr lang="en-US"/>
        </a:p>
      </dgm:t>
    </dgm:pt>
    <dgm:pt modelId="{91FCCF77-FB70-4D48-A9ED-22F997D059A5}">
      <dgm:prSet/>
      <dgm:spPr/>
      <dgm:t>
        <a:bodyPr/>
        <a:lstStyle/>
        <a:p>
          <a:r>
            <a:rPr lang="en-US" baseline="0" dirty="0"/>
            <a:t>Create a user in virtual master</a:t>
          </a:r>
          <a:endParaRPr lang="en-US" dirty="0"/>
        </a:p>
      </dgm:t>
    </dgm:pt>
    <dgm:pt modelId="{C35C29BA-F7B0-4840-B56C-A4BE6E2DD888}" type="parTrans" cxnId="{A5F52B1C-B4E2-4BD9-934E-58C3F1D54012}">
      <dgm:prSet/>
      <dgm:spPr/>
      <dgm:t>
        <a:bodyPr/>
        <a:lstStyle/>
        <a:p>
          <a:endParaRPr lang="en-US"/>
        </a:p>
      </dgm:t>
    </dgm:pt>
    <dgm:pt modelId="{E6742788-05AA-4E9D-9CC3-381D8D2E7AE9}" type="sibTrans" cxnId="{A5F52B1C-B4E2-4BD9-934E-58C3F1D54012}">
      <dgm:prSet/>
      <dgm:spPr/>
      <dgm:t>
        <a:bodyPr/>
        <a:lstStyle/>
        <a:p>
          <a:endParaRPr lang="en-US"/>
        </a:p>
      </dgm:t>
    </dgm:pt>
    <dgm:pt modelId="{F4DA9B63-5C76-4D1D-B379-17A35645D171}">
      <dgm:prSet/>
      <dgm:spPr/>
      <dgm:t>
        <a:bodyPr/>
        <a:lstStyle/>
        <a:p>
          <a:r>
            <a:rPr lang="en-US" baseline="0"/>
            <a:t>Add to dbmanager</a:t>
          </a:r>
          <a:endParaRPr lang="en-US"/>
        </a:p>
      </dgm:t>
    </dgm:pt>
    <dgm:pt modelId="{2D6CAAD7-4E73-472E-BF1D-B9B0BCFAB5F9}" type="parTrans" cxnId="{B9B76629-ACCD-471E-B4FA-2614928B6280}">
      <dgm:prSet/>
      <dgm:spPr/>
      <dgm:t>
        <a:bodyPr/>
        <a:lstStyle/>
        <a:p>
          <a:endParaRPr lang="en-US"/>
        </a:p>
      </dgm:t>
    </dgm:pt>
    <dgm:pt modelId="{BDAA60CB-8D9D-4B82-BAB4-A5D5A0AF88EB}" type="sibTrans" cxnId="{B9B76629-ACCD-471E-B4FA-2614928B6280}">
      <dgm:prSet/>
      <dgm:spPr/>
      <dgm:t>
        <a:bodyPr/>
        <a:lstStyle/>
        <a:p>
          <a:endParaRPr lang="en-US"/>
        </a:p>
      </dgm:t>
    </dgm:pt>
    <dgm:pt modelId="{0026A431-2560-4C05-8064-EBFADDB24637}" type="pres">
      <dgm:prSet presAssocID="{A585F400-69F3-43D2-AE6C-571C6B188E19}" presName="Name0" presStyleCnt="0">
        <dgm:presLayoutVars>
          <dgm:dir/>
          <dgm:resizeHandles val="exact"/>
        </dgm:presLayoutVars>
      </dgm:prSet>
      <dgm:spPr/>
    </dgm:pt>
    <dgm:pt modelId="{ED131ED5-7019-4CC6-9242-3861DBA15046}" type="pres">
      <dgm:prSet presAssocID="{368342D9-978A-400D-9DAF-BCA73A0E0147}" presName="node" presStyleLbl="node1" presStyleIdx="0" presStyleCnt="3">
        <dgm:presLayoutVars>
          <dgm:bulletEnabled val="1"/>
        </dgm:presLayoutVars>
      </dgm:prSet>
      <dgm:spPr/>
    </dgm:pt>
    <dgm:pt modelId="{5343C535-DE4F-4F1B-9C84-0AE85764AE94}" type="pres">
      <dgm:prSet presAssocID="{3C8F4530-7A6A-4174-A1B1-79B64CD8FA69}" presName="sibTrans" presStyleLbl="sibTrans2D1" presStyleIdx="0" presStyleCnt="2"/>
      <dgm:spPr/>
    </dgm:pt>
    <dgm:pt modelId="{562479A0-9F06-4843-80B7-558F8FDA118B}" type="pres">
      <dgm:prSet presAssocID="{3C8F4530-7A6A-4174-A1B1-79B64CD8FA69}" presName="connectorText" presStyleLbl="sibTrans2D1" presStyleIdx="0" presStyleCnt="2"/>
      <dgm:spPr/>
    </dgm:pt>
    <dgm:pt modelId="{7DDB43B4-EAFF-408C-9BC8-6322153BBCD8}" type="pres">
      <dgm:prSet presAssocID="{91FCCF77-FB70-4D48-A9ED-22F997D059A5}" presName="node" presStyleLbl="node1" presStyleIdx="1" presStyleCnt="3">
        <dgm:presLayoutVars>
          <dgm:bulletEnabled val="1"/>
        </dgm:presLayoutVars>
      </dgm:prSet>
      <dgm:spPr/>
    </dgm:pt>
    <dgm:pt modelId="{C84D97D5-0F1D-46EA-91E7-F0509C60C5FD}" type="pres">
      <dgm:prSet presAssocID="{E6742788-05AA-4E9D-9CC3-381D8D2E7AE9}" presName="sibTrans" presStyleLbl="sibTrans2D1" presStyleIdx="1" presStyleCnt="2"/>
      <dgm:spPr/>
    </dgm:pt>
    <dgm:pt modelId="{D0B148B1-66C1-4CA9-8D0F-68D885D892D9}" type="pres">
      <dgm:prSet presAssocID="{E6742788-05AA-4E9D-9CC3-381D8D2E7AE9}" presName="connectorText" presStyleLbl="sibTrans2D1" presStyleIdx="1" presStyleCnt="2"/>
      <dgm:spPr/>
    </dgm:pt>
    <dgm:pt modelId="{BCB706DA-A027-441F-99B4-872B29972A63}" type="pres">
      <dgm:prSet presAssocID="{F4DA9B63-5C76-4D1D-B379-17A35645D171}" presName="node" presStyleLbl="node1" presStyleIdx="2" presStyleCnt="3">
        <dgm:presLayoutVars>
          <dgm:bulletEnabled val="1"/>
        </dgm:presLayoutVars>
      </dgm:prSet>
      <dgm:spPr/>
    </dgm:pt>
  </dgm:ptLst>
  <dgm:cxnLst>
    <dgm:cxn modelId="{AC357706-1394-4D3E-BF40-75D80800E0BE}" type="presOf" srcId="{F4DA9B63-5C76-4D1D-B379-17A35645D171}" destId="{BCB706DA-A027-441F-99B4-872B29972A63}" srcOrd="0" destOrd="0" presId="urn:microsoft.com/office/officeart/2005/8/layout/process1"/>
    <dgm:cxn modelId="{A5F52B1C-B4E2-4BD9-934E-58C3F1D54012}" srcId="{A585F400-69F3-43D2-AE6C-571C6B188E19}" destId="{91FCCF77-FB70-4D48-A9ED-22F997D059A5}" srcOrd="1" destOrd="0" parTransId="{C35C29BA-F7B0-4840-B56C-A4BE6E2DD888}" sibTransId="{E6742788-05AA-4E9D-9CC3-381D8D2E7AE9}"/>
    <dgm:cxn modelId="{B9B76629-ACCD-471E-B4FA-2614928B6280}" srcId="{A585F400-69F3-43D2-AE6C-571C6B188E19}" destId="{F4DA9B63-5C76-4D1D-B379-17A35645D171}" srcOrd="2" destOrd="0" parTransId="{2D6CAAD7-4E73-472E-BF1D-B9B0BCFAB5F9}" sibTransId="{BDAA60CB-8D9D-4B82-BAB4-A5D5A0AF88EB}"/>
    <dgm:cxn modelId="{FDCA9A3A-8FF4-4863-AD61-009198039689}" type="presOf" srcId="{A585F400-69F3-43D2-AE6C-571C6B188E19}" destId="{0026A431-2560-4C05-8064-EBFADDB24637}" srcOrd="0" destOrd="0" presId="urn:microsoft.com/office/officeart/2005/8/layout/process1"/>
    <dgm:cxn modelId="{0E136866-734F-4B5B-B08C-4D54464D377C}" type="presOf" srcId="{E6742788-05AA-4E9D-9CC3-381D8D2E7AE9}" destId="{C84D97D5-0F1D-46EA-91E7-F0509C60C5FD}" srcOrd="0" destOrd="0" presId="urn:microsoft.com/office/officeart/2005/8/layout/process1"/>
    <dgm:cxn modelId="{DD446347-CC9D-4AEF-AA6B-B80F6753BE9F}" type="presOf" srcId="{91FCCF77-FB70-4D48-A9ED-22F997D059A5}" destId="{7DDB43B4-EAFF-408C-9BC8-6322153BBCD8}" srcOrd="0" destOrd="0" presId="urn:microsoft.com/office/officeart/2005/8/layout/process1"/>
    <dgm:cxn modelId="{213A7C52-19C7-4005-A472-931723AB7381}" type="presOf" srcId="{E6742788-05AA-4E9D-9CC3-381D8D2E7AE9}" destId="{D0B148B1-66C1-4CA9-8D0F-68D885D892D9}" srcOrd="1" destOrd="0" presId="urn:microsoft.com/office/officeart/2005/8/layout/process1"/>
    <dgm:cxn modelId="{289B1756-0B4A-47D2-8930-7C5888A2DE61}" srcId="{A585F400-69F3-43D2-AE6C-571C6B188E19}" destId="{368342D9-978A-400D-9DAF-BCA73A0E0147}" srcOrd="0" destOrd="0" parTransId="{BE8A6E3A-67D6-448F-8D00-88B2B6B8AC43}" sibTransId="{3C8F4530-7A6A-4174-A1B1-79B64CD8FA69}"/>
    <dgm:cxn modelId="{56CD127F-7A54-4A75-BDF4-AB002B8A43B2}" type="presOf" srcId="{3C8F4530-7A6A-4174-A1B1-79B64CD8FA69}" destId="{562479A0-9F06-4843-80B7-558F8FDA118B}" srcOrd="1" destOrd="0" presId="urn:microsoft.com/office/officeart/2005/8/layout/process1"/>
    <dgm:cxn modelId="{C14001BB-AEAC-4F30-BCD5-BC1914944F66}" type="presOf" srcId="{368342D9-978A-400D-9DAF-BCA73A0E0147}" destId="{ED131ED5-7019-4CC6-9242-3861DBA15046}" srcOrd="0" destOrd="0" presId="urn:microsoft.com/office/officeart/2005/8/layout/process1"/>
    <dgm:cxn modelId="{27BADBDB-FF42-4970-85DD-32607DFBC0AC}" type="presOf" srcId="{3C8F4530-7A6A-4174-A1B1-79B64CD8FA69}" destId="{5343C535-DE4F-4F1B-9C84-0AE85764AE94}" srcOrd="0" destOrd="0" presId="urn:microsoft.com/office/officeart/2005/8/layout/process1"/>
    <dgm:cxn modelId="{D7A5DA56-F183-4FA4-9B51-525DD2FCFED8}" type="presParOf" srcId="{0026A431-2560-4C05-8064-EBFADDB24637}" destId="{ED131ED5-7019-4CC6-9242-3861DBA15046}" srcOrd="0" destOrd="0" presId="urn:microsoft.com/office/officeart/2005/8/layout/process1"/>
    <dgm:cxn modelId="{76A3BBD7-9A5D-4B3A-9D67-34FC404AB871}" type="presParOf" srcId="{0026A431-2560-4C05-8064-EBFADDB24637}" destId="{5343C535-DE4F-4F1B-9C84-0AE85764AE94}" srcOrd="1" destOrd="0" presId="urn:microsoft.com/office/officeart/2005/8/layout/process1"/>
    <dgm:cxn modelId="{B762C51C-BE0D-41DB-884E-F4121DC60202}" type="presParOf" srcId="{5343C535-DE4F-4F1B-9C84-0AE85764AE94}" destId="{562479A0-9F06-4843-80B7-558F8FDA118B}" srcOrd="0" destOrd="0" presId="urn:microsoft.com/office/officeart/2005/8/layout/process1"/>
    <dgm:cxn modelId="{1E2C2D42-E474-450C-A06A-852B2D22810D}" type="presParOf" srcId="{0026A431-2560-4C05-8064-EBFADDB24637}" destId="{7DDB43B4-EAFF-408C-9BC8-6322153BBCD8}" srcOrd="2" destOrd="0" presId="urn:microsoft.com/office/officeart/2005/8/layout/process1"/>
    <dgm:cxn modelId="{F23879B8-AE36-4E46-8E0B-3926D0DC7FB4}" type="presParOf" srcId="{0026A431-2560-4C05-8064-EBFADDB24637}" destId="{C84D97D5-0F1D-46EA-91E7-F0509C60C5FD}" srcOrd="3" destOrd="0" presId="urn:microsoft.com/office/officeart/2005/8/layout/process1"/>
    <dgm:cxn modelId="{7CBFA160-FBFF-4948-BD81-35CEC147420A}" type="presParOf" srcId="{C84D97D5-0F1D-46EA-91E7-F0509C60C5FD}" destId="{D0B148B1-66C1-4CA9-8D0F-68D885D892D9}" srcOrd="0" destOrd="0" presId="urn:microsoft.com/office/officeart/2005/8/layout/process1"/>
    <dgm:cxn modelId="{2C9A28E0-268C-4D05-AAE2-93F8D249DF5E}" type="presParOf" srcId="{0026A431-2560-4C05-8064-EBFADDB24637}" destId="{BCB706DA-A027-441F-99B4-872B29972A6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85F400-69F3-43D2-AE6C-571C6B188E19}"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368342D9-978A-400D-9DAF-BCA73A0E0147}">
      <dgm:prSet/>
      <dgm:spPr/>
      <dgm:t>
        <a:bodyPr/>
        <a:lstStyle/>
        <a:p>
          <a:r>
            <a:rPr lang="en-US">
              <a:latin typeface="Segoe UI Light" panose="020B0502040204020203" pitchFamily="34" charset="0"/>
              <a:ea typeface="+mn-ea"/>
              <a:cs typeface="Segoe UI Light" panose="020B0502040204020203" pitchFamily="34" charset="0"/>
            </a:rPr>
            <a:t>Create a server-level login</a:t>
          </a:r>
          <a:endParaRPr lang="en-US"/>
        </a:p>
      </dgm:t>
    </dgm:pt>
    <dgm:pt modelId="{BE8A6E3A-67D6-448F-8D00-88B2B6B8AC43}" type="parTrans" cxnId="{289B1756-0B4A-47D2-8930-7C5888A2DE61}">
      <dgm:prSet/>
      <dgm:spPr/>
      <dgm:t>
        <a:bodyPr/>
        <a:lstStyle/>
        <a:p>
          <a:endParaRPr lang="en-US"/>
        </a:p>
      </dgm:t>
    </dgm:pt>
    <dgm:pt modelId="{3C8F4530-7A6A-4174-A1B1-79B64CD8FA69}" type="sibTrans" cxnId="{289B1756-0B4A-47D2-8930-7C5888A2DE61}">
      <dgm:prSet/>
      <dgm:spPr/>
      <dgm:t>
        <a:bodyPr/>
        <a:lstStyle/>
        <a:p>
          <a:endParaRPr lang="en-US"/>
        </a:p>
      </dgm:t>
    </dgm:pt>
    <dgm:pt modelId="{822E5089-B1C0-4928-9DC8-49A826E2602D}">
      <dgm:prSet/>
      <dgm:spPr/>
      <dgm:t>
        <a:bodyPr/>
        <a:lstStyle/>
        <a:p>
          <a:r>
            <a:rPr lang="en-US" dirty="0">
              <a:latin typeface="Segoe UI Light" panose="020B0502040204020203" pitchFamily="34" charset="0"/>
              <a:cs typeface="Segoe UI Light" panose="020B0502040204020203" pitchFamily="34" charset="0"/>
            </a:rPr>
            <a:t>Create a user in virtual master or contained user (preferred)</a:t>
          </a:r>
        </a:p>
      </dgm:t>
    </dgm:pt>
    <dgm:pt modelId="{34C07722-F543-497C-88AC-E3202A125992}" type="parTrans" cxnId="{456961A3-A474-4B83-9871-071CC373454D}">
      <dgm:prSet/>
      <dgm:spPr/>
      <dgm:t>
        <a:bodyPr/>
        <a:lstStyle/>
        <a:p>
          <a:endParaRPr lang="en-US"/>
        </a:p>
      </dgm:t>
    </dgm:pt>
    <dgm:pt modelId="{7CF76615-08B2-447A-9339-003594FAB71C}" type="sibTrans" cxnId="{456961A3-A474-4B83-9871-071CC373454D}">
      <dgm:prSet/>
      <dgm:spPr/>
      <dgm:t>
        <a:bodyPr/>
        <a:lstStyle/>
        <a:p>
          <a:endParaRPr lang="en-US"/>
        </a:p>
      </dgm:t>
    </dgm:pt>
    <dgm:pt modelId="{74C08993-63C8-4991-9A9A-9B03F902D1D2}">
      <dgm:prSet phldrT="[Text]"/>
      <dgm:spPr/>
      <dgm:t>
        <a:bodyPr/>
        <a:lstStyle/>
        <a:p>
          <a:r>
            <a:rPr lang="en-US">
              <a:latin typeface="Segoe UI Light" panose="020B0502040204020203" pitchFamily="34" charset="0"/>
              <a:ea typeface="+mn-ea"/>
              <a:cs typeface="Segoe UI Light" panose="020B0502040204020203" pitchFamily="34" charset="0"/>
            </a:rPr>
            <a:t>Add to loginmanager</a:t>
          </a:r>
        </a:p>
      </dgm:t>
    </dgm:pt>
    <dgm:pt modelId="{C1E12769-6DFA-414B-999B-CDE3550A1D27}" type="parTrans" cxnId="{ACA927BD-0CD0-495D-99F5-395582F3FB68}">
      <dgm:prSet/>
      <dgm:spPr/>
      <dgm:t>
        <a:bodyPr/>
        <a:lstStyle/>
        <a:p>
          <a:endParaRPr lang="en-US"/>
        </a:p>
      </dgm:t>
    </dgm:pt>
    <dgm:pt modelId="{78C61947-E06F-40B1-940C-D82755ECF166}" type="sibTrans" cxnId="{ACA927BD-0CD0-495D-99F5-395582F3FB68}">
      <dgm:prSet/>
      <dgm:spPr/>
      <dgm:t>
        <a:bodyPr/>
        <a:lstStyle/>
        <a:p>
          <a:endParaRPr lang="en-US"/>
        </a:p>
      </dgm:t>
    </dgm:pt>
    <dgm:pt modelId="{0026A431-2560-4C05-8064-EBFADDB24637}" type="pres">
      <dgm:prSet presAssocID="{A585F400-69F3-43D2-AE6C-571C6B188E19}" presName="Name0" presStyleCnt="0">
        <dgm:presLayoutVars>
          <dgm:dir/>
          <dgm:resizeHandles val="exact"/>
        </dgm:presLayoutVars>
      </dgm:prSet>
      <dgm:spPr/>
    </dgm:pt>
    <dgm:pt modelId="{ED131ED5-7019-4CC6-9242-3861DBA15046}" type="pres">
      <dgm:prSet presAssocID="{368342D9-978A-400D-9DAF-BCA73A0E0147}" presName="node" presStyleLbl="node1" presStyleIdx="0" presStyleCnt="3">
        <dgm:presLayoutVars>
          <dgm:bulletEnabled val="1"/>
        </dgm:presLayoutVars>
      </dgm:prSet>
      <dgm:spPr/>
    </dgm:pt>
    <dgm:pt modelId="{5343C535-DE4F-4F1B-9C84-0AE85764AE94}" type="pres">
      <dgm:prSet presAssocID="{3C8F4530-7A6A-4174-A1B1-79B64CD8FA69}" presName="sibTrans" presStyleLbl="sibTrans2D1" presStyleIdx="0" presStyleCnt="2"/>
      <dgm:spPr/>
    </dgm:pt>
    <dgm:pt modelId="{562479A0-9F06-4843-80B7-558F8FDA118B}" type="pres">
      <dgm:prSet presAssocID="{3C8F4530-7A6A-4174-A1B1-79B64CD8FA69}" presName="connectorText" presStyleLbl="sibTrans2D1" presStyleIdx="0" presStyleCnt="2"/>
      <dgm:spPr/>
    </dgm:pt>
    <dgm:pt modelId="{D6E0A1F6-34B0-495D-8E56-3EAC3110A19D}" type="pres">
      <dgm:prSet presAssocID="{822E5089-B1C0-4928-9DC8-49A826E2602D}" presName="node" presStyleLbl="node1" presStyleIdx="1" presStyleCnt="3">
        <dgm:presLayoutVars>
          <dgm:bulletEnabled val="1"/>
        </dgm:presLayoutVars>
      </dgm:prSet>
      <dgm:spPr/>
    </dgm:pt>
    <dgm:pt modelId="{63991C44-0B95-46EB-8C10-2C58001A6912}" type="pres">
      <dgm:prSet presAssocID="{7CF76615-08B2-447A-9339-003594FAB71C}" presName="sibTrans" presStyleLbl="sibTrans2D1" presStyleIdx="1" presStyleCnt="2"/>
      <dgm:spPr/>
    </dgm:pt>
    <dgm:pt modelId="{C76C4B7B-8E70-4C65-9439-0D368394FE4D}" type="pres">
      <dgm:prSet presAssocID="{7CF76615-08B2-447A-9339-003594FAB71C}" presName="connectorText" presStyleLbl="sibTrans2D1" presStyleIdx="1" presStyleCnt="2"/>
      <dgm:spPr/>
    </dgm:pt>
    <dgm:pt modelId="{EFFFC366-2D4C-434E-9B0E-3B9389D36D90}" type="pres">
      <dgm:prSet presAssocID="{74C08993-63C8-4991-9A9A-9B03F902D1D2}" presName="node" presStyleLbl="node1" presStyleIdx="2" presStyleCnt="3">
        <dgm:presLayoutVars>
          <dgm:bulletEnabled val="1"/>
        </dgm:presLayoutVars>
      </dgm:prSet>
      <dgm:spPr/>
    </dgm:pt>
  </dgm:ptLst>
  <dgm:cxnLst>
    <dgm:cxn modelId="{74347510-9979-4716-9882-BF18BA49D240}" type="presOf" srcId="{7CF76615-08B2-447A-9339-003594FAB71C}" destId="{C76C4B7B-8E70-4C65-9439-0D368394FE4D}" srcOrd="1" destOrd="0" presId="urn:microsoft.com/office/officeart/2005/8/layout/process1"/>
    <dgm:cxn modelId="{FDCA9A3A-8FF4-4863-AD61-009198039689}" type="presOf" srcId="{A585F400-69F3-43D2-AE6C-571C6B188E19}" destId="{0026A431-2560-4C05-8064-EBFADDB24637}" srcOrd="0" destOrd="0" presId="urn:microsoft.com/office/officeart/2005/8/layout/process1"/>
    <dgm:cxn modelId="{289B1756-0B4A-47D2-8930-7C5888A2DE61}" srcId="{A585F400-69F3-43D2-AE6C-571C6B188E19}" destId="{368342D9-978A-400D-9DAF-BCA73A0E0147}" srcOrd="0" destOrd="0" parTransId="{BE8A6E3A-67D6-448F-8D00-88B2B6B8AC43}" sibTransId="{3C8F4530-7A6A-4174-A1B1-79B64CD8FA69}"/>
    <dgm:cxn modelId="{56CD127F-7A54-4A75-BDF4-AB002B8A43B2}" type="presOf" srcId="{3C8F4530-7A6A-4174-A1B1-79B64CD8FA69}" destId="{562479A0-9F06-4843-80B7-558F8FDA118B}" srcOrd="1" destOrd="0" presId="urn:microsoft.com/office/officeart/2005/8/layout/process1"/>
    <dgm:cxn modelId="{456961A3-A474-4B83-9871-071CC373454D}" srcId="{A585F400-69F3-43D2-AE6C-571C6B188E19}" destId="{822E5089-B1C0-4928-9DC8-49A826E2602D}" srcOrd="1" destOrd="0" parTransId="{34C07722-F543-497C-88AC-E3202A125992}" sibTransId="{7CF76615-08B2-447A-9339-003594FAB71C}"/>
    <dgm:cxn modelId="{C14001BB-AEAC-4F30-BCD5-BC1914944F66}" type="presOf" srcId="{368342D9-978A-400D-9DAF-BCA73A0E0147}" destId="{ED131ED5-7019-4CC6-9242-3861DBA15046}" srcOrd="0" destOrd="0" presId="urn:microsoft.com/office/officeart/2005/8/layout/process1"/>
    <dgm:cxn modelId="{ACA927BD-0CD0-495D-99F5-395582F3FB68}" srcId="{A585F400-69F3-43D2-AE6C-571C6B188E19}" destId="{74C08993-63C8-4991-9A9A-9B03F902D1D2}" srcOrd="2" destOrd="0" parTransId="{C1E12769-6DFA-414B-999B-CDE3550A1D27}" sibTransId="{78C61947-E06F-40B1-940C-D82755ECF166}"/>
    <dgm:cxn modelId="{A26F39C4-A712-4075-8FE2-5A626AC3734A}" type="presOf" srcId="{74C08993-63C8-4991-9A9A-9B03F902D1D2}" destId="{EFFFC366-2D4C-434E-9B0E-3B9389D36D90}" srcOrd="0" destOrd="0" presId="urn:microsoft.com/office/officeart/2005/8/layout/process1"/>
    <dgm:cxn modelId="{25B93ED6-39AD-4D33-BE33-3D040D5F7838}" type="presOf" srcId="{7CF76615-08B2-447A-9339-003594FAB71C}" destId="{63991C44-0B95-46EB-8C10-2C58001A6912}" srcOrd="0" destOrd="0" presId="urn:microsoft.com/office/officeart/2005/8/layout/process1"/>
    <dgm:cxn modelId="{27BADBDB-FF42-4970-85DD-32607DFBC0AC}" type="presOf" srcId="{3C8F4530-7A6A-4174-A1B1-79B64CD8FA69}" destId="{5343C535-DE4F-4F1B-9C84-0AE85764AE94}" srcOrd="0" destOrd="0" presId="urn:microsoft.com/office/officeart/2005/8/layout/process1"/>
    <dgm:cxn modelId="{B0DCCCF3-00FA-4E4C-9EA9-AA66F9C3162A}" type="presOf" srcId="{822E5089-B1C0-4928-9DC8-49A826E2602D}" destId="{D6E0A1F6-34B0-495D-8E56-3EAC3110A19D}" srcOrd="0" destOrd="0" presId="urn:microsoft.com/office/officeart/2005/8/layout/process1"/>
    <dgm:cxn modelId="{D7A5DA56-F183-4FA4-9B51-525DD2FCFED8}" type="presParOf" srcId="{0026A431-2560-4C05-8064-EBFADDB24637}" destId="{ED131ED5-7019-4CC6-9242-3861DBA15046}" srcOrd="0" destOrd="0" presId="urn:microsoft.com/office/officeart/2005/8/layout/process1"/>
    <dgm:cxn modelId="{76A3BBD7-9A5D-4B3A-9D67-34FC404AB871}" type="presParOf" srcId="{0026A431-2560-4C05-8064-EBFADDB24637}" destId="{5343C535-DE4F-4F1B-9C84-0AE85764AE94}" srcOrd="1" destOrd="0" presId="urn:microsoft.com/office/officeart/2005/8/layout/process1"/>
    <dgm:cxn modelId="{B762C51C-BE0D-41DB-884E-F4121DC60202}" type="presParOf" srcId="{5343C535-DE4F-4F1B-9C84-0AE85764AE94}" destId="{562479A0-9F06-4843-80B7-558F8FDA118B}" srcOrd="0" destOrd="0" presId="urn:microsoft.com/office/officeart/2005/8/layout/process1"/>
    <dgm:cxn modelId="{80929985-ED45-444A-B5F6-F66D26AB2C5B}" type="presParOf" srcId="{0026A431-2560-4C05-8064-EBFADDB24637}" destId="{D6E0A1F6-34B0-495D-8E56-3EAC3110A19D}" srcOrd="2" destOrd="0" presId="urn:microsoft.com/office/officeart/2005/8/layout/process1"/>
    <dgm:cxn modelId="{97F9E4F8-5418-42DC-B51A-90F40A345BDF}" type="presParOf" srcId="{0026A431-2560-4C05-8064-EBFADDB24637}" destId="{63991C44-0B95-46EB-8C10-2C58001A6912}" srcOrd="3" destOrd="0" presId="urn:microsoft.com/office/officeart/2005/8/layout/process1"/>
    <dgm:cxn modelId="{458EB122-1562-4889-BCC7-DF246390CE25}" type="presParOf" srcId="{63991C44-0B95-46EB-8C10-2C58001A6912}" destId="{C76C4B7B-8E70-4C65-9439-0D368394FE4D}" srcOrd="0" destOrd="0" presId="urn:microsoft.com/office/officeart/2005/8/layout/process1"/>
    <dgm:cxn modelId="{8E31DE42-63B7-4E44-A8A5-A2AE9F70A2AF}" type="presParOf" srcId="{0026A431-2560-4C05-8064-EBFADDB24637}" destId="{EFFFC366-2D4C-434E-9B0E-3B9389D36D90}"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40A7AA9-C745-4DB0-976C-DD47406D9EC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1A6419A-F416-47C9-8F29-EDDBF99F327B}">
      <dgm:prSet/>
      <dgm:spPr/>
      <dgm:t>
        <a:bodyPr/>
        <a:lstStyle/>
        <a:p>
          <a:r>
            <a:rPr lang="en-US" baseline="0"/>
            <a:t>Azure Active Directory authentication contained database user. </a:t>
          </a:r>
          <a:endParaRPr lang="en-US"/>
        </a:p>
      </dgm:t>
    </dgm:pt>
    <dgm:pt modelId="{48F84E48-6885-49E5-A321-B47CEA569E6F}" type="parTrans" cxnId="{E9B43ACD-F067-42AD-9868-10724E596C5C}">
      <dgm:prSet/>
      <dgm:spPr/>
      <dgm:t>
        <a:bodyPr/>
        <a:lstStyle/>
        <a:p>
          <a:endParaRPr lang="en-US"/>
        </a:p>
      </dgm:t>
    </dgm:pt>
    <dgm:pt modelId="{6143739A-BD98-4D5D-A0BE-544AA2445552}" type="sibTrans" cxnId="{E9B43ACD-F067-42AD-9868-10724E596C5C}">
      <dgm:prSet/>
      <dgm:spPr/>
      <dgm:t>
        <a:bodyPr/>
        <a:lstStyle/>
        <a:p>
          <a:endParaRPr lang="en-US"/>
        </a:p>
      </dgm:t>
    </dgm:pt>
    <dgm:pt modelId="{A9AD902B-6280-4C61-8A82-8BB66C820609}">
      <dgm:prSet/>
      <dgm:spPr/>
      <dgm:t>
        <a:bodyPr/>
        <a:lstStyle/>
        <a:p>
          <a:r>
            <a:rPr lang="en-US" baseline="0" dirty="0"/>
            <a:t>SQL Server authentication contained database user.</a:t>
          </a:r>
          <a:endParaRPr lang="en-US" dirty="0"/>
        </a:p>
      </dgm:t>
    </dgm:pt>
    <dgm:pt modelId="{6C466E2D-E152-4074-865B-27E942A564F2}" type="parTrans" cxnId="{C3FD25B5-194C-43B5-8BDE-3F5C89F60187}">
      <dgm:prSet/>
      <dgm:spPr/>
      <dgm:t>
        <a:bodyPr/>
        <a:lstStyle/>
        <a:p>
          <a:endParaRPr lang="en-US"/>
        </a:p>
      </dgm:t>
    </dgm:pt>
    <dgm:pt modelId="{A7338699-DE06-4083-AC08-1FB77CBFA3E3}" type="sibTrans" cxnId="{C3FD25B5-194C-43B5-8BDE-3F5C89F60187}">
      <dgm:prSet/>
      <dgm:spPr/>
      <dgm:t>
        <a:bodyPr/>
        <a:lstStyle/>
        <a:p>
          <a:endParaRPr lang="en-US"/>
        </a:p>
      </dgm:t>
    </dgm:pt>
    <dgm:pt modelId="{CFB1967A-8469-4622-87FB-B49AC9A78DFF}">
      <dgm:prSet/>
      <dgm:spPr/>
      <dgm:t>
        <a:bodyPr/>
        <a:lstStyle/>
        <a:p>
          <a:r>
            <a:rPr lang="en-US" baseline="0"/>
            <a:t>SQL Server authentication user based on a SQL Server authentication login. </a:t>
          </a:r>
          <a:endParaRPr lang="en-US"/>
        </a:p>
      </dgm:t>
    </dgm:pt>
    <dgm:pt modelId="{986DDC95-9AF5-467B-B930-578DA7F45FA3}" type="parTrans" cxnId="{AC37E52F-8A8B-4EBC-8797-C3F0D8517549}">
      <dgm:prSet/>
      <dgm:spPr/>
      <dgm:t>
        <a:bodyPr/>
        <a:lstStyle/>
        <a:p>
          <a:endParaRPr lang="en-US"/>
        </a:p>
      </dgm:t>
    </dgm:pt>
    <dgm:pt modelId="{A4129866-D595-4B86-8314-B3B65C34AF5D}" type="sibTrans" cxnId="{AC37E52F-8A8B-4EBC-8797-C3F0D8517549}">
      <dgm:prSet/>
      <dgm:spPr/>
      <dgm:t>
        <a:bodyPr/>
        <a:lstStyle/>
        <a:p>
          <a:endParaRPr lang="en-US"/>
        </a:p>
      </dgm:t>
    </dgm:pt>
    <dgm:pt modelId="{E1637ACD-6B11-41F0-A16D-86AA536F607F}" type="pres">
      <dgm:prSet presAssocID="{740A7AA9-C745-4DB0-976C-DD47406D9EC4}" presName="diagram" presStyleCnt="0">
        <dgm:presLayoutVars>
          <dgm:dir/>
          <dgm:resizeHandles val="exact"/>
        </dgm:presLayoutVars>
      </dgm:prSet>
      <dgm:spPr/>
    </dgm:pt>
    <dgm:pt modelId="{52E53370-D822-4DB3-B285-E70983F90B7A}" type="pres">
      <dgm:prSet presAssocID="{D1A6419A-F416-47C9-8F29-EDDBF99F327B}" presName="node" presStyleLbl="node1" presStyleIdx="0" presStyleCnt="3">
        <dgm:presLayoutVars>
          <dgm:bulletEnabled val="1"/>
        </dgm:presLayoutVars>
      </dgm:prSet>
      <dgm:spPr/>
    </dgm:pt>
    <dgm:pt modelId="{807586F0-66E5-4EA5-A3C0-CA115165E19F}" type="pres">
      <dgm:prSet presAssocID="{6143739A-BD98-4D5D-A0BE-544AA2445552}" presName="sibTrans" presStyleCnt="0"/>
      <dgm:spPr/>
    </dgm:pt>
    <dgm:pt modelId="{E18BD02F-5232-424D-ABF0-194D016E617D}" type="pres">
      <dgm:prSet presAssocID="{A9AD902B-6280-4C61-8A82-8BB66C820609}" presName="node" presStyleLbl="node1" presStyleIdx="1" presStyleCnt="3">
        <dgm:presLayoutVars>
          <dgm:bulletEnabled val="1"/>
        </dgm:presLayoutVars>
      </dgm:prSet>
      <dgm:spPr/>
    </dgm:pt>
    <dgm:pt modelId="{5FE0E5E2-7FB1-4EBB-A3DF-4558F46AB898}" type="pres">
      <dgm:prSet presAssocID="{A7338699-DE06-4083-AC08-1FB77CBFA3E3}" presName="sibTrans" presStyleCnt="0"/>
      <dgm:spPr/>
    </dgm:pt>
    <dgm:pt modelId="{0D7CCD5D-AFFA-4195-8B9B-CB9506D0C85A}" type="pres">
      <dgm:prSet presAssocID="{CFB1967A-8469-4622-87FB-B49AC9A78DFF}" presName="node" presStyleLbl="node1" presStyleIdx="2" presStyleCnt="3">
        <dgm:presLayoutVars>
          <dgm:bulletEnabled val="1"/>
        </dgm:presLayoutVars>
      </dgm:prSet>
      <dgm:spPr/>
    </dgm:pt>
  </dgm:ptLst>
  <dgm:cxnLst>
    <dgm:cxn modelId="{AC37E52F-8A8B-4EBC-8797-C3F0D8517549}" srcId="{740A7AA9-C745-4DB0-976C-DD47406D9EC4}" destId="{CFB1967A-8469-4622-87FB-B49AC9A78DFF}" srcOrd="2" destOrd="0" parTransId="{986DDC95-9AF5-467B-B930-578DA7F45FA3}" sibTransId="{A4129866-D595-4B86-8314-B3B65C34AF5D}"/>
    <dgm:cxn modelId="{4EDFD335-E76A-4189-971A-C26098705E22}" type="presOf" srcId="{A9AD902B-6280-4C61-8A82-8BB66C820609}" destId="{E18BD02F-5232-424D-ABF0-194D016E617D}" srcOrd="0" destOrd="0" presId="urn:microsoft.com/office/officeart/2005/8/layout/default"/>
    <dgm:cxn modelId="{A1F21C45-2B15-4225-A01E-C18F7198EEC1}" type="presOf" srcId="{CFB1967A-8469-4622-87FB-B49AC9A78DFF}" destId="{0D7CCD5D-AFFA-4195-8B9B-CB9506D0C85A}" srcOrd="0" destOrd="0" presId="urn:microsoft.com/office/officeart/2005/8/layout/default"/>
    <dgm:cxn modelId="{C3FD25B5-194C-43B5-8BDE-3F5C89F60187}" srcId="{740A7AA9-C745-4DB0-976C-DD47406D9EC4}" destId="{A9AD902B-6280-4C61-8A82-8BB66C820609}" srcOrd="1" destOrd="0" parTransId="{6C466E2D-E152-4074-865B-27E942A564F2}" sibTransId="{A7338699-DE06-4083-AC08-1FB77CBFA3E3}"/>
    <dgm:cxn modelId="{5DE727B6-7C29-4E29-B017-0E01C2B67348}" type="presOf" srcId="{740A7AA9-C745-4DB0-976C-DD47406D9EC4}" destId="{E1637ACD-6B11-41F0-A16D-86AA536F607F}" srcOrd="0" destOrd="0" presId="urn:microsoft.com/office/officeart/2005/8/layout/default"/>
    <dgm:cxn modelId="{E9B43ACD-F067-42AD-9868-10724E596C5C}" srcId="{740A7AA9-C745-4DB0-976C-DD47406D9EC4}" destId="{D1A6419A-F416-47C9-8F29-EDDBF99F327B}" srcOrd="0" destOrd="0" parTransId="{48F84E48-6885-49E5-A321-B47CEA569E6F}" sibTransId="{6143739A-BD98-4D5D-A0BE-544AA2445552}"/>
    <dgm:cxn modelId="{B7EF25F3-94CC-4A9E-9DAD-D7F57B7D9C35}" type="presOf" srcId="{D1A6419A-F416-47C9-8F29-EDDBF99F327B}" destId="{52E53370-D822-4DB3-B285-E70983F90B7A}" srcOrd="0" destOrd="0" presId="urn:microsoft.com/office/officeart/2005/8/layout/default"/>
    <dgm:cxn modelId="{A433C713-2AED-47A7-917A-167B06B75D0D}" type="presParOf" srcId="{E1637ACD-6B11-41F0-A16D-86AA536F607F}" destId="{52E53370-D822-4DB3-B285-E70983F90B7A}" srcOrd="0" destOrd="0" presId="urn:microsoft.com/office/officeart/2005/8/layout/default"/>
    <dgm:cxn modelId="{C19353B0-1A5E-4C63-BC2D-144168ECC2B4}" type="presParOf" srcId="{E1637ACD-6B11-41F0-A16D-86AA536F607F}" destId="{807586F0-66E5-4EA5-A3C0-CA115165E19F}" srcOrd="1" destOrd="0" presId="urn:microsoft.com/office/officeart/2005/8/layout/default"/>
    <dgm:cxn modelId="{5EF4E7B0-DE08-41C8-872C-A0BD752CFA33}" type="presParOf" srcId="{E1637ACD-6B11-41F0-A16D-86AA536F607F}" destId="{E18BD02F-5232-424D-ABF0-194D016E617D}" srcOrd="2" destOrd="0" presId="urn:microsoft.com/office/officeart/2005/8/layout/default"/>
    <dgm:cxn modelId="{A1DE6F10-01A7-4922-9C98-D7CEA78DB0BC}" type="presParOf" srcId="{E1637ACD-6B11-41F0-A16D-86AA536F607F}" destId="{5FE0E5E2-7FB1-4EBB-A3DF-4558F46AB898}" srcOrd="3" destOrd="0" presId="urn:microsoft.com/office/officeart/2005/8/layout/default"/>
    <dgm:cxn modelId="{7E380FB6-3800-4211-AE82-5C6A15D3CDAA}" type="presParOf" srcId="{E1637ACD-6B11-41F0-A16D-86AA536F607F}" destId="{0D7CCD5D-AFFA-4195-8B9B-CB9506D0C85A}"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5215"/>
          <a:ext cx="10880725" cy="132158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solidFill>
                <a:srgbClr val="FFFFFF"/>
              </a:solidFill>
            </a:rPr>
            <a:t>List the security features available for Azure SQL Database.</a:t>
          </a:r>
          <a:endParaRPr lang="en-US" sz="3100" kern="1200"/>
        </a:p>
      </dsp:txBody>
      <dsp:txXfrm>
        <a:off x="64515" y="89730"/>
        <a:ext cx="10751695" cy="1192558"/>
      </dsp:txXfrm>
    </dsp:sp>
    <dsp:sp modelId="{E922B38C-D007-46D8-9A79-C8E951BC8385}">
      <dsp:nvSpPr>
        <dsp:cNvPr id="0" name=""/>
        <dsp:cNvSpPr/>
      </dsp:nvSpPr>
      <dsp:spPr>
        <a:xfrm>
          <a:off x="0" y="1436083"/>
          <a:ext cx="10880725" cy="1321588"/>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solidFill>
                <a:srgbClr val="FFFFFF"/>
              </a:solidFill>
            </a:rPr>
            <a:t>Name the feature to encrypt the data both at rest and motion.</a:t>
          </a:r>
          <a:endParaRPr lang="en-US" sz="3100" kern="1200"/>
        </a:p>
      </dsp:txBody>
      <dsp:txXfrm>
        <a:off x="64515" y="1500598"/>
        <a:ext cx="10751695" cy="119255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F63345-68AA-4B81-B2A5-D7FEA27096B5}">
      <dsp:nvSpPr>
        <dsp:cNvPr id="0" name=""/>
        <dsp:cNvSpPr/>
      </dsp:nvSpPr>
      <dsp:spPr>
        <a:xfrm>
          <a:off x="53" y="27839"/>
          <a:ext cx="5084401" cy="94293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Azure Active Directory authentication</a:t>
          </a:r>
          <a:endParaRPr lang="en-US" sz="2400" kern="1200"/>
        </a:p>
      </dsp:txBody>
      <dsp:txXfrm>
        <a:off x="53" y="27839"/>
        <a:ext cx="5084401" cy="942930"/>
      </dsp:txXfrm>
    </dsp:sp>
    <dsp:sp modelId="{D3F9AA8E-9E1F-40E9-B57C-B6CDDA0761D8}">
      <dsp:nvSpPr>
        <dsp:cNvPr id="0" name=""/>
        <dsp:cNvSpPr/>
      </dsp:nvSpPr>
      <dsp:spPr>
        <a:xfrm>
          <a:off x="53" y="970770"/>
          <a:ext cx="5084401" cy="38210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Put Azure Active Directory users into an Azure Active Directory group. </a:t>
          </a:r>
          <a:endParaRPr lang="en-US" sz="2400" kern="1200"/>
        </a:p>
        <a:p>
          <a:pPr marL="228600" lvl="1" indent="-228600" algn="l" defTabSz="1066800">
            <a:lnSpc>
              <a:spcPct val="90000"/>
            </a:lnSpc>
            <a:spcBef>
              <a:spcPct val="0"/>
            </a:spcBef>
            <a:spcAft>
              <a:spcPct val="15000"/>
            </a:spcAft>
            <a:buChar char="•"/>
          </a:pPr>
          <a:r>
            <a:rPr lang="en-US" sz="2400" kern="1200" baseline="0"/>
            <a:t>Create a contained database user for the group. </a:t>
          </a:r>
          <a:endParaRPr lang="en-US" sz="2400" kern="1200"/>
        </a:p>
        <a:p>
          <a:pPr marL="228600" lvl="1" indent="-228600" algn="l" defTabSz="1066800">
            <a:lnSpc>
              <a:spcPct val="90000"/>
            </a:lnSpc>
            <a:spcBef>
              <a:spcPct val="0"/>
            </a:spcBef>
            <a:spcAft>
              <a:spcPct val="15000"/>
            </a:spcAft>
            <a:buChar char="•"/>
          </a:pPr>
          <a:r>
            <a:rPr lang="en-US" sz="2400" kern="1200" baseline="0"/>
            <a:t>Place one or more database users into a database role. </a:t>
          </a:r>
          <a:endParaRPr lang="en-US" sz="2400" kern="1200"/>
        </a:p>
        <a:p>
          <a:pPr marL="228600" lvl="1" indent="-228600" algn="l" defTabSz="1066800">
            <a:lnSpc>
              <a:spcPct val="90000"/>
            </a:lnSpc>
            <a:spcBef>
              <a:spcPct val="0"/>
            </a:spcBef>
            <a:spcAft>
              <a:spcPct val="15000"/>
            </a:spcAft>
            <a:buChar char="•"/>
          </a:pPr>
          <a:r>
            <a:rPr lang="en-US" sz="2400" kern="1200" baseline="0"/>
            <a:t>Assign permissions to the database role.</a:t>
          </a:r>
          <a:endParaRPr lang="en-US" sz="2400" kern="1200"/>
        </a:p>
      </dsp:txBody>
      <dsp:txXfrm>
        <a:off x="53" y="970770"/>
        <a:ext cx="5084401" cy="3821040"/>
      </dsp:txXfrm>
    </dsp:sp>
    <dsp:sp modelId="{FC5C7F45-A329-4E93-9D93-784B11464D75}">
      <dsp:nvSpPr>
        <dsp:cNvPr id="0" name=""/>
        <dsp:cNvSpPr/>
      </dsp:nvSpPr>
      <dsp:spPr>
        <a:xfrm>
          <a:off x="5796271" y="27839"/>
          <a:ext cx="5084401" cy="94293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SQL Server authentication</a:t>
          </a:r>
          <a:endParaRPr lang="en-US" sz="2400" kern="1200"/>
        </a:p>
      </dsp:txBody>
      <dsp:txXfrm>
        <a:off x="5796271" y="27839"/>
        <a:ext cx="5084401" cy="942930"/>
      </dsp:txXfrm>
    </dsp:sp>
    <dsp:sp modelId="{DB173519-682B-4D27-B193-EEE168B430C8}">
      <dsp:nvSpPr>
        <dsp:cNvPr id="0" name=""/>
        <dsp:cNvSpPr/>
      </dsp:nvSpPr>
      <dsp:spPr>
        <a:xfrm>
          <a:off x="5796271" y="970770"/>
          <a:ext cx="5084401" cy="38210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Create contained database users in the database. </a:t>
          </a:r>
          <a:endParaRPr lang="en-US" sz="2400" kern="1200"/>
        </a:p>
        <a:p>
          <a:pPr marL="228600" lvl="1" indent="-228600" algn="l" defTabSz="1066800">
            <a:lnSpc>
              <a:spcPct val="90000"/>
            </a:lnSpc>
            <a:spcBef>
              <a:spcPct val="0"/>
            </a:spcBef>
            <a:spcAft>
              <a:spcPct val="15000"/>
            </a:spcAft>
            <a:buChar char="•"/>
          </a:pPr>
          <a:r>
            <a:rPr lang="en-US" sz="2400" kern="1200" baseline="0"/>
            <a:t>Place one or more database users into a database role. </a:t>
          </a:r>
          <a:endParaRPr lang="en-US" sz="2400" kern="1200"/>
        </a:p>
        <a:p>
          <a:pPr marL="228600" lvl="1" indent="-228600" algn="l" defTabSz="1066800">
            <a:lnSpc>
              <a:spcPct val="90000"/>
            </a:lnSpc>
            <a:spcBef>
              <a:spcPct val="0"/>
            </a:spcBef>
            <a:spcAft>
              <a:spcPct val="15000"/>
            </a:spcAft>
            <a:buChar char="•"/>
          </a:pPr>
          <a:r>
            <a:rPr lang="en-US" sz="2400" kern="1200" baseline="0"/>
            <a:t>Assign permissions to the database role.</a:t>
          </a:r>
          <a:endParaRPr lang="en-US" sz="2400" kern="1200"/>
        </a:p>
      </dsp:txBody>
      <dsp:txXfrm>
        <a:off x="5796271" y="970770"/>
        <a:ext cx="5084401" cy="382104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4A4294-756D-40AB-9826-878DF69BDCB3}">
      <dsp:nvSpPr>
        <dsp:cNvPr id="0" name=""/>
        <dsp:cNvSpPr/>
      </dsp:nvSpPr>
      <dsp:spPr>
        <a:xfrm>
          <a:off x="455102" y="2519"/>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Font typeface="Arial" panose="020B0604020202020204" pitchFamily="34" charset="0"/>
            <a:buNone/>
          </a:pPr>
          <a:r>
            <a:rPr lang="en-US" sz="2400" kern="1200" err="1">
              <a:latin typeface="Segoe UI Light" panose="020B0502040204020203" pitchFamily="34" charset="0"/>
              <a:ea typeface="+mn-ea"/>
              <a:cs typeface="Segoe UI Light" panose="020B0502040204020203" pitchFamily="34" charset="0"/>
            </a:rPr>
            <a:t>db_owner</a:t>
          </a:r>
          <a:endParaRPr lang="en-US" sz="2400" kern="1200">
            <a:latin typeface="Segoe UI Light" panose="020B0502040204020203" pitchFamily="34" charset="0"/>
            <a:ea typeface="+mn-ea"/>
            <a:cs typeface="Segoe UI Light" panose="020B0502040204020203" pitchFamily="34" charset="0"/>
          </a:endParaRPr>
        </a:p>
      </dsp:txBody>
      <dsp:txXfrm>
        <a:off x="455102" y="2519"/>
        <a:ext cx="3025398" cy="1815239"/>
      </dsp:txXfrm>
    </dsp:sp>
    <dsp:sp modelId="{2B1B9849-50D0-42A0-A400-0A697BECEF49}">
      <dsp:nvSpPr>
        <dsp:cNvPr id="0" name=""/>
        <dsp:cNvSpPr/>
      </dsp:nvSpPr>
      <dsp:spPr>
        <a:xfrm>
          <a:off x="3783041" y="2519"/>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db_ddladmin</a:t>
          </a:r>
        </a:p>
      </dsp:txBody>
      <dsp:txXfrm>
        <a:off x="3783041" y="2519"/>
        <a:ext cx="3025398" cy="1815239"/>
      </dsp:txXfrm>
    </dsp:sp>
    <dsp:sp modelId="{1764A4B8-DEE4-46A0-8EF4-32CE1803BC85}">
      <dsp:nvSpPr>
        <dsp:cNvPr id="0" name=""/>
        <dsp:cNvSpPr/>
      </dsp:nvSpPr>
      <dsp:spPr>
        <a:xfrm>
          <a:off x="7207218" y="2519"/>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db_datawriter</a:t>
          </a:r>
        </a:p>
      </dsp:txBody>
      <dsp:txXfrm>
        <a:off x="7207218" y="2519"/>
        <a:ext cx="3025398" cy="1815239"/>
      </dsp:txXfrm>
    </dsp:sp>
    <dsp:sp modelId="{43D6C1C4-4770-4495-964F-69DB1896F2A8}">
      <dsp:nvSpPr>
        <dsp:cNvPr id="0" name=""/>
        <dsp:cNvSpPr/>
      </dsp:nvSpPr>
      <dsp:spPr>
        <a:xfrm>
          <a:off x="455102" y="2120298"/>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err="1">
              <a:latin typeface="Segoe UI Light" panose="020B0502040204020203" pitchFamily="34" charset="0"/>
              <a:ea typeface="+mn-ea"/>
              <a:cs typeface="Segoe UI Light" panose="020B0502040204020203" pitchFamily="34" charset="0"/>
            </a:rPr>
            <a:t>db_datareader</a:t>
          </a:r>
          <a:endParaRPr lang="en-US" sz="2400" kern="1200">
            <a:latin typeface="Segoe UI Light" panose="020B0502040204020203" pitchFamily="34" charset="0"/>
            <a:ea typeface="+mn-ea"/>
            <a:cs typeface="Segoe UI Light" panose="020B0502040204020203" pitchFamily="34" charset="0"/>
          </a:endParaRPr>
        </a:p>
      </dsp:txBody>
      <dsp:txXfrm>
        <a:off x="455102" y="2120298"/>
        <a:ext cx="3025398" cy="1815239"/>
      </dsp:txXfrm>
    </dsp:sp>
    <dsp:sp modelId="{07DD6E29-A0B9-4B95-BB7F-F8B724532243}">
      <dsp:nvSpPr>
        <dsp:cNvPr id="0" name=""/>
        <dsp:cNvSpPr/>
      </dsp:nvSpPr>
      <dsp:spPr>
        <a:xfrm>
          <a:off x="3783041" y="2120298"/>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Segoe UI Light" panose="020B0502040204020203" pitchFamily="34" charset="0"/>
              <a:ea typeface="+mn-ea"/>
              <a:cs typeface="Segoe UI Light" panose="020B0502040204020203" pitchFamily="34" charset="0"/>
            </a:rPr>
            <a:t>db_denydatawriter</a:t>
          </a:r>
        </a:p>
      </dsp:txBody>
      <dsp:txXfrm>
        <a:off x="3783041" y="2120298"/>
        <a:ext cx="3025398" cy="1815239"/>
      </dsp:txXfrm>
    </dsp:sp>
    <dsp:sp modelId="{4CCE7443-9A59-475B-A0DC-6F96832BAC0D}">
      <dsp:nvSpPr>
        <dsp:cNvPr id="0" name=""/>
        <dsp:cNvSpPr/>
      </dsp:nvSpPr>
      <dsp:spPr>
        <a:xfrm>
          <a:off x="7110980" y="2120298"/>
          <a:ext cx="3025398" cy="181523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err="1">
              <a:latin typeface="Segoe UI Light" panose="020B0502040204020203" pitchFamily="34" charset="0"/>
              <a:ea typeface="+mn-ea"/>
              <a:cs typeface="Segoe UI Light" panose="020B0502040204020203" pitchFamily="34" charset="0"/>
            </a:rPr>
            <a:t>db_denydatareader</a:t>
          </a:r>
          <a:endParaRPr lang="en-US" sz="2400" kern="1200">
            <a:latin typeface="Segoe UI Light" panose="020B0502040204020203" pitchFamily="34" charset="0"/>
            <a:ea typeface="+mn-ea"/>
            <a:cs typeface="Segoe UI Light" panose="020B0502040204020203" pitchFamily="34" charset="0"/>
          </a:endParaRPr>
        </a:p>
      </dsp:txBody>
      <dsp:txXfrm>
        <a:off x="7110980" y="2120298"/>
        <a:ext cx="3025398" cy="181523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4A4294-756D-40AB-9826-878DF69BDCB3}">
      <dsp:nvSpPr>
        <dsp:cNvPr id="0" name=""/>
        <dsp:cNvSpPr/>
      </dsp:nvSpPr>
      <dsp:spPr>
        <a:xfrm>
          <a:off x="622333" y="1537"/>
          <a:ext cx="2802497" cy="16814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admin</a:t>
          </a:r>
        </a:p>
      </dsp:txBody>
      <dsp:txXfrm>
        <a:off x="622333" y="1537"/>
        <a:ext cx="2802497" cy="1681498"/>
      </dsp:txXfrm>
    </dsp:sp>
    <dsp:sp modelId="{2B1B9849-50D0-42A0-A400-0A697BECEF49}">
      <dsp:nvSpPr>
        <dsp:cNvPr id="0" name=""/>
        <dsp:cNvSpPr/>
      </dsp:nvSpPr>
      <dsp:spPr>
        <a:xfrm>
          <a:off x="3705080" y="1537"/>
          <a:ext cx="2802497" cy="16814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dirty="0">
              <a:latin typeface="Segoe UI Light" panose="020B0502040204020203" pitchFamily="34" charset="0"/>
              <a:ea typeface="+mn-ea"/>
              <a:cs typeface="Segoe UI Light" panose="020B0502040204020203" pitchFamily="34" charset="0"/>
            </a:rPr>
            <a:t>administrator</a:t>
          </a:r>
        </a:p>
      </dsp:txBody>
      <dsp:txXfrm>
        <a:off x="3705080" y="1537"/>
        <a:ext cx="2802497" cy="1681498"/>
      </dsp:txXfrm>
    </dsp:sp>
    <dsp:sp modelId="{1764A4B8-DEE4-46A0-8EF4-32CE1803BC85}">
      <dsp:nvSpPr>
        <dsp:cNvPr id="0" name=""/>
        <dsp:cNvSpPr/>
      </dsp:nvSpPr>
      <dsp:spPr>
        <a:xfrm>
          <a:off x="6787827" y="1537"/>
          <a:ext cx="2802497" cy="16814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a:latin typeface="Segoe UI Light" panose="020B0502040204020203" pitchFamily="34" charset="0"/>
              <a:ea typeface="+mn-ea"/>
              <a:cs typeface="Segoe UI Light" panose="020B0502040204020203" pitchFamily="34" charset="0"/>
            </a:rPr>
            <a:t>guest</a:t>
          </a:r>
        </a:p>
      </dsp:txBody>
      <dsp:txXfrm>
        <a:off x="6787827" y="1537"/>
        <a:ext cx="2802497" cy="1681498"/>
      </dsp:txXfrm>
    </dsp:sp>
    <dsp:sp modelId="{43D6C1C4-4770-4495-964F-69DB1896F2A8}">
      <dsp:nvSpPr>
        <dsp:cNvPr id="0" name=""/>
        <dsp:cNvSpPr/>
      </dsp:nvSpPr>
      <dsp:spPr>
        <a:xfrm>
          <a:off x="2163707" y="1963285"/>
          <a:ext cx="2802497" cy="16814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Segoe UI Light" panose="020B0502040204020203" pitchFamily="34" charset="0"/>
              <a:ea typeface="+mn-ea"/>
              <a:cs typeface="Segoe UI Light" panose="020B0502040204020203" pitchFamily="34" charset="0"/>
            </a:rPr>
            <a:t>root</a:t>
          </a:r>
        </a:p>
      </dsp:txBody>
      <dsp:txXfrm>
        <a:off x="2163707" y="1963285"/>
        <a:ext cx="2802497" cy="1681498"/>
      </dsp:txXfrm>
    </dsp:sp>
    <dsp:sp modelId="{4CCE7443-9A59-475B-A0DC-6F96832BAC0D}">
      <dsp:nvSpPr>
        <dsp:cNvPr id="0" name=""/>
        <dsp:cNvSpPr/>
      </dsp:nvSpPr>
      <dsp:spPr>
        <a:xfrm>
          <a:off x="5277590" y="1955853"/>
          <a:ext cx="2802497" cy="16814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422400">
            <a:lnSpc>
              <a:spcPct val="90000"/>
            </a:lnSpc>
            <a:spcBef>
              <a:spcPct val="0"/>
            </a:spcBef>
            <a:spcAft>
              <a:spcPct val="35000"/>
            </a:spcAft>
            <a:buFont typeface="Arial" panose="020B0604020202020204" pitchFamily="34" charset="0"/>
            <a:buNone/>
          </a:pPr>
          <a:r>
            <a:rPr lang="en-US" sz="2400" kern="1200" err="1">
              <a:latin typeface="Segoe UI Light" panose="020B0502040204020203" pitchFamily="34" charset="0"/>
              <a:ea typeface="+mn-ea"/>
              <a:cs typeface="Segoe UI Light" panose="020B0502040204020203" pitchFamily="34" charset="0"/>
            </a:rPr>
            <a:t>sa</a:t>
          </a:r>
          <a:endParaRPr lang="en-US" sz="2400" kern="1200">
            <a:latin typeface="Segoe UI Light" panose="020B0502040204020203" pitchFamily="34" charset="0"/>
            <a:ea typeface="+mn-ea"/>
            <a:cs typeface="Segoe UI Light" panose="020B0502040204020203" pitchFamily="34" charset="0"/>
          </a:endParaRPr>
        </a:p>
      </dsp:txBody>
      <dsp:txXfrm>
        <a:off x="5277590" y="1955853"/>
        <a:ext cx="2802497" cy="168149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6974"/>
          <a:ext cx="10880725" cy="110842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solidFill>
                <a:srgbClr val="FFFFFF"/>
              </a:solidFill>
            </a:rPr>
            <a:t>Name the two unrestricted admin accounts for Azure SQL Database?</a:t>
          </a:r>
          <a:endParaRPr lang="en-US" sz="2600" kern="1200"/>
        </a:p>
      </dsp:txBody>
      <dsp:txXfrm>
        <a:off x="54109" y="71083"/>
        <a:ext cx="10772507" cy="1000210"/>
      </dsp:txXfrm>
    </dsp:sp>
    <dsp:sp modelId="{B889FB42-7C23-491E-986A-E89C2508091B}">
      <dsp:nvSpPr>
        <dsp:cNvPr id="0" name=""/>
        <dsp:cNvSpPr/>
      </dsp:nvSpPr>
      <dsp:spPr>
        <a:xfrm>
          <a:off x="0" y="1200283"/>
          <a:ext cx="10880725" cy="1108428"/>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Font typeface="Arial" panose="020B0604020202020204" pitchFamily="34" charset="0"/>
            <a:buNone/>
          </a:pPr>
          <a:r>
            <a:rPr lang="en-US" sz="2600" kern="1200">
              <a:solidFill>
                <a:srgbClr val="FFFFFF"/>
              </a:solidFill>
            </a:rPr>
            <a:t>Name the Additional server-level administrative roles  for Azure SQL Database</a:t>
          </a:r>
          <a:r>
            <a:rPr kumimoji="0" lang="en-US" sz="2600" b="0" i="0" u="none" strike="noStrike" kern="1200" cap="none" spc="0" normalizeH="0" baseline="0" noProof="0">
              <a:ln>
                <a:noFill/>
              </a:ln>
              <a:solidFill>
                <a:srgbClr val="FFFFFF"/>
              </a:solidFill>
              <a:effectLst/>
              <a:uLnTx/>
              <a:uFillTx/>
              <a:latin typeface="Segoe UI"/>
              <a:ea typeface="+mn-ea"/>
              <a:cs typeface="+mn-cs"/>
            </a:rPr>
            <a:t>?</a:t>
          </a:r>
          <a:endParaRPr lang="en-US" sz="2600" kern="1200"/>
        </a:p>
      </dsp:txBody>
      <dsp:txXfrm>
        <a:off x="54109" y="1254392"/>
        <a:ext cx="10772507" cy="100021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D0D622-A467-4EB6-92F0-16107CBB7BED}">
      <dsp:nvSpPr>
        <dsp:cNvPr id="0" name=""/>
        <dsp:cNvSpPr/>
      </dsp:nvSpPr>
      <dsp:spPr>
        <a:xfrm>
          <a:off x="467763" y="151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a:t>Initially, all access to your Azure SQL Database server is blocked by the firewall.</a:t>
          </a:r>
          <a:endParaRPr lang="en-US" sz="1200" kern="1200"/>
        </a:p>
      </dsp:txBody>
      <dsp:txXfrm>
        <a:off x="467763" y="1510"/>
        <a:ext cx="2408314" cy="1444988"/>
      </dsp:txXfrm>
    </dsp:sp>
    <dsp:sp modelId="{A2348A58-8D06-4FB8-A27A-8863BC6862A8}">
      <dsp:nvSpPr>
        <dsp:cNvPr id="0" name=""/>
        <dsp:cNvSpPr/>
      </dsp:nvSpPr>
      <dsp:spPr>
        <a:xfrm>
          <a:off x="3116908" y="151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a:t>In order to begin using your Azure SQL Database server, you must go to the Management Portal.</a:t>
          </a:r>
          <a:endParaRPr lang="en-US" sz="1200" kern="1200"/>
        </a:p>
      </dsp:txBody>
      <dsp:txXfrm>
        <a:off x="3116908" y="1510"/>
        <a:ext cx="2408314" cy="1444988"/>
      </dsp:txXfrm>
    </dsp:sp>
    <dsp:sp modelId="{48D308E4-FC32-4174-94AD-F95EAA7F513C}">
      <dsp:nvSpPr>
        <dsp:cNvPr id="0" name=""/>
        <dsp:cNvSpPr/>
      </dsp:nvSpPr>
      <dsp:spPr>
        <a:xfrm>
          <a:off x="467763" y="168733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a:t>Server-level firewall rules enable clients to access all the databases within the same logical server.</a:t>
          </a:r>
          <a:endParaRPr lang="en-US" sz="1200" kern="1200"/>
        </a:p>
      </dsp:txBody>
      <dsp:txXfrm>
        <a:off x="467763" y="1687330"/>
        <a:ext cx="2408314" cy="1444988"/>
      </dsp:txXfrm>
    </dsp:sp>
    <dsp:sp modelId="{F09E9CE2-E867-46F5-A5F9-1971BE3BD4D7}">
      <dsp:nvSpPr>
        <dsp:cNvPr id="0" name=""/>
        <dsp:cNvSpPr/>
      </dsp:nvSpPr>
      <dsp:spPr>
        <a:xfrm>
          <a:off x="3116908" y="168733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dirty="0"/>
            <a:t>Database-level firewall rules enable clients to access certain databases within the same logical server.</a:t>
          </a:r>
          <a:endParaRPr lang="en-US" sz="1200" kern="1200" dirty="0"/>
        </a:p>
      </dsp:txBody>
      <dsp:txXfrm>
        <a:off x="3116908" y="1687330"/>
        <a:ext cx="2408314" cy="1444988"/>
      </dsp:txXfrm>
    </dsp:sp>
    <dsp:sp modelId="{A9A20D5B-47A2-4A27-9ADF-2B1A73B365FD}">
      <dsp:nvSpPr>
        <dsp:cNvPr id="0" name=""/>
        <dsp:cNvSpPr/>
      </dsp:nvSpPr>
      <dsp:spPr>
        <a:xfrm>
          <a:off x="467763" y="337315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a:t>Database-level firewall rules for master and user databases can only be created and managed by using Transact-SQL statements and only after you have configured the first server-level firewall.</a:t>
          </a:r>
          <a:endParaRPr lang="en-US" sz="1200" kern="1200"/>
        </a:p>
      </dsp:txBody>
      <dsp:txXfrm>
        <a:off x="467763" y="3373150"/>
        <a:ext cx="2408314" cy="1444988"/>
      </dsp:txXfrm>
    </dsp:sp>
    <dsp:sp modelId="{F53E485D-3018-49B5-ACB5-6592DAB705AB}">
      <dsp:nvSpPr>
        <dsp:cNvPr id="0" name=""/>
        <dsp:cNvSpPr/>
      </dsp:nvSpPr>
      <dsp:spPr>
        <a:xfrm>
          <a:off x="3116908" y="3373150"/>
          <a:ext cx="2408314" cy="1444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baseline="0"/>
            <a:t>Microsoft recommends using database-level firewall rules whenever possible to enhance security and to make your database more portable.</a:t>
          </a:r>
          <a:endParaRPr lang="en-US" sz="1200" kern="1200"/>
        </a:p>
      </dsp:txBody>
      <dsp:txXfrm>
        <a:off x="3116908" y="3373150"/>
        <a:ext cx="2408314" cy="144498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2F66C9-9C03-4C08-8B85-542F8D69F64A}">
      <dsp:nvSpPr>
        <dsp:cNvPr id="0" name=""/>
        <dsp:cNvSpPr/>
      </dsp:nvSpPr>
      <dsp:spPr>
        <a:xfrm>
          <a:off x="0" y="0"/>
          <a:ext cx="4595465" cy="4819650"/>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EC3D6E-3C55-41F7-AD85-FC220D991C86}">
      <dsp:nvSpPr>
        <dsp:cNvPr id="0" name=""/>
        <dsp:cNvSpPr/>
      </dsp:nvSpPr>
      <dsp:spPr>
        <a:xfrm>
          <a:off x="2297732" y="482435"/>
          <a:ext cx="2987052" cy="1713234"/>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By default, Azure blocks all external connections to port 1433. </a:t>
          </a:r>
          <a:endParaRPr lang="en-US" sz="2000" kern="1200"/>
        </a:p>
      </dsp:txBody>
      <dsp:txXfrm>
        <a:off x="2381365" y="566068"/>
        <a:ext cx="2819786" cy="1545968"/>
      </dsp:txXfrm>
    </dsp:sp>
    <dsp:sp modelId="{9FD8DB78-C8CB-41D6-A908-335F35C47DC1}">
      <dsp:nvSpPr>
        <dsp:cNvPr id="0" name=""/>
        <dsp:cNvSpPr/>
      </dsp:nvSpPr>
      <dsp:spPr>
        <a:xfrm>
          <a:off x="2297732" y="2409825"/>
          <a:ext cx="2987052" cy="1713234"/>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baseline="0"/>
            <a:t>Enable in the following ways in Azure portal:</a:t>
          </a:r>
          <a:endParaRPr lang="en-US" sz="2000" kern="1200"/>
        </a:p>
        <a:p>
          <a:pPr marL="171450" lvl="1" indent="-171450" algn="l" defTabSz="711200">
            <a:lnSpc>
              <a:spcPct val="90000"/>
            </a:lnSpc>
            <a:spcBef>
              <a:spcPct val="0"/>
            </a:spcBef>
            <a:spcAft>
              <a:spcPct val="15000"/>
            </a:spcAft>
            <a:buChar char="•"/>
          </a:pPr>
          <a:r>
            <a:rPr lang="en-US" sz="1600" kern="1200" baseline="0"/>
            <a:t>Security -&gt; Firewall and virtual networks</a:t>
          </a:r>
          <a:endParaRPr lang="en-US" sz="1600" kern="1200"/>
        </a:p>
      </dsp:txBody>
      <dsp:txXfrm>
        <a:off x="2381365" y="2493458"/>
        <a:ext cx="2819786" cy="154596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6DD1E-81AF-4811-AD7E-6848FE73CF50}">
      <dsp:nvSpPr>
        <dsp:cNvPr id="0" name=""/>
        <dsp:cNvSpPr/>
      </dsp:nvSpPr>
      <dsp:spPr>
        <a:xfrm>
          <a:off x="0" y="42825"/>
          <a:ext cx="5284787" cy="743039"/>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baseline="0"/>
            <a:t>Manage SQL Database firewall rules using code</a:t>
          </a:r>
          <a:endParaRPr lang="en-US" sz="1900" kern="1200"/>
        </a:p>
      </dsp:txBody>
      <dsp:txXfrm>
        <a:off x="0" y="42825"/>
        <a:ext cx="5284787" cy="743039"/>
      </dsp:txXfrm>
    </dsp:sp>
    <dsp:sp modelId="{748553A9-AFA8-4FE5-A9F1-FC02AE7F11EE}">
      <dsp:nvSpPr>
        <dsp:cNvPr id="0" name=""/>
        <dsp:cNvSpPr/>
      </dsp:nvSpPr>
      <dsp:spPr>
        <a:xfrm>
          <a:off x="0" y="785864"/>
          <a:ext cx="5284787" cy="427670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b="1" kern="1200" baseline="0"/>
            <a:t>Windows PowerShell Azure cmdlets</a:t>
          </a:r>
          <a:endParaRPr lang="en-US" sz="1900" b="1" kern="1200"/>
        </a:p>
        <a:p>
          <a:pPr marL="342900" lvl="2" indent="-171450" algn="l" defTabSz="844550">
            <a:lnSpc>
              <a:spcPct val="90000"/>
            </a:lnSpc>
            <a:spcBef>
              <a:spcPct val="0"/>
            </a:spcBef>
            <a:spcAft>
              <a:spcPct val="15000"/>
            </a:spcAft>
            <a:buChar char="•"/>
          </a:pPr>
          <a:r>
            <a:rPr lang="en-US" sz="1900" kern="1200" baseline="0"/>
            <a:t>Get-</a:t>
          </a:r>
          <a:r>
            <a:rPr lang="en-US" sz="1900" kern="1200" baseline="0" err="1"/>
            <a:t>AzSqlServerFirewallRule</a:t>
          </a:r>
          <a:endParaRPr lang="en-US" sz="1900" kern="1200"/>
        </a:p>
        <a:p>
          <a:pPr marL="342900" lvl="2" indent="-171450" algn="l" defTabSz="844550">
            <a:lnSpc>
              <a:spcPct val="90000"/>
            </a:lnSpc>
            <a:spcBef>
              <a:spcPct val="0"/>
            </a:spcBef>
            <a:spcAft>
              <a:spcPct val="15000"/>
            </a:spcAft>
            <a:buChar char="•"/>
          </a:pPr>
          <a:r>
            <a:rPr lang="en-US" sz="1900" kern="1200" baseline="0"/>
            <a:t>New-</a:t>
          </a:r>
          <a:r>
            <a:rPr lang="en-US" sz="1900" kern="1200" baseline="0" err="1"/>
            <a:t>AzSqlServerFirewallRule</a:t>
          </a:r>
          <a:endParaRPr lang="en-US" sz="1900" kern="1200"/>
        </a:p>
        <a:p>
          <a:pPr marL="342900" lvl="2" indent="-171450" algn="l" defTabSz="844550">
            <a:lnSpc>
              <a:spcPct val="90000"/>
            </a:lnSpc>
            <a:spcBef>
              <a:spcPct val="0"/>
            </a:spcBef>
            <a:spcAft>
              <a:spcPct val="15000"/>
            </a:spcAft>
            <a:buChar char="•"/>
          </a:pPr>
          <a:r>
            <a:rPr lang="en-US" sz="1900" kern="1200" baseline="0"/>
            <a:t>Set-AzSqlServerFirewallRule</a:t>
          </a:r>
          <a:endParaRPr lang="en-US" sz="1900" kern="1200"/>
        </a:p>
        <a:p>
          <a:pPr marL="342900" lvl="2" indent="-171450" algn="l" defTabSz="844550">
            <a:lnSpc>
              <a:spcPct val="90000"/>
            </a:lnSpc>
            <a:spcBef>
              <a:spcPct val="0"/>
            </a:spcBef>
            <a:spcAft>
              <a:spcPct val="15000"/>
            </a:spcAft>
            <a:buChar char="•"/>
          </a:pPr>
          <a:r>
            <a:rPr lang="en-US" sz="1900" kern="1200" baseline="0"/>
            <a:t>Remove-</a:t>
          </a:r>
          <a:r>
            <a:rPr lang="en-US" sz="1900" kern="1200" baseline="0" err="1"/>
            <a:t>AzSqlServerFirewallRule</a:t>
          </a:r>
          <a:r>
            <a:rPr lang="en-US" sz="1900" kern="1200" baseline="0"/>
            <a:t> </a:t>
          </a:r>
          <a:endParaRPr lang="en-US" sz="1900" kern="1200"/>
        </a:p>
        <a:p>
          <a:pPr marL="171450" lvl="1" indent="-171450" algn="l" defTabSz="844550">
            <a:lnSpc>
              <a:spcPct val="90000"/>
            </a:lnSpc>
            <a:spcBef>
              <a:spcPct val="0"/>
            </a:spcBef>
            <a:spcAft>
              <a:spcPct val="15000"/>
            </a:spcAft>
            <a:buChar char="•"/>
          </a:pPr>
          <a:r>
            <a:rPr lang="en-US" sz="1900" b="1" kern="1200" baseline="0"/>
            <a:t>Transact SQL</a:t>
          </a:r>
          <a:endParaRPr lang="en-US" sz="1900" b="1" kern="1200"/>
        </a:p>
        <a:p>
          <a:pPr marL="342900" lvl="2" indent="-171450" algn="l" defTabSz="844550">
            <a:lnSpc>
              <a:spcPct val="90000"/>
            </a:lnSpc>
            <a:spcBef>
              <a:spcPct val="0"/>
            </a:spcBef>
            <a:spcAft>
              <a:spcPct val="15000"/>
            </a:spcAft>
            <a:buChar char="•"/>
          </a:pPr>
          <a:r>
            <a:rPr lang="en-US" sz="1900" kern="1200" baseline="0" err="1"/>
            <a:t>sys.firewall_rules</a:t>
          </a:r>
          <a:endParaRPr lang="en-US" sz="1900" kern="1200"/>
        </a:p>
        <a:p>
          <a:pPr marL="342900" lvl="2" indent="-171450" algn="l" defTabSz="844550">
            <a:lnSpc>
              <a:spcPct val="90000"/>
            </a:lnSpc>
            <a:spcBef>
              <a:spcPct val="0"/>
            </a:spcBef>
            <a:spcAft>
              <a:spcPct val="15000"/>
            </a:spcAft>
            <a:buChar char="•"/>
          </a:pPr>
          <a:r>
            <a:rPr lang="en-US" sz="1900" kern="1200" baseline="0"/>
            <a:t>sp_set_firewall_rule</a:t>
          </a:r>
          <a:endParaRPr lang="en-US" sz="1900" kern="1200"/>
        </a:p>
        <a:p>
          <a:pPr marL="342900" lvl="2" indent="-171450" algn="l" defTabSz="844550">
            <a:lnSpc>
              <a:spcPct val="90000"/>
            </a:lnSpc>
            <a:spcBef>
              <a:spcPct val="0"/>
            </a:spcBef>
            <a:spcAft>
              <a:spcPct val="15000"/>
            </a:spcAft>
            <a:buChar char="•"/>
          </a:pPr>
          <a:r>
            <a:rPr lang="en-US" sz="1900" kern="1200" baseline="0"/>
            <a:t>sp_delete_firewall_rule</a:t>
          </a:r>
          <a:endParaRPr lang="en-US" sz="1900" kern="1200"/>
        </a:p>
        <a:p>
          <a:pPr marL="342900" lvl="2" indent="-171450" algn="l" defTabSz="844550">
            <a:lnSpc>
              <a:spcPct val="90000"/>
            </a:lnSpc>
            <a:spcBef>
              <a:spcPct val="0"/>
            </a:spcBef>
            <a:spcAft>
              <a:spcPct val="15000"/>
            </a:spcAft>
            <a:buChar char="•"/>
          </a:pPr>
          <a:r>
            <a:rPr lang="en-US" sz="1900" kern="1200" baseline="0"/>
            <a:t>sys.database_firewall_rules</a:t>
          </a:r>
          <a:endParaRPr lang="en-US" sz="1900" kern="1200"/>
        </a:p>
        <a:p>
          <a:pPr marL="342900" lvl="2" indent="-171450" algn="l" defTabSz="844550">
            <a:lnSpc>
              <a:spcPct val="90000"/>
            </a:lnSpc>
            <a:spcBef>
              <a:spcPct val="0"/>
            </a:spcBef>
            <a:spcAft>
              <a:spcPct val="15000"/>
            </a:spcAft>
            <a:buChar char="•"/>
          </a:pPr>
          <a:r>
            <a:rPr lang="en-US" sz="1900" kern="1200" baseline="0"/>
            <a:t>sp_set_database_firewall_rule</a:t>
          </a:r>
          <a:endParaRPr lang="en-US" sz="1900" kern="1200"/>
        </a:p>
        <a:p>
          <a:pPr marL="342900" lvl="2" indent="-171450" algn="l" defTabSz="844550">
            <a:lnSpc>
              <a:spcPct val="90000"/>
            </a:lnSpc>
            <a:spcBef>
              <a:spcPct val="0"/>
            </a:spcBef>
            <a:spcAft>
              <a:spcPct val="15000"/>
            </a:spcAft>
            <a:buChar char="•"/>
          </a:pPr>
          <a:r>
            <a:rPr lang="en-US" sz="1900" kern="1200" baseline="0"/>
            <a:t>sp_delete_database_firewall_rule</a:t>
          </a:r>
          <a:endParaRPr lang="en-US" sz="1900" kern="1200"/>
        </a:p>
      </dsp:txBody>
      <dsp:txXfrm>
        <a:off x="0" y="785864"/>
        <a:ext cx="5284787" cy="427670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DB2D25-172C-4538-B494-35FEC6589274}">
      <dsp:nvSpPr>
        <dsp:cNvPr id="0" name=""/>
        <dsp:cNvSpPr/>
      </dsp:nvSpPr>
      <dsp:spPr>
        <a:xfrm>
          <a:off x="-4765496" y="-730429"/>
          <a:ext cx="5676143" cy="5676143"/>
        </a:xfrm>
        <a:prstGeom prst="blockArc">
          <a:avLst>
            <a:gd name="adj1" fmla="val 18900000"/>
            <a:gd name="adj2" fmla="val 2700000"/>
            <a:gd name="adj3" fmla="val 381"/>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06E6D0-BE23-4EAA-AF79-F5B4AC1D47CA}">
      <dsp:nvSpPr>
        <dsp:cNvPr id="0" name=""/>
        <dsp:cNvSpPr/>
      </dsp:nvSpPr>
      <dsp:spPr>
        <a:xfrm>
          <a:off x="476922" y="324071"/>
          <a:ext cx="5374282" cy="6484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73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Allow access to Azure services</a:t>
          </a:r>
          <a:endParaRPr lang="nl-BE" sz="2000" kern="1200">
            <a:latin typeface="Segoe UI"/>
            <a:ea typeface="+mn-ea"/>
            <a:cs typeface="+mn-cs"/>
          </a:endParaRPr>
        </a:p>
      </dsp:txBody>
      <dsp:txXfrm>
        <a:off x="476922" y="324071"/>
        <a:ext cx="5374282" cy="648479"/>
      </dsp:txXfrm>
    </dsp:sp>
    <dsp:sp modelId="{3AC26FEF-B553-40FC-8086-282729F6BFCD}">
      <dsp:nvSpPr>
        <dsp:cNvPr id="0" name=""/>
        <dsp:cNvSpPr/>
      </dsp:nvSpPr>
      <dsp:spPr>
        <a:xfrm>
          <a:off x="71622" y="243011"/>
          <a:ext cx="810599" cy="81059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41563B-FF70-46E1-9511-7901EC906F04}">
      <dsp:nvSpPr>
        <dsp:cNvPr id="0" name=""/>
        <dsp:cNvSpPr/>
      </dsp:nvSpPr>
      <dsp:spPr>
        <a:xfrm>
          <a:off x="848710" y="1296958"/>
          <a:ext cx="5002494" cy="6484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73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IP Rules</a:t>
          </a:r>
          <a:endParaRPr lang="nl-BE" sz="2000" kern="1200">
            <a:latin typeface="Segoe UI"/>
            <a:ea typeface="+mn-ea"/>
            <a:cs typeface="+mn-cs"/>
          </a:endParaRPr>
        </a:p>
      </dsp:txBody>
      <dsp:txXfrm>
        <a:off x="848710" y="1296958"/>
        <a:ext cx="5002494" cy="648479"/>
      </dsp:txXfrm>
    </dsp:sp>
    <dsp:sp modelId="{9E8ED44D-1966-43E1-9334-CE033F0F5F23}">
      <dsp:nvSpPr>
        <dsp:cNvPr id="0" name=""/>
        <dsp:cNvSpPr/>
      </dsp:nvSpPr>
      <dsp:spPr>
        <a:xfrm>
          <a:off x="443410" y="1215898"/>
          <a:ext cx="810599" cy="81059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C68567-23BB-412C-8B4C-54ABF0E74369}">
      <dsp:nvSpPr>
        <dsp:cNvPr id="0" name=""/>
        <dsp:cNvSpPr/>
      </dsp:nvSpPr>
      <dsp:spPr>
        <a:xfrm>
          <a:off x="848710" y="2269846"/>
          <a:ext cx="5002494" cy="6484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73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Only one geographic region</a:t>
          </a:r>
          <a:endParaRPr lang="nl-BE" sz="2000" kern="1200">
            <a:latin typeface="Segoe UI"/>
            <a:ea typeface="+mn-ea"/>
            <a:cs typeface="+mn-cs"/>
          </a:endParaRPr>
        </a:p>
      </dsp:txBody>
      <dsp:txXfrm>
        <a:off x="848710" y="2269846"/>
        <a:ext cx="5002494" cy="648479"/>
      </dsp:txXfrm>
    </dsp:sp>
    <dsp:sp modelId="{408FA006-236D-44FC-8DCB-318D730A7D2F}">
      <dsp:nvSpPr>
        <dsp:cNvPr id="0" name=""/>
        <dsp:cNvSpPr/>
      </dsp:nvSpPr>
      <dsp:spPr>
        <a:xfrm>
          <a:off x="443410" y="2188786"/>
          <a:ext cx="810599" cy="81059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DD3C98-1371-401F-9C74-DF8F1A1C1D37}">
      <dsp:nvSpPr>
        <dsp:cNvPr id="0" name=""/>
        <dsp:cNvSpPr/>
      </dsp:nvSpPr>
      <dsp:spPr>
        <a:xfrm>
          <a:off x="476922" y="3242734"/>
          <a:ext cx="5374282" cy="64847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731"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baseline="0">
              <a:latin typeface="Segoe UI"/>
              <a:ea typeface="+mn-ea"/>
              <a:cs typeface="+mn-cs"/>
            </a:rPr>
            <a:t>Server-level, not database-level</a:t>
          </a:r>
          <a:endParaRPr lang="nl-BE" sz="2000" kern="1200">
            <a:latin typeface="Segoe UI"/>
            <a:ea typeface="+mn-ea"/>
            <a:cs typeface="+mn-cs"/>
          </a:endParaRPr>
        </a:p>
      </dsp:txBody>
      <dsp:txXfrm>
        <a:off x="476922" y="3242734"/>
        <a:ext cx="5374282" cy="648479"/>
      </dsp:txXfrm>
    </dsp:sp>
    <dsp:sp modelId="{3A55A322-389C-472C-867C-A42F528DBA29}">
      <dsp:nvSpPr>
        <dsp:cNvPr id="0" name=""/>
        <dsp:cNvSpPr/>
      </dsp:nvSpPr>
      <dsp:spPr>
        <a:xfrm>
          <a:off x="71622" y="3161674"/>
          <a:ext cx="810599" cy="81059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9D33B1-AC47-451C-BEB5-10858CDCD3E6}">
      <dsp:nvSpPr>
        <dsp:cNvPr id="0" name=""/>
        <dsp:cNvSpPr/>
      </dsp:nvSpPr>
      <dsp:spPr>
        <a:xfrm>
          <a:off x="0" y="173011"/>
          <a:ext cx="5522410" cy="12168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a:latin typeface="Segoe UI"/>
              <a:ea typeface="+mn-ea"/>
              <a:cs typeface="+mn-cs"/>
            </a:rPr>
            <a:t>Connection via a private endpoint, that </a:t>
          </a:r>
          <a:r>
            <a:rPr lang="en-US" sz="1800" kern="1200">
              <a:latin typeface="Segoe UI"/>
              <a:ea typeface="+mn-ea"/>
              <a:cs typeface="+mn-cs"/>
            </a:rPr>
            <a:t>is a private IP address within a specific </a:t>
          </a:r>
          <a:r>
            <a:rPr lang="en-US" sz="1800" kern="1200" err="1">
              <a:latin typeface="Segoe UI"/>
              <a:ea typeface="+mn-ea"/>
              <a:cs typeface="+mn-cs"/>
            </a:rPr>
            <a:t>VNet</a:t>
          </a:r>
          <a:r>
            <a:rPr lang="en-US" sz="1800" kern="1200">
              <a:latin typeface="Segoe UI"/>
              <a:ea typeface="+mn-ea"/>
              <a:cs typeface="+mn-cs"/>
            </a:rPr>
            <a:t> and Subnet.</a:t>
          </a:r>
          <a:endParaRPr lang="nl-BE" sz="1800" kern="1200">
            <a:latin typeface="Segoe UI"/>
            <a:ea typeface="+mn-ea"/>
            <a:cs typeface="+mn-cs"/>
          </a:endParaRPr>
        </a:p>
      </dsp:txBody>
      <dsp:txXfrm>
        <a:off x="0" y="173011"/>
        <a:ext cx="5522410" cy="1216800"/>
      </dsp:txXfrm>
    </dsp:sp>
    <dsp:sp modelId="{20AE8525-D452-41FB-9955-66D48549AC84}">
      <dsp:nvSpPr>
        <dsp:cNvPr id="0" name=""/>
        <dsp:cNvSpPr/>
      </dsp:nvSpPr>
      <dsp:spPr>
        <a:xfrm>
          <a:off x="0" y="1577011"/>
          <a:ext cx="5522410" cy="12168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a:ea typeface="+mn-ea"/>
              <a:cs typeface="+mn-cs"/>
            </a:rPr>
            <a:t>Enable cross-premises access to the private endpoint using ExpressRoute, private peering, or VPN tunneling.</a:t>
          </a:r>
          <a:endParaRPr lang="nl-BE" sz="1800" kern="1200" dirty="0">
            <a:latin typeface="Segoe UI"/>
            <a:ea typeface="+mn-ea"/>
            <a:cs typeface="+mn-cs"/>
          </a:endParaRPr>
        </a:p>
      </dsp:txBody>
      <dsp:txXfrm>
        <a:off x="0" y="1577011"/>
        <a:ext cx="5522410" cy="1216800"/>
      </dsp:txXfrm>
    </dsp:sp>
    <dsp:sp modelId="{6FF0AFA1-997F-4723-BA61-16D598A017FB}">
      <dsp:nvSpPr>
        <dsp:cNvPr id="0" name=""/>
        <dsp:cNvSpPr/>
      </dsp:nvSpPr>
      <dsp:spPr>
        <a:xfrm>
          <a:off x="0" y="2981011"/>
          <a:ext cx="5522410" cy="12168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latin typeface="Segoe UI"/>
              <a:ea typeface="+mn-ea"/>
              <a:cs typeface="+mn-cs"/>
            </a:rPr>
            <a:t>Subsequently all access via public endpoint can be disabled and not need to use the IP-based firewall.</a:t>
          </a:r>
          <a:endParaRPr lang="nl-BE" sz="1800" kern="1200" dirty="0">
            <a:latin typeface="Segoe UI"/>
            <a:ea typeface="+mn-ea"/>
            <a:cs typeface="+mn-cs"/>
          </a:endParaRPr>
        </a:p>
      </dsp:txBody>
      <dsp:txXfrm>
        <a:off x="0" y="2981011"/>
        <a:ext cx="5522410" cy="12168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3528"/>
          <a:ext cx="10880725"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solidFill>
                <a:srgbClr val="FFFFFF"/>
              </a:solidFill>
            </a:rPr>
            <a:t>True or False? Initially, all access to your Azure SQL Database server is blocked by the firewall?</a:t>
          </a:r>
          <a:endParaRPr lang="en-US" sz="2100" kern="1200"/>
        </a:p>
      </dsp:txBody>
      <dsp:txXfrm>
        <a:off x="44378" y="87906"/>
        <a:ext cx="10791969" cy="820333"/>
      </dsp:txXfrm>
    </dsp:sp>
    <dsp:sp modelId="{B3F60DE7-21F9-431D-80B0-FDE766B61594}">
      <dsp:nvSpPr>
        <dsp:cNvPr id="0" name=""/>
        <dsp:cNvSpPr/>
      </dsp:nvSpPr>
      <dsp:spPr>
        <a:xfrm>
          <a:off x="0" y="1013098"/>
          <a:ext cx="10880725" cy="9090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a:solidFill>
                <a:srgbClr val="FFFFFF"/>
              </a:solidFill>
            </a:rPr>
            <a:t>Can you use the Azure Portal to configure database-level firewall rules?</a:t>
          </a:r>
          <a:endParaRPr lang="en-US" sz="2100" kern="1200"/>
        </a:p>
      </dsp:txBody>
      <dsp:txXfrm>
        <a:off x="44378" y="1057476"/>
        <a:ext cx="10791969" cy="820333"/>
      </dsp:txXfrm>
    </dsp:sp>
    <dsp:sp modelId="{E74A1925-E31D-40F8-B952-DCD97B7B1D76}">
      <dsp:nvSpPr>
        <dsp:cNvPr id="0" name=""/>
        <dsp:cNvSpPr/>
      </dsp:nvSpPr>
      <dsp:spPr>
        <a:xfrm>
          <a:off x="0" y="1982668"/>
          <a:ext cx="10880725" cy="9090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Font typeface="Arial" panose="020B0604020202020204" pitchFamily="34" charset="0"/>
            <a:buNone/>
          </a:pPr>
          <a:r>
            <a:rPr lang="en-US" sz="2100" kern="1200">
              <a:solidFill>
                <a:srgbClr val="FFFFFF"/>
              </a:solidFill>
            </a:rPr>
            <a:t>Why should you use Virtual Network Service Endpoints?</a:t>
          </a:r>
          <a:endParaRPr lang="en-US" sz="2100" kern="1200"/>
        </a:p>
      </dsp:txBody>
      <dsp:txXfrm>
        <a:off x="44378" y="2027046"/>
        <a:ext cx="10791969" cy="820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E7952D-87C4-4BFA-A2DB-F18002148FCA}">
      <dsp:nvSpPr>
        <dsp:cNvPr id="0" name=""/>
        <dsp:cNvSpPr/>
      </dsp:nvSpPr>
      <dsp:spPr>
        <a:xfrm>
          <a:off x="0" y="1288087"/>
          <a:ext cx="5707667" cy="22434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zure Active Directory authentication is a mechanism of connecting to Microsoft Azure SQL Database by using identities in Azure Active Directory (Azure AD)</a:t>
          </a:r>
          <a:endParaRPr lang="en-US" sz="2400" kern="1200" dirty="0"/>
        </a:p>
      </dsp:txBody>
      <dsp:txXfrm>
        <a:off x="109517" y="1397604"/>
        <a:ext cx="5488633" cy="2024441"/>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8F9778-9CC2-4039-A838-CF9DF60B798F}">
      <dsp:nvSpPr>
        <dsp:cNvPr id="0" name=""/>
        <dsp:cNvSpPr/>
      </dsp:nvSpPr>
      <dsp:spPr>
        <a:xfrm>
          <a:off x="73663" y="42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Data is encrypted at rest.</a:t>
          </a:r>
          <a:endParaRPr lang="en-US" sz="1600" kern="1200"/>
        </a:p>
      </dsp:txBody>
      <dsp:txXfrm>
        <a:off x="73663" y="424"/>
        <a:ext cx="2409400" cy="1445640"/>
      </dsp:txXfrm>
    </dsp:sp>
    <dsp:sp modelId="{E54ACC86-2877-4FD4-A6B7-A6E5CCA75187}">
      <dsp:nvSpPr>
        <dsp:cNvPr id="0" name=""/>
        <dsp:cNvSpPr/>
      </dsp:nvSpPr>
      <dsp:spPr>
        <a:xfrm>
          <a:off x="2724003" y="42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Encryption keys are managed by Azure.</a:t>
          </a:r>
          <a:endParaRPr lang="en-US" sz="1600" kern="1200"/>
        </a:p>
      </dsp:txBody>
      <dsp:txXfrm>
        <a:off x="2724003" y="424"/>
        <a:ext cx="2409400" cy="1445640"/>
      </dsp:txXfrm>
    </dsp:sp>
    <dsp:sp modelId="{89ED5511-2D3A-4E27-823B-040B703FC375}">
      <dsp:nvSpPr>
        <dsp:cNvPr id="0" name=""/>
        <dsp:cNvSpPr/>
      </dsp:nvSpPr>
      <dsp:spPr>
        <a:xfrm>
          <a:off x="5374344" y="42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Performs real-time I/O encryption and decryption of the data at the page level.</a:t>
          </a:r>
          <a:endParaRPr lang="en-US" sz="1600" kern="1200"/>
        </a:p>
      </dsp:txBody>
      <dsp:txXfrm>
        <a:off x="5374344" y="424"/>
        <a:ext cx="2409400" cy="1445640"/>
      </dsp:txXfrm>
    </dsp:sp>
    <dsp:sp modelId="{187BD3B6-A0F2-40EA-A192-1CBBD4A5479B}">
      <dsp:nvSpPr>
        <dsp:cNvPr id="0" name=""/>
        <dsp:cNvSpPr/>
      </dsp:nvSpPr>
      <dsp:spPr>
        <a:xfrm>
          <a:off x="73663" y="168700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Each page is decrypted when it's read into memory and then encrypted before being written to disk.</a:t>
          </a:r>
          <a:endParaRPr lang="en-US" sz="1600" kern="1200"/>
        </a:p>
      </dsp:txBody>
      <dsp:txXfrm>
        <a:off x="73663" y="1687004"/>
        <a:ext cx="2409400" cy="1445640"/>
      </dsp:txXfrm>
    </dsp:sp>
    <dsp:sp modelId="{BC8634FE-46AA-426B-89BE-6684BA4389B1}">
      <dsp:nvSpPr>
        <dsp:cNvPr id="0" name=""/>
        <dsp:cNvSpPr/>
      </dsp:nvSpPr>
      <dsp:spPr>
        <a:xfrm>
          <a:off x="2724003" y="168700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TDE is enabled for all newly deployed Azure SQL Databases.</a:t>
          </a:r>
          <a:endParaRPr lang="en-US" sz="1600" kern="1200"/>
        </a:p>
      </dsp:txBody>
      <dsp:txXfrm>
        <a:off x="2724003" y="1687004"/>
        <a:ext cx="2409400" cy="1445640"/>
      </dsp:txXfrm>
    </dsp:sp>
    <dsp:sp modelId="{8ADC6ED9-E559-4D4A-9335-6F2B2C0CC786}">
      <dsp:nvSpPr>
        <dsp:cNvPr id="0" name=""/>
        <dsp:cNvSpPr/>
      </dsp:nvSpPr>
      <dsp:spPr>
        <a:xfrm>
          <a:off x="5374344" y="1687004"/>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No need for application change.</a:t>
          </a:r>
          <a:endParaRPr lang="en-US" sz="1600" kern="1200"/>
        </a:p>
      </dsp:txBody>
      <dsp:txXfrm>
        <a:off x="5374344" y="1687004"/>
        <a:ext cx="2409400" cy="1445640"/>
      </dsp:txXfrm>
    </dsp:sp>
    <dsp:sp modelId="{A1E41EBD-E7F1-43FA-A11F-78116C4EED76}">
      <dsp:nvSpPr>
        <dsp:cNvPr id="0" name=""/>
        <dsp:cNvSpPr/>
      </dsp:nvSpPr>
      <dsp:spPr>
        <a:xfrm>
          <a:off x="1398833" y="3373585"/>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Support for equality operations (including joins) on encrypted data.</a:t>
          </a:r>
          <a:endParaRPr lang="en-US" sz="1600" kern="1200"/>
        </a:p>
      </dsp:txBody>
      <dsp:txXfrm>
        <a:off x="1398833" y="3373585"/>
        <a:ext cx="2409400" cy="1445640"/>
      </dsp:txXfrm>
    </dsp:sp>
    <dsp:sp modelId="{8A0BC0DA-31E6-4910-8CC0-432DFA19B461}">
      <dsp:nvSpPr>
        <dsp:cNvPr id="0" name=""/>
        <dsp:cNvSpPr/>
      </dsp:nvSpPr>
      <dsp:spPr>
        <a:xfrm>
          <a:off x="4049174" y="3373585"/>
          <a:ext cx="2409400" cy="14456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baseline="0"/>
            <a:t>Bring You Own Key (BYOK) supported.</a:t>
          </a:r>
          <a:endParaRPr lang="en-US" sz="1600" kern="1200"/>
        </a:p>
      </dsp:txBody>
      <dsp:txXfrm>
        <a:off x="4049174" y="3373585"/>
        <a:ext cx="2409400" cy="144564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C8F2EA-2928-4B44-AE21-184C2A5CF7A5}">
      <dsp:nvSpPr>
        <dsp:cNvPr id="0" name=""/>
        <dsp:cNvSpPr/>
      </dsp:nvSpPr>
      <dsp:spPr>
        <a:xfrm>
          <a:off x="53" y="68142"/>
          <a:ext cx="5084401" cy="8523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b="1" kern="1200" baseline="0"/>
            <a:t>Service-managed transparent data encryption</a:t>
          </a:r>
          <a:endParaRPr lang="en-US" sz="2200" b="1" kern="1200"/>
        </a:p>
      </dsp:txBody>
      <dsp:txXfrm>
        <a:off x="53" y="68142"/>
        <a:ext cx="5084401" cy="852375"/>
      </dsp:txXfrm>
    </dsp:sp>
    <dsp:sp modelId="{E72943CF-2BAA-44EA-B4B4-D05E5B74E157}">
      <dsp:nvSpPr>
        <dsp:cNvPr id="0" name=""/>
        <dsp:cNvSpPr/>
      </dsp:nvSpPr>
      <dsp:spPr>
        <a:xfrm>
          <a:off x="53" y="920517"/>
          <a:ext cx="5084401" cy="383099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a:t>The database encryption key is protected by a built-in server certificate.</a:t>
          </a:r>
          <a:endParaRPr lang="en-US" sz="2200" kern="1200"/>
        </a:p>
        <a:p>
          <a:pPr marL="228600" lvl="1" indent="-228600" algn="l" defTabSz="977900">
            <a:lnSpc>
              <a:spcPct val="90000"/>
            </a:lnSpc>
            <a:spcBef>
              <a:spcPct val="0"/>
            </a:spcBef>
            <a:spcAft>
              <a:spcPct val="15000"/>
            </a:spcAft>
            <a:buChar char="•"/>
          </a:pPr>
          <a:r>
            <a:rPr lang="en-US" sz="2200" kern="1200" baseline="0" dirty="0"/>
            <a:t>Unique for each server.</a:t>
          </a:r>
          <a:endParaRPr lang="en-US" sz="2200" kern="1200" dirty="0"/>
        </a:p>
        <a:p>
          <a:pPr marL="228600" lvl="1" indent="-228600" algn="l" defTabSz="977900">
            <a:lnSpc>
              <a:spcPct val="90000"/>
            </a:lnSpc>
            <a:spcBef>
              <a:spcPct val="0"/>
            </a:spcBef>
            <a:spcAft>
              <a:spcPct val="15000"/>
            </a:spcAft>
            <a:buChar char="•"/>
          </a:pPr>
          <a:r>
            <a:rPr lang="en-US" sz="2200" kern="1200" baseline="0"/>
            <a:t>Primary and geo-secondary database are protected by the primary database's parent server key.</a:t>
          </a:r>
          <a:endParaRPr lang="en-US" sz="2200" kern="1200"/>
        </a:p>
        <a:p>
          <a:pPr marL="228600" lvl="1" indent="-228600" algn="l" defTabSz="977900">
            <a:lnSpc>
              <a:spcPct val="90000"/>
            </a:lnSpc>
            <a:spcBef>
              <a:spcPct val="0"/>
            </a:spcBef>
            <a:spcAft>
              <a:spcPct val="15000"/>
            </a:spcAft>
            <a:buChar char="•"/>
          </a:pPr>
          <a:r>
            <a:rPr lang="en-US" sz="2200" kern="1200" baseline="0"/>
            <a:t>Microsoft automatically rotates these certificates at least every 90 days.</a:t>
          </a:r>
          <a:endParaRPr lang="en-US" sz="2200" kern="1200"/>
        </a:p>
      </dsp:txBody>
      <dsp:txXfrm>
        <a:off x="53" y="920517"/>
        <a:ext cx="5084401" cy="3830990"/>
      </dsp:txXfrm>
    </dsp:sp>
    <dsp:sp modelId="{050257C2-C3D7-4B74-8569-ABABE0E413CC}">
      <dsp:nvSpPr>
        <dsp:cNvPr id="0" name=""/>
        <dsp:cNvSpPr/>
      </dsp:nvSpPr>
      <dsp:spPr>
        <a:xfrm>
          <a:off x="5796271" y="68142"/>
          <a:ext cx="5084401" cy="852375"/>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b="1" kern="1200" baseline="0"/>
            <a:t>Bring Your Own Key</a:t>
          </a:r>
          <a:endParaRPr lang="en-US" sz="2200" b="1" kern="1200"/>
        </a:p>
      </dsp:txBody>
      <dsp:txXfrm>
        <a:off x="5796271" y="68142"/>
        <a:ext cx="5084401" cy="852375"/>
      </dsp:txXfrm>
    </dsp:sp>
    <dsp:sp modelId="{3C1F1FFF-B497-4C04-BEC7-4B246574C49C}">
      <dsp:nvSpPr>
        <dsp:cNvPr id="0" name=""/>
        <dsp:cNvSpPr/>
      </dsp:nvSpPr>
      <dsp:spPr>
        <a:xfrm>
          <a:off x="5796271" y="920517"/>
          <a:ext cx="5084401" cy="383099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baseline="0"/>
            <a:t>Take control over your transparent data encryption keys and control who can access them and when.</a:t>
          </a:r>
          <a:endParaRPr lang="en-US" sz="2200" kern="1200"/>
        </a:p>
        <a:p>
          <a:pPr marL="228600" lvl="1" indent="-228600" algn="l" defTabSz="977900">
            <a:lnSpc>
              <a:spcPct val="90000"/>
            </a:lnSpc>
            <a:spcBef>
              <a:spcPct val="0"/>
            </a:spcBef>
            <a:spcAft>
              <a:spcPct val="15000"/>
            </a:spcAft>
            <a:buChar char="•"/>
          </a:pPr>
          <a:r>
            <a:rPr lang="en-US" sz="2200" kern="1200" baseline="0"/>
            <a:t>Azure Key Vault.</a:t>
          </a:r>
          <a:endParaRPr lang="en-US" sz="2200" kern="1200"/>
        </a:p>
        <a:p>
          <a:pPr marL="228600" lvl="1" indent="-228600" algn="l" defTabSz="977900">
            <a:lnSpc>
              <a:spcPct val="90000"/>
            </a:lnSpc>
            <a:spcBef>
              <a:spcPct val="0"/>
            </a:spcBef>
            <a:spcAft>
              <a:spcPct val="15000"/>
            </a:spcAft>
            <a:buChar char="•"/>
          </a:pPr>
          <a:r>
            <a:rPr lang="en-US" sz="2200" kern="1200" baseline="0" dirty="0"/>
            <a:t>You set the asymmetric key at the server level, and all databases under that server inherit it.</a:t>
          </a:r>
          <a:endParaRPr lang="en-US" sz="2200" kern="1200" dirty="0"/>
        </a:p>
        <a:p>
          <a:pPr marL="228600" lvl="1" indent="-228600" algn="l" defTabSz="977900">
            <a:lnSpc>
              <a:spcPct val="90000"/>
            </a:lnSpc>
            <a:spcBef>
              <a:spcPct val="0"/>
            </a:spcBef>
            <a:spcAft>
              <a:spcPct val="15000"/>
            </a:spcAft>
            <a:buChar char="•"/>
          </a:pPr>
          <a:r>
            <a:rPr lang="en-US" sz="2200" kern="1200" baseline="0"/>
            <a:t>You can control key management tasks such as key rotations and key vault permissions. </a:t>
          </a:r>
          <a:endParaRPr lang="en-US" sz="2200" kern="1200"/>
        </a:p>
      </dsp:txBody>
      <dsp:txXfrm>
        <a:off x="5796271" y="920517"/>
        <a:ext cx="5084401" cy="383099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42D39-E5FB-4377-8870-F1C102C57199}">
      <dsp:nvSpPr>
        <dsp:cNvPr id="0" name=""/>
        <dsp:cNvSpPr/>
      </dsp:nvSpPr>
      <dsp:spPr>
        <a:xfrm>
          <a:off x="0" y="105059"/>
          <a:ext cx="5440361" cy="1505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You are responsible for and in a full control of a key lifecycle management (key creation, upload, rotation, deletion), key usage permissions, and auditing of operations on keys.</a:t>
          </a:r>
          <a:endParaRPr lang="en-US" sz="1600" kern="1200"/>
        </a:p>
      </dsp:txBody>
      <dsp:txXfrm>
        <a:off x="73507" y="178566"/>
        <a:ext cx="5293347" cy="1358776"/>
      </dsp:txXfrm>
    </dsp:sp>
    <dsp:sp modelId="{1239427C-7524-403E-B542-39CB0242E415}">
      <dsp:nvSpPr>
        <dsp:cNvPr id="0" name=""/>
        <dsp:cNvSpPr/>
      </dsp:nvSpPr>
      <dsp:spPr>
        <a:xfrm>
          <a:off x="0" y="1656930"/>
          <a:ext cx="5440361" cy="1505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dirty="0"/>
            <a:t>The key used for encryption of the Database Encryption Key (DEK), called TDE protector, is a customer-managed asymmetric key stored in a customer-owned and customer-managed Azure Key Vault (AKV), a cloud-based external key management system. </a:t>
          </a:r>
          <a:endParaRPr lang="en-US" sz="1600" kern="1200" dirty="0"/>
        </a:p>
      </dsp:txBody>
      <dsp:txXfrm>
        <a:off x="73507" y="1730437"/>
        <a:ext cx="5293347" cy="1358776"/>
      </dsp:txXfrm>
    </dsp:sp>
    <dsp:sp modelId="{82819A0E-DD2B-44DD-9624-846941ACACD0}">
      <dsp:nvSpPr>
        <dsp:cNvPr id="0" name=""/>
        <dsp:cNvSpPr/>
      </dsp:nvSpPr>
      <dsp:spPr>
        <a:xfrm>
          <a:off x="0" y="3208800"/>
          <a:ext cx="5440361" cy="1505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a:t>TDE protector is set at the logical server level and is inherited by all encrypted databases associated with that server. </a:t>
          </a:r>
          <a:endParaRPr lang="en-US" sz="1600" kern="1200"/>
        </a:p>
      </dsp:txBody>
      <dsp:txXfrm>
        <a:off x="73507" y="3282307"/>
        <a:ext cx="5293347" cy="1358776"/>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2523"/>
          <a:ext cx="10880725" cy="879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FFFFFF"/>
              </a:solidFill>
            </a:rPr>
            <a:t>Does TDE encrypt the data in motion?</a:t>
          </a:r>
          <a:endParaRPr lang="en-US" sz="2400" kern="1200"/>
        </a:p>
      </dsp:txBody>
      <dsp:txXfrm>
        <a:off x="42950" y="55473"/>
        <a:ext cx="10794825" cy="793940"/>
      </dsp:txXfrm>
    </dsp:sp>
    <dsp:sp modelId="{A1C58C77-57D6-42C3-8990-B90D8EF58A29}">
      <dsp:nvSpPr>
        <dsp:cNvPr id="0" name=""/>
        <dsp:cNvSpPr/>
      </dsp:nvSpPr>
      <dsp:spPr>
        <a:xfrm>
          <a:off x="0" y="1027723"/>
          <a:ext cx="10880725" cy="8798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a:solidFill>
                <a:srgbClr val="FFFFFF"/>
              </a:solidFill>
            </a:rPr>
            <a:t>What kind of application changes are required to use TDE?</a:t>
          </a:r>
          <a:endParaRPr lang="en-US" sz="2400" kern="1200"/>
        </a:p>
      </dsp:txBody>
      <dsp:txXfrm>
        <a:off x="42950" y="1070673"/>
        <a:ext cx="10794825" cy="793940"/>
      </dsp:txXfrm>
    </dsp:sp>
    <dsp:sp modelId="{1CAA3CB0-AB64-4F9C-B1AD-E0D3EE5A0654}">
      <dsp:nvSpPr>
        <dsp:cNvPr id="0" name=""/>
        <dsp:cNvSpPr/>
      </dsp:nvSpPr>
      <dsp:spPr>
        <a:xfrm>
          <a:off x="0" y="2042923"/>
          <a:ext cx="10880725" cy="879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a:solidFill>
                <a:srgbClr val="FFFFFF"/>
              </a:solidFill>
            </a:rPr>
            <a:t>Which 2 types of Encryption Keys can be used for TDE?</a:t>
          </a:r>
          <a:endParaRPr lang="en-US" sz="2400" kern="1200"/>
        </a:p>
      </dsp:txBody>
      <dsp:txXfrm>
        <a:off x="42950" y="2085873"/>
        <a:ext cx="10794825" cy="79394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0398DE-36F2-450C-915F-61D66BF3232E}">
      <dsp:nvSpPr>
        <dsp:cNvPr id="0" name=""/>
        <dsp:cNvSpPr/>
      </dsp:nvSpPr>
      <dsp:spPr>
        <a:xfrm>
          <a:off x="2125" y="1066594"/>
          <a:ext cx="4531864" cy="2719118"/>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baseline="0">
              <a:latin typeface="Segoe UI"/>
              <a:ea typeface="+mn-ea"/>
              <a:cs typeface="+mn-cs"/>
            </a:rPr>
            <a:t>Always Encrypted allows clients to encrypt sensitive data inside client applications and never reveal the encryption keys to SQL Database.</a:t>
          </a:r>
        </a:p>
      </dsp:txBody>
      <dsp:txXfrm>
        <a:off x="2125" y="1066594"/>
        <a:ext cx="4531864" cy="2719118"/>
      </dsp:txXfrm>
    </dsp:sp>
    <dsp:sp modelId="{BABA1ACF-A3F8-4DE8-99E1-8BB0D2EE8B0A}">
      <dsp:nvSpPr>
        <dsp:cNvPr id="0" name=""/>
        <dsp:cNvSpPr/>
      </dsp:nvSpPr>
      <dsp:spPr>
        <a:xfrm>
          <a:off x="4987176" y="1864202"/>
          <a:ext cx="960755" cy="112390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solidFill>
              <a:srgbClr val="505050">
                <a:hueOff val="0"/>
                <a:satOff val="0"/>
                <a:lumOff val="0"/>
                <a:alphaOff val="0"/>
              </a:srgbClr>
            </a:solidFill>
            <a:latin typeface="Segoe UI"/>
            <a:ea typeface="+mn-ea"/>
            <a:cs typeface="+mn-cs"/>
          </a:endParaRPr>
        </a:p>
      </dsp:txBody>
      <dsp:txXfrm>
        <a:off x="4987176" y="2088982"/>
        <a:ext cx="672529" cy="674342"/>
      </dsp:txXfrm>
    </dsp:sp>
    <dsp:sp modelId="{BF2C68F1-4F6A-45C2-899E-5658432BBC06}">
      <dsp:nvSpPr>
        <dsp:cNvPr id="0" name=""/>
        <dsp:cNvSpPr/>
      </dsp:nvSpPr>
      <dsp:spPr>
        <a:xfrm>
          <a:off x="6346735" y="1066594"/>
          <a:ext cx="4531864" cy="2719118"/>
        </a:xfrm>
        <a:prstGeom prst="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a:latin typeface="Segoe UI"/>
              <a:ea typeface="+mn-ea"/>
              <a:cs typeface="+mn-cs"/>
            </a:rPr>
            <a:t>As a result, Always Encrypted provides a separation between those who own the data (and can view it) and those who manage the data (but should have no access). </a:t>
          </a:r>
          <a:endParaRPr lang="es-ES" sz="2600" kern="1200">
            <a:latin typeface="Segoe UI"/>
            <a:ea typeface="+mn-ea"/>
            <a:cs typeface="+mn-cs"/>
          </a:endParaRPr>
        </a:p>
      </dsp:txBody>
      <dsp:txXfrm>
        <a:off x="6346735" y="1066594"/>
        <a:ext cx="4531864" cy="271911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0167FA-DE95-4E05-8F91-6A8DAD251273}">
      <dsp:nvSpPr>
        <dsp:cNvPr id="0" name=""/>
        <dsp:cNvSpPr/>
      </dsp:nvSpPr>
      <dsp:spPr>
        <a:xfrm>
          <a:off x="0" y="65684"/>
          <a:ext cx="3722189"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pability</a:t>
          </a:r>
          <a:endParaRPr lang="en-US" sz="2400" kern="1200"/>
        </a:p>
      </dsp:txBody>
      <dsp:txXfrm>
        <a:off x="30157" y="95841"/>
        <a:ext cx="3661875" cy="557445"/>
      </dsp:txXfrm>
    </dsp:sp>
    <dsp:sp modelId="{99AC13B2-FC11-4B48-85CD-27113BF6C2C4}">
      <dsp:nvSpPr>
        <dsp:cNvPr id="0" name=""/>
        <dsp:cNvSpPr/>
      </dsp:nvSpPr>
      <dsp:spPr>
        <a:xfrm>
          <a:off x="0" y="683444"/>
          <a:ext cx="3722189" cy="1217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8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Transparent client-side encryption, while SQL Server executes T-SQL queries on encrypted data.</a:t>
          </a:r>
          <a:endParaRPr lang="en-US" sz="1900" kern="1200"/>
        </a:p>
      </dsp:txBody>
      <dsp:txXfrm>
        <a:off x="0" y="683444"/>
        <a:ext cx="3722189" cy="1217160"/>
      </dsp:txXfrm>
    </dsp:sp>
    <dsp:sp modelId="{D88017D2-F8B2-4A2F-AC7B-7EF7DA82310D}">
      <dsp:nvSpPr>
        <dsp:cNvPr id="0" name=""/>
        <dsp:cNvSpPr/>
      </dsp:nvSpPr>
      <dsp:spPr>
        <a:xfrm>
          <a:off x="0" y="1900605"/>
          <a:ext cx="3722189"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enefits</a:t>
          </a:r>
          <a:endParaRPr lang="en-US" sz="2400" kern="1200"/>
        </a:p>
      </dsp:txBody>
      <dsp:txXfrm>
        <a:off x="30157" y="1930762"/>
        <a:ext cx="3661875" cy="557445"/>
      </dsp:txXfrm>
    </dsp:sp>
    <dsp:sp modelId="{04B779F4-87FA-4B0F-A69A-2817AF99CFF7}">
      <dsp:nvSpPr>
        <dsp:cNvPr id="0" name=""/>
        <dsp:cNvSpPr/>
      </dsp:nvSpPr>
      <dsp:spPr>
        <a:xfrm>
          <a:off x="0" y="2518364"/>
          <a:ext cx="3722189" cy="223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80"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Sensitive data remains encrypted and query-able at all times.</a:t>
          </a:r>
          <a:endParaRPr lang="en-US" sz="1900" kern="1200"/>
        </a:p>
        <a:p>
          <a:pPr marL="171450" lvl="1" indent="-171450" algn="l" defTabSz="844550">
            <a:lnSpc>
              <a:spcPct val="90000"/>
            </a:lnSpc>
            <a:spcBef>
              <a:spcPct val="0"/>
            </a:spcBef>
            <a:spcAft>
              <a:spcPct val="20000"/>
            </a:spcAft>
            <a:buChar char="•"/>
          </a:pPr>
          <a:r>
            <a:rPr lang="en-US" sz="1900" kern="1200" baseline="0"/>
            <a:t>Unauthorized users never have access to data or keys.</a:t>
          </a:r>
          <a:endParaRPr lang="en-US" sz="1900" kern="1200"/>
        </a:p>
        <a:p>
          <a:pPr marL="171450" lvl="1" indent="-171450" algn="l" defTabSz="844550">
            <a:lnSpc>
              <a:spcPct val="90000"/>
            </a:lnSpc>
            <a:spcBef>
              <a:spcPct val="0"/>
            </a:spcBef>
            <a:spcAft>
              <a:spcPct val="20000"/>
            </a:spcAft>
            <a:buChar char="•"/>
          </a:pPr>
          <a:r>
            <a:rPr lang="en-US" sz="1900" kern="1200" baseline="0"/>
            <a:t>No changes to applications are necessary.</a:t>
          </a:r>
          <a:endParaRPr lang="en-US" sz="1900" kern="1200"/>
        </a:p>
      </dsp:txBody>
      <dsp:txXfrm>
        <a:off x="0" y="2518364"/>
        <a:ext cx="3722189" cy="223560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1D7762-782D-4942-A450-C4F40A299441}">
      <dsp:nvSpPr>
        <dsp:cNvPr id="0" name=""/>
        <dsp:cNvSpPr/>
      </dsp:nvSpPr>
      <dsp:spPr>
        <a:xfrm>
          <a:off x="1387769" y="2289"/>
          <a:ext cx="2838996" cy="1419498"/>
        </a:xfrm>
        <a:prstGeom prst="rect">
          <a:avLst/>
        </a:prstGeom>
        <a:solidFill>
          <a:srgbClr val="002050"/>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baseline="0">
              <a:solidFill>
                <a:srgbClr val="FFFFFF"/>
              </a:solidFill>
              <a:latin typeface="Segoe UI"/>
              <a:ea typeface="+mn-ea"/>
              <a:cs typeface="+mn-cs"/>
            </a:rPr>
            <a:t>Two types of encryption </a:t>
          </a:r>
          <a:br>
            <a:rPr lang="en-US" sz="1800" kern="1200" baseline="0">
              <a:solidFill>
                <a:srgbClr val="FFFFFF"/>
              </a:solidFill>
              <a:latin typeface="Segoe UI"/>
              <a:ea typeface="+mn-ea"/>
              <a:cs typeface="+mn-cs"/>
            </a:rPr>
          </a:br>
          <a:r>
            <a:rPr lang="en-US" sz="1800" kern="1200" baseline="0">
              <a:solidFill>
                <a:srgbClr val="FFFFFF"/>
              </a:solidFill>
              <a:latin typeface="Segoe UI"/>
              <a:ea typeface="+mn-ea"/>
              <a:cs typeface="+mn-cs"/>
            </a:rPr>
            <a:t>are available:</a:t>
          </a:r>
          <a:endParaRPr lang="en-US" sz="1800" kern="1200">
            <a:solidFill>
              <a:srgbClr val="FFFFFF"/>
            </a:solidFill>
            <a:latin typeface="Segoe UI"/>
            <a:ea typeface="+mn-ea"/>
            <a:cs typeface="+mn-cs"/>
          </a:endParaRPr>
        </a:p>
      </dsp:txBody>
      <dsp:txXfrm>
        <a:off x="1387769" y="2289"/>
        <a:ext cx="2838996" cy="1419498"/>
      </dsp:txXfrm>
    </dsp:sp>
    <dsp:sp modelId="{5CD1D8B0-ECB0-4246-B483-225BA4AC04DC}">
      <dsp:nvSpPr>
        <dsp:cNvPr id="0" name=""/>
        <dsp:cNvSpPr/>
      </dsp:nvSpPr>
      <dsp:spPr>
        <a:xfrm>
          <a:off x="0" y="2983264"/>
          <a:ext cx="2838996" cy="1419498"/>
        </a:xfrm>
        <a:prstGeom prst="rect">
          <a:avLst/>
        </a:prstGeom>
        <a:solidFill>
          <a:srgbClr val="0078D7"/>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baseline="0">
              <a:solidFill>
                <a:srgbClr val="FFFFFF"/>
              </a:solidFill>
              <a:latin typeface="Segoe UI"/>
              <a:ea typeface="+mn-ea"/>
              <a:cs typeface="+mn-cs"/>
            </a:rPr>
            <a:t>Randomized encryption uses a method that encrypts data in less predictable manner.</a:t>
          </a:r>
          <a:endParaRPr lang="en-US" sz="1800" kern="1200">
            <a:solidFill>
              <a:srgbClr val="FFFFFF"/>
            </a:solidFill>
            <a:latin typeface="Segoe UI"/>
            <a:ea typeface="+mn-ea"/>
            <a:cs typeface="+mn-cs"/>
          </a:endParaRPr>
        </a:p>
      </dsp:txBody>
      <dsp:txXfrm>
        <a:off x="0" y="2983264"/>
        <a:ext cx="2838996" cy="1419498"/>
      </dsp:txXfrm>
    </dsp:sp>
    <dsp:sp modelId="{0B348427-0021-47DF-923A-EC2125656BF4}">
      <dsp:nvSpPr>
        <dsp:cNvPr id="0" name=""/>
        <dsp:cNvSpPr/>
      </dsp:nvSpPr>
      <dsp:spPr>
        <a:xfrm>
          <a:off x="2775538" y="2974534"/>
          <a:ext cx="2838996" cy="1419498"/>
        </a:xfrm>
        <a:prstGeom prst="rect">
          <a:avLst/>
        </a:prstGeom>
        <a:solidFill>
          <a:srgbClr val="002050">
            <a:lumMod val="75000"/>
            <a:lumOff val="2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rtl="0">
            <a:lnSpc>
              <a:spcPct val="90000"/>
            </a:lnSpc>
            <a:spcBef>
              <a:spcPct val="0"/>
            </a:spcBef>
            <a:spcAft>
              <a:spcPct val="35000"/>
            </a:spcAft>
            <a:buNone/>
          </a:pPr>
          <a:r>
            <a:rPr lang="en-US" sz="1800" kern="1200" baseline="0">
              <a:solidFill>
                <a:srgbClr val="FFFFFF"/>
              </a:solidFill>
              <a:latin typeface="Segoe UI"/>
              <a:ea typeface="+mn-ea"/>
              <a:cs typeface="+mn-cs"/>
            </a:rPr>
            <a:t>Deterministic encryption uses method that always generates the same encrypted value for any given plain text value.</a:t>
          </a:r>
          <a:endParaRPr lang="en-US" sz="1800" kern="1200">
            <a:solidFill>
              <a:srgbClr val="FFFFFF"/>
            </a:solidFill>
            <a:latin typeface="Segoe UI"/>
            <a:ea typeface="+mn-ea"/>
            <a:cs typeface="+mn-cs"/>
          </a:endParaRPr>
        </a:p>
      </dsp:txBody>
      <dsp:txXfrm>
        <a:off x="2775538" y="2974534"/>
        <a:ext cx="2838996" cy="141949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575FC-747A-4E02-ACD0-A61FBEC1927C}">
      <dsp:nvSpPr>
        <dsp:cNvPr id="0" name=""/>
        <dsp:cNvSpPr/>
      </dsp:nvSpPr>
      <dsp:spPr>
        <a:xfrm>
          <a:off x="0" y="369557"/>
          <a:ext cx="4978144" cy="22176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6359" tIns="458216" rIns="386359" bIns="113792" numCol="1" spcCol="1270" anchor="t" anchorCtr="0">
          <a:noAutofit/>
        </a:bodyPr>
        <a:lstStyle/>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rPr>
            <a:t>Encrypt('123-45-6789') </a:t>
          </a: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 0x17cfd50a</a:t>
          </a:r>
        </a:p>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Repeat: </a:t>
          </a:r>
          <a:r>
            <a:rPr kumimoji="0" lang="en-US" sz="1600" b="0" i="0" u="none" strike="noStrike" kern="1200" cap="none" spc="0" normalizeH="0" baseline="0" noProof="0">
              <a:ln>
                <a:noFill/>
              </a:ln>
              <a:solidFill>
                <a:srgbClr val="002050"/>
              </a:solidFill>
              <a:effectLst/>
              <a:uLnTx/>
              <a:uFillTx/>
              <a:latin typeface="Segoe UI"/>
              <a:ea typeface="+mn-ea"/>
              <a:cs typeface="+mn-cs"/>
            </a:rPr>
            <a:t>Encrypt('123-45-6789')</a:t>
          </a: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 = 0x9b1fcf32</a:t>
          </a:r>
        </a:p>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rPr>
            <a:t>Allows for transparent retrieval of encrypted data</a:t>
          </a:r>
          <a:r>
            <a:rPr kumimoji="0" lang="en-US" sz="1600" b="0" i="0" u="none" strike="noStrike" kern="1200" cap="none" spc="0" normalizeH="0" baseline="0" noProof="0">
              <a:ln>
                <a:noFill/>
              </a:ln>
              <a:solidFill>
                <a:srgbClr val="002050"/>
              </a:solidFill>
              <a:effectLst/>
              <a:uLnTx/>
              <a:uFillTx/>
              <a:latin typeface="Segoe UI Semibold"/>
              <a:ea typeface="+mn-ea"/>
              <a:cs typeface="+mn-cs"/>
            </a:rPr>
            <a:t> </a:t>
          </a:r>
          <a:r>
            <a:rPr kumimoji="0" lang="en-US" sz="1600" b="1" i="0" u="none" strike="noStrike" kern="1200" cap="none" spc="0" normalizeH="0" baseline="0" noProof="0">
              <a:ln>
                <a:noFill/>
              </a:ln>
              <a:solidFill>
                <a:srgbClr val="002050"/>
              </a:solidFill>
              <a:effectLst/>
              <a:uLnTx/>
              <a:uFillTx/>
              <a:latin typeface="Segoe UI Semibold"/>
              <a:ea typeface="+mn-ea"/>
              <a:cs typeface="+mn-cs"/>
            </a:rPr>
            <a:t>but</a:t>
          </a:r>
          <a:r>
            <a:rPr kumimoji="0" lang="en-US" sz="1600" b="0" i="0" u="none" strike="noStrike" kern="1200" cap="none" spc="0" normalizeH="0" baseline="0" noProof="0">
              <a:ln>
                <a:noFill/>
              </a:ln>
              <a:solidFill>
                <a:srgbClr val="002050"/>
              </a:solidFill>
              <a:effectLst/>
              <a:uLnTx/>
              <a:uFillTx/>
              <a:latin typeface="Segoe UI Semibold"/>
              <a:ea typeface="+mn-ea"/>
              <a:cs typeface="+mn-cs"/>
            </a:rPr>
            <a:t> </a:t>
          </a:r>
          <a:r>
            <a:rPr kumimoji="0" lang="en-US" sz="1600" b="1" i="0" u="none" strike="noStrike" kern="1200" cap="none" spc="0" normalizeH="0" baseline="0" noProof="0">
              <a:ln>
                <a:noFill/>
              </a:ln>
              <a:solidFill>
                <a:srgbClr val="002050"/>
              </a:solidFill>
              <a:effectLst/>
              <a:uLnTx/>
              <a:uFillTx/>
              <a:latin typeface="Segoe UI Semibold"/>
              <a:ea typeface="+mn-ea"/>
              <a:cs typeface="+mn-cs"/>
            </a:rPr>
            <a:t>no operations.</a:t>
          </a:r>
        </a:p>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rPr>
            <a:t>More secure</a:t>
          </a:r>
          <a:br>
            <a:rPr kumimoji="0" lang="en-US" sz="1900" b="0" i="0" u="none" strike="noStrike" kern="1200" cap="none" spc="0" normalizeH="0" baseline="0" noProof="0">
              <a:ln>
                <a:noFill/>
              </a:ln>
              <a:solidFill>
                <a:srgbClr val="002050"/>
              </a:solidFill>
              <a:effectLst/>
              <a:uLnTx/>
              <a:uFillTx/>
              <a:latin typeface="Segoe UI"/>
              <a:ea typeface="+mn-ea"/>
              <a:cs typeface="+mn-cs"/>
            </a:rPr>
          </a:br>
          <a:endParaRPr kumimoji="0" lang="en-US" sz="1900" b="0" i="0" u="none" strike="noStrike" kern="1200" cap="none" spc="0" normalizeH="0" baseline="0" noProof="0">
            <a:ln>
              <a:noFill/>
            </a:ln>
            <a:solidFill>
              <a:srgbClr val="002050"/>
            </a:solidFill>
            <a:effectLst/>
            <a:uLnTx/>
            <a:uFillTx/>
            <a:latin typeface="Segoe UI"/>
            <a:ea typeface="+mn-ea"/>
            <a:cs typeface="+mn-cs"/>
          </a:endParaRPr>
        </a:p>
      </dsp:txBody>
      <dsp:txXfrm>
        <a:off x="0" y="369557"/>
        <a:ext cx="4978144" cy="2217600"/>
      </dsp:txXfrm>
    </dsp:sp>
    <dsp:sp modelId="{D2C50ED3-C464-4D89-80BC-D1E793EFF295}">
      <dsp:nvSpPr>
        <dsp:cNvPr id="0" name=""/>
        <dsp:cNvSpPr/>
      </dsp:nvSpPr>
      <dsp:spPr>
        <a:xfrm>
          <a:off x="248907" y="44837"/>
          <a:ext cx="3484700" cy="649440"/>
        </a:xfrm>
        <a:prstGeom prst="roundRect">
          <a:avLst/>
        </a:prstGeom>
        <a:solidFill>
          <a:srgbClr val="0078D7"/>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713" tIns="0" rIns="131713" bIns="0" numCol="1" spcCol="1270" anchor="ctr" anchorCtr="0">
          <a:noAutofit/>
        </a:bodyPr>
        <a:lstStyle/>
        <a:p>
          <a:pPr marL="0" lvl="0" indent="0" algn="l" defTabSz="1066800">
            <a:lnSpc>
              <a:spcPct val="90000"/>
            </a:lnSpc>
            <a:spcBef>
              <a:spcPct val="0"/>
            </a:spcBef>
            <a:spcAft>
              <a:spcPct val="35000"/>
            </a:spcAft>
            <a:buClrTx/>
            <a:buSzTx/>
            <a:buFontTx/>
            <a:buNone/>
          </a:pPr>
          <a:r>
            <a:rPr kumimoji="0" lang="en-US" sz="2400" b="1" i="0" u="none" strike="noStrike" kern="1200" cap="none" spc="0" normalizeH="0" baseline="0" noProof="0">
              <a:ln>
                <a:noFill/>
              </a:ln>
              <a:solidFill>
                <a:srgbClr val="FFFFFF">
                  <a:lumMod val="95000"/>
                </a:srgbClr>
              </a:solidFill>
              <a:effectLst/>
              <a:uLnTx/>
              <a:uFillTx/>
              <a:latin typeface="Segoe UI Light" pitchFamily="34" charset="0"/>
              <a:ea typeface="+mn-ea"/>
              <a:cs typeface="+mn-cs"/>
            </a:rPr>
            <a:t>Randomized encryption</a:t>
          </a:r>
          <a:endParaRPr lang="en-US" sz="2400" kern="1200">
            <a:solidFill>
              <a:srgbClr val="FFFFFF"/>
            </a:solidFill>
            <a:latin typeface="Segoe UI"/>
            <a:ea typeface="+mn-ea"/>
            <a:cs typeface="+mn-cs"/>
          </a:endParaRPr>
        </a:p>
      </dsp:txBody>
      <dsp:txXfrm>
        <a:off x="280610" y="76540"/>
        <a:ext cx="3421294" cy="586034"/>
      </dsp:txXfrm>
    </dsp:sp>
    <dsp:sp modelId="{C8B38FD2-2664-4585-9970-D6C883C74BF8}">
      <dsp:nvSpPr>
        <dsp:cNvPr id="0" name=""/>
        <dsp:cNvSpPr/>
      </dsp:nvSpPr>
      <dsp:spPr>
        <a:xfrm>
          <a:off x="0" y="3030677"/>
          <a:ext cx="4978144" cy="2425500"/>
        </a:xfrm>
        <a:prstGeom prst="rect">
          <a:avLst/>
        </a:prstGeom>
        <a:solidFill>
          <a:srgbClr val="FFFFFF">
            <a:alpha val="90000"/>
            <a:hueOff val="0"/>
            <a:satOff val="0"/>
            <a:lumOff val="0"/>
            <a:alphaOff val="0"/>
          </a:srgbClr>
        </a:solidFill>
        <a:ln w="10795" cap="flat" cmpd="sng" algn="ctr">
          <a:solidFill>
            <a:srgbClr val="00205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6359" tIns="458216" rIns="386359" bIns="113792" numCol="1" spcCol="1270" anchor="t" anchorCtr="0">
          <a:noAutofit/>
        </a:bodyPr>
        <a:lstStyle/>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rPr>
            <a:t>Encrypt('123-45-6789') </a:t>
          </a: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 0x85a55d3f</a:t>
          </a:r>
        </a:p>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Repeat: </a:t>
          </a:r>
          <a:r>
            <a:rPr kumimoji="0" lang="en-US" sz="1600" b="0" i="0" u="none" strike="noStrike" kern="1200" cap="none" spc="0" normalizeH="0" baseline="0" noProof="0">
              <a:ln>
                <a:noFill/>
              </a:ln>
              <a:solidFill>
                <a:srgbClr val="002050"/>
              </a:solidFill>
              <a:effectLst/>
              <a:uLnTx/>
              <a:uFillTx/>
              <a:latin typeface="Segoe UI"/>
              <a:ea typeface="+mn-ea"/>
              <a:cs typeface="+mn-cs"/>
            </a:rPr>
            <a:t>Encrypt('123-45-6789')</a:t>
          </a: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 = 0x85a55d3f</a:t>
          </a:r>
        </a:p>
        <a:p>
          <a:pPr marL="171450" lvl="1" indent="-171450" algn="l" defTabSz="711200">
            <a:lnSpc>
              <a:spcPct val="90000"/>
            </a:lnSpc>
            <a:spcBef>
              <a:spcPct val="0"/>
            </a:spcBef>
            <a:spcAft>
              <a:spcPct val="15000"/>
            </a:spcAft>
            <a:buChar char="•"/>
          </a:pPr>
          <a:r>
            <a:rPr kumimoji="0" lang="en-US" sz="1600" b="0" i="0" u="none" strike="noStrike" kern="1200" cap="none" spc="0" normalizeH="0" baseline="0" noProof="0">
              <a:ln>
                <a:noFill/>
              </a:ln>
              <a:solidFill>
                <a:srgbClr val="002050"/>
              </a:solidFill>
              <a:effectLst/>
              <a:uLnTx/>
              <a:uFillTx/>
              <a:latin typeface="Segoe UI"/>
              <a:ea typeface="+mn-ea"/>
              <a:cs typeface="+mn-cs"/>
            </a:rPr>
            <a:t>Allows for transparent retrieval of encrypted data</a:t>
          </a:r>
          <a:r>
            <a:rPr kumimoji="0" lang="en-US" sz="1600" b="0" i="0" u="none" strike="noStrike" kern="1200" cap="none" spc="0" normalizeH="0" baseline="0" noProof="0">
              <a:ln>
                <a:noFill/>
              </a:ln>
              <a:solidFill>
                <a:srgbClr val="002050"/>
              </a:solidFill>
              <a:effectLst/>
              <a:uLnTx/>
              <a:uFillTx/>
              <a:latin typeface="Segoe UI Semibold"/>
              <a:ea typeface="+mn-ea"/>
              <a:cs typeface="+mn-cs"/>
            </a:rPr>
            <a:t> </a:t>
          </a:r>
          <a:r>
            <a:rPr kumimoji="0" lang="en-US" sz="1600" b="1" i="0" u="none" strike="noStrike" kern="1200" cap="none" spc="0" normalizeH="0" baseline="0" noProof="0">
              <a:ln>
                <a:noFill/>
              </a:ln>
              <a:solidFill>
                <a:srgbClr val="002050"/>
              </a:solidFill>
              <a:effectLst/>
              <a:uLnTx/>
              <a:uFillTx/>
              <a:latin typeface="Segoe UI Semibold"/>
              <a:ea typeface="+mn-ea"/>
              <a:cs typeface="+mn-cs"/>
              <a:sym typeface="Wingdings" panose="05000000000000000000" pitchFamily="2" charset="2"/>
            </a:rPr>
            <a:t>and quality. </a:t>
          </a:r>
        </a:p>
        <a:p>
          <a:pPr marL="171450" lvl="1" indent="-171450" algn="l" defTabSz="711200">
            <a:lnSpc>
              <a:spcPct val="90000"/>
            </a:lnSpc>
            <a:spcBef>
              <a:spcPct val="0"/>
            </a:spcBef>
            <a:spcAft>
              <a:spcPct val="15000"/>
            </a:spcAft>
            <a:buChar char="•"/>
          </a:pPr>
          <a:r>
            <a:rPr kumimoji="0" lang="en-US" sz="1600" b="1" i="0" u="none" strike="noStrike" kern="1200" cap="none" spc="0" normalizeH="0" baseline="0" noProof="0">
              <a:ln>
                <a:noFill/>
              </a:ln>
              <a:solidFill>
                <a:srgbClr val="002050"/>
              </a:solidFill>
              <a:effectLst/>
              <a:uLnTx/>
              <a:uFillTx/>
              <a:latin typeface="Segoe UI Semibold"/>
              <a:ea typeface="+mn-ea"/>
              <a:cs typeface="+mn-cs"/>
              <a:sym typeface="Wingdings" panose="05000000000000000000" pitchFamily="2" charset="2"/>
            </a:rPr>
            <a:t>Comparison</a:t>
          </a:r>
          <a:r>
            <a:rPr kumimoji="0" lang="en-US" sz="1600" b="0" i="0" u="none" strike="noStrike" kern="1200" cap="none" spc="0" normalizeH="0" baseline="0" noProof="0">
              <a:ln>
                <a:noFill/>
              </a:ln>
              <a:solidFill>
                <a:srgbClr val="002050"/>
              </a:solidFill>
              <a:effectLst/>
              <a:uLnTx/>
              <a:uFillTx/>
              <a:latin typeface="Segoe UI"/>
              <a:ea typeface="+mn-ea"/>
              <a:cs typeface="+mn-cs"/>
              <a:sym typeface="Wingdings" panose="05000000000000000000" pitchFamily="2" charset="2"/>
            </a:rPr>
            <a:t> (for example, in WHERE clauses and joins, distinct, group by).</a:t>
          </a:r>
        </a:p>
      </dsp:txBody>
      <dsp:txXfrm>
        <a:off x="0" y="3030677"/>
        <a:ext cx="4978144" cy="2425500"/>
      </dsp:txXfrm>
    </dsp:sp>
    <dsp:sp modelId="{04CCD640-8F62-4FF8-8CD9-CDB0EA7AB985}">
      <dsp:nvSpPr>
        <dsp:cNvPr id="0" name=""/>
        <dsp:cNvSpPr/>
      </dsp:nvSpPr>
      <dsp:spPr>
        <a:xfrm>
          <a:off x="248907" y="2705957"/>
          <a:ext cx="3484700" cy="649440"/>
        </a:xfrm>
        <a:prstGeom prst="roundRect">
          <a:avLst/>
        </a:prstGeom>
        <a:solidFill>
          <a:srgbClr val="002050">
            <a:lumMod val="75000"/>
            <a:lumOff val="25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1713" tIns="0" rIns="131713" bIns="0" numCol="1" spcCol="1270" anchor="ctr" anchorCtr="0">
          <a:noAutofit/>
        </a:bodyPr>
        <a:lstStyle/>
        <a:p>
          <a:pPr marL="0" lvl="0" indent="0" algn="l" defTabSz="1066800">
            <a:lnSpc>
              <a:spcPct val="90000"/>
            </a:lnSpc>
            <a:spcBef>
              <a:spcPct val="0"/>
            </a:spcBef>
            <a:spcAft>
              <a:spcPct val="35000"/>
            </a:spcAft>
            <a:buNone/>
          </a:pPr>
          <a:r>
            <a:rPr kumimoji="0" lang="en-US" sz="2400" b="1" i="0" u="none" strike="noStrike" kern="1200" cap="none" spc="0" normalizeH="0" baseline="0" noProof="0">
              <a:ln>
                <a:noFill/>
              </a:ln>
              <a:solidFill>
                <a:srgbClr val="FFFFFF">
                  <a:lumMod val="95000"/>
                </a:srgbClr>
              </a:solidFill>
              <a:effectLst/>
              <a:uLnTx/>
              <a:uFillTx/>
              <a:latin typeface="Segoe UI Light" pitchFamily="34" charset="0"/>
              <a:ea typeface="+mn-ea"/>
              <a:cs typeface="+mn-cs"/>
            </a:rPr>
            <a:t>Deterministic encryption</a:t>
          </a:r>
        </a:p>
      </dsp:txBody>
      <dsp:txXfrm>
        <a:off x="280610" y="2737660"/>
        <a:ext cx="3421294" cy="58603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ECADA0-EE6B-4F89-8178-7E8409DA9165}">
      <dsp:nvSpPr>
        <dsp:cNvPr id="0" name=""/>
        <dsp:cNvSpPr/>
      </dsp:nvSpPr>
      <dsp:spPr>
        <a:xfrm>
          <a:off x="0" y="0"/>
          <a:ext cx="4819650" cy="4819650"/>
        </a:xfrm>
        <a:prstGeom prst="triangle">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AD2F24-BCD7-4868-B029-FDA12ECF486C}">
      <dsp:nvSpPr>
        <dsp:cNvPr id="0" name=""/>
        <dsp:cNvSpPr/>
      </dsp:nvSpPr>
      <dsp:spPr>
        <a:xfrm>
          <a:off x="3861420" y="117561"/>
          <a:ext cx="6836743" cy="1127862"/>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kern="1200" baseline="0">
              <a:solidFill>
                <a:srgbClr val="505050">
                  <a:hueOff val="0"/>
                  <a:satOff val="0"/>
                  <a:lumOff val="0"/>
                  <a:alphaOff val="0"/>
                </a:srgbClr>
              </a:solidFill>
              <a:latin typeface="Segoe UI"/>
              <a:ea typeface="+mn-ea"/>
              <a:cs typeface="+mn-cs"/>
            </a:rPr>
            <a:t>Create a local, self-signed certificate on the development machine, which will act as a Column Master Key (CMK). The CMK will be used to protect Column Encryption Keys (CEK), which encrypts the sensitive data.</a:t>
          </a:r>
          <a:endParaRPr lang="en-US" sz="1800" kern="1200">
            <a:solidFill>
              <a:srgbClr val="505050">
                <a:hueOff val="0"/>
                <a:satOff val="0"/>
                <a:lumOff val="0"/>
                <a:alphaOff val="0"/>
              </a:srgbClr>
            </a:solidFill>
            <a:latin typeface="Segoe UI"/>
            <a:ea typeface="+mn-ea"/>
            <a:cs typeface="+mn-cs"/>
          </a:endParaRPr>
        </a:p>
      </dsp:txBody>
      <dsp:txXfrm>
        <a:off x="3916478" y="172619"/>
        <a:ext cx="6726627" cy="1017746"/>
      </dsp:txXfrm>
    </dsp:sp>
    <dsp:sp modelId="{1BA684CE-0BF2-4FA3-9354-2D03AD9F50A5}">
      <dsp:nvSpPr>
        <dsp:cNvPr id="0" name=""/>
        <dsp:cNvSpPr/>
      </dsp:nvSpPr>
      <dsp:spPr>
        <a:xfrm>
          <a:off x="3861420" y="1472660"/>
          <a:ext cx="6836743" cy="1096454"/>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kern="1200" baseline="0">
              <a:solidFill>
                <a:srgbClr val="505050">
                  <a:hueOff val="0"/>
                  <a:satOff val="0"/>
                  <a:lumOff val="0"/>
                  <a:alphaOff val="0"/>
                </a:srgbClr>
              </a:solidFill>
              <a:latin typeface="Segoe UI"/>
              <a:ea typeface="+mn-ea"/>
              <a:cs typeface="+mn-cs"/>
            </a:rPr>
            <a:t>Create a CMK store definition object in the database, which will store the information about the location of the CMK. The certificate will never be copied to the database or SQL Server machine.</a:t>
          </a:r>
          <a:endParaRPr lang="en-US" sz="1800" kern="1200">
            <a:solidFill>
              <a:srgbClr val="505050">
                <a:hueOff val="0"/>
                <a:satOff val="0"/>
                <a:lumOff val="0"/>
                <a:alphaOff val="0"/>
              </a:srgbClr>
            </a:solidFill>
            <a:latin typeface="Segoe UI"/>
            <a:ea typeface="+mn-ea"/>
            <a:cs typeface="+mn-cs"/>
          </a:endParaRPr>
        </a:p>
      </dsp:txBody>
      <dsp:txXfrm>
        <a:off x="3914944" y="1526184"/>
        <a:ext cx="6729695" cy="989406"/>
      </dsp:txXfrm>
    </dsp:sp>
    <dsp:sp modelId="{853F6DC1-277C-433F-818A-1B977A10682F}">
      <dsp:nvSpPr>
        <dsp:cNvPr id="0" name=""/>
        <dsp:cNvSpPr/>
      </dsp:nvSpPr>
      <dsp:spPr>
        <a:xfrm>
          <a:off x="3861420" y="2827542"/>
          <a:ext cx="6836743" cy="703938"/>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nl-BE" sz="1800" kern="1200">
              <a:solidFill>
                <a:srgbClr val="505050">
                  <a:hueOff val="0"/>
                  <a:satOff val="0"/>
                  <a:lumOff val="0"/>
                  <a:alphaOff val="0"/>
                </a:srgbClr>
              </a:solidFill>
              <a:latin typeface="Segoe UI"/>
              <a:ea typeface="+mn-ea"/>
              <a:cs typeface="+mn-cs"/>
            </a:rPr>
            <a:t>Create a Column Encryption Key (CEK). Y</a:t>
          </a:r>
          <a:r>
            <a:rPr lang="en-US" sz="1800" kern="1200" err="1">
              <a:solidFill>
                <a:srgbClr val="505050">
                  <a:hueOff val="0"/>
                  <a:satOff val="0"/>
                  <a:lumOff val="0"/>
                  <a:alphaOff val="0"/>
                </a:srgbClr>
              </a:solidFill>
              <a:latin typeface="Segoe UI"/>
              <a:ea typeface="+mn-ea"/>
              <a:cs typeface="+mn-cs"/>
            </a:rPr>
            <a:t>ou</a:t>
          </a:r>
          <a:r>
            <a:rPr lang="en-US" sz="1800" kern="1200">
              <a:solidFill>
                <a:srgbClr val="505050">
                  <a:hueOff val="0"/>
                  <a:satOff val="0"/>
                  <a:lumOff val="0"/>
                  <a:alphaOff val="0"/>
                </a:srgbClr>
              </a:solidFill>
              <a:latin typeface="Segoe UI"/>
              <a:ea typeface="+mn-ea"/>
              <a:cs typeface="+mn-cs"/>
            </a:rPr>
            <a:t> use column encryption keys to encrypt data in database columns. </a:t>
          </a:r>
          <a:r>
            <a:rPr lang="nl-BE" sz="1800" kern="1200">
              <a:solidFill>
                <a:srgbClr val="505050">
                  <a:hueOff val="0"/>
                  <a:satOff val="0"/>
                  <a:lumOff val="0"/>
                  <a:alphaOff val="0"/>
                </a:srgbClr>
              </a:solidFill>
              <a:latin typeface="Segoe UI"/>
              <a:ea typeface="+mn-ea"/>
              <a:cs typeface="+mn-cs"/>
            </a:rPr>
            <a:t> </a:t>
          </a:r>
          <a:endParaRPr lang="en-US" sz="1800" kern="1200">
            <a:solidFill>
              <a:srgbClr val="505050">
                <a:hueOff val="0"/>
                <a:satOff val="0"/>
                <a:lumOff val="0"/>
                <a:alphaOff val="0"/>
              </a:srgbClr>
            </a:solidFill>
            <a:latin typeface="Segoe UI"/>
            <a:ea typeface="+mn-ea"/>
            <a:cs typeface="+mn-cs"/>
          </a:endParaRPr>
        </a:p>
      </dsp:txBody>
      <dsp:txXfrm>
        <a:off x="3895783" y="2861905"/>
        <a:ext cx="6768017" cy="635212"/>
      </dsp:txXfrm>
    </dsp:sp>
    <dsp:sp modelId="{E5206CDD-EAB0-47D0-A35B-9994A380AE3F}">
      <dsp:nvSpPr>
        <dsp:cNvPr id="0" name=""/>
        <dsp:cNvSpPr/>
      </dsp:nvSpPr>
      <dsp:spPr>
        <a:xfrm>
          <a:off x="3861420" y="3856931"/>
          <a:ext cx="6836743" cy="703938"/>
        </a:xfrm>
        <a:prstGeom prst="roundRect">
          <a:avLst/>
        </a:prstGeom>
        <a:solidFill>
          <a:srgbClr val="0078D7">
            <a:alpha val="90000"/>
            <a:tint val="40000"/>
            <a:hueOff val="0"/>
            <a:satOff val="0"/>
            <a:lumOff val="0"/>
            <a:alphaOff val="0"/>
          </a:srgbClr>
        </a:solidFill>
        <a:ln w="10795" cap="flat" cmpd="sng" algn="ctr">
          <a:solidFill>
            <a:srgbClr val="0078D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just" defTabSz="800100">
            <a:lnSpc>
              <a:spcPct val="90000"/>
            </a:lnSpc>
            <a:spcBef>
              <a:spcPct val="0"/>
            </a:spcBef>
            <a:spcAft>
              <a:spcPct val="35000"/>
            </a:spcAft>
            <a:buNone/>
          </a:pPr>
          <a:r>
            <a:rPr lang="en-US" sz="1800" kern="1200" baseline="0">
              <a:solidFill>
                <a:srgbClr val="505050">
                  <a:hueOff val="0"/>
                  <a:satOff val="0"/>
                  <a:lumOff val="0"/>
                  <a:alphaOff val="0"/>
                </a:srgbClr>
              </a:solidFill>
              <a:latin typeface="Segoe UI"/>
              <a:ea typeface="+mn-ea"/>
              <a:cs typeface="+mn-cs"/>
            </a:rPr>
            <a:t>Create a table with encrypted columns.</a:t>
          </a:r>
          <a:endParaRPr lang="nl-BE" sz="1800" kern="1200">
            <a:solidFill>
              <a:srgbClr val="505050">
                <a:hueOff val="0"/>
                <a:satOff val="0"/>
                <a:lumOff val="0"/>
                <a:alphaOff val="0"/>
              </a:srgbClr>
            </a:solidFill>
            <a:latin typeface="Segoe UI"/>
            <a:ea typeface="+mn-ea"/>
            <a:cs typeface="+mn-cs"/>
          </a:endParaRPr>
        </a:p>
      </dsp:txBody>
      <dsp:txXfrm>
        <a:off x="3895783" y="3891294"/>
        <a:ext cx="6768017" cy="635212"/>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ECADA0-EE6B-4F89-8178-7E8409DA9165}">
      <dsp:nvSpPr>
        <dsp:cNvPr id="0" name=""/>
        <dsp:cNvSpPr/>
      </dsp:nvSpPr>
      <dsp:spPr>
        <a:xfrm>
          <a:off x="866693" y="0"/>
          <a:ext cx="4819650" cy="4819650"/>
        </a:xfrm>
        <a:prstGeom prst="triangle">
          <a:avLst/>
        </a:prstGeom>
        <a:solidFill>
          <a:schemeClr val="accent1"/>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AD2F24-BCD7-4868-B029-FDA12ECF486C}">
      <dsp:nvSpPr>
        <dsp:cNvPr id="0" name=""/>
        <dsp:cNvSpPr/>
      </dsp:nvSpPr>
      <dsp:spPr>
        <a:xfrm>
          <a:off x="5022283" y="88232"/>
          <a:ext cx="5858441" cy="946511"/>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latin typeface="Segoe UI"/>
              <a:ea typeface="+mn-ea"/>
              <a:cs typeface="+mn-cs"/>
            </a:rPr>
            <a:t>Same local stored certificate.</a:t>
          </a:r>
          <a:endParaRPr lang="en-US" sz="2400" kern="1200">
            <a:latin typeface="Segoe UI"/>
            <a:ea typeface="+mn-ea"/>
            <a:cs typeface="+mn-cs"/>
          </a:endParaRPr>
        </a:p>
      </dsp:txBody>
      <dsp:txXfrm>
        <a:off x="5068488" y="134437"/>
        <a:ext cx="5766031" cy="854101"/>
      </dsp:txXfrm>
    </dsp:sp>
    <dsp:sp modelId="{1BA684CE-0BF2-4FA3-9354-2D03AD9F50A5}">
      <dsp:nvSpPr>
        <dsp:cNvPr id="0" name=""/>
        <dsp:cNvSpPr/>
      </dsp:nvSpPr>
      <dsp:spPr>
        <a:xfrm>
          <a:off x="5007046" y="1618612"/>
          <a:ext cx="5873666" cy="1260700"/>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latin typeface="Segoe UI"/>
              <a:ea typeface="+mn-ea"/>
              <a:cs typeface="+mn-cs"/>
            </a:rPr>
            <a:t>“Column Encryption Setting=Enabled;”</a:t>
          </a:r>
        </a:p>
        <a:p>
          <a:pPr marL="0" lvl="0" indent="0" algn="ctr" defTabSz="1066800">
            <a:lnSpc>
              <a:spcPct val="90000"/>
            </a:lnSpc>
            <a:spcBef>
              <a:spcPct val="0"/>
            </a:spcBef>
            <a:spcAft>
              <a:spcPct val="35000"/>
            </a:spcAft>
            <a:buNone/>
          </a:pPr>
          <a:r>
            <a:rPr lang="en-US" sz="2400" kern="1200" baseline="0">
              <a:latin typeface="Segoe UI"/>
              <a:ea typeface="+mn-ea"/>
              <a:cs typeface="+mn-cs"/>
            </a:rPr>
            <a:t> in connection string.</a:t>
          </a:r>
          <a:endParaRPr lang="en-US" sz="2400" kern="1200">
            <a:latin typeface="Segoe UI"/>
            <a:ea typeface="+mn-ea"/>
            <a:cs typeface="+mn-cs"/>
          </a:endParaRPr>
        </a:p>
      </dsp:txBody>
      <dsp:txXfrm>
        <a:off x="5068588" y="1680154"/>
        <a:ext cx="5750582" cy="1137616"/>
      </dsp:txXfrm>
    </dsp:sp>
    <dsp:sp modelId="{853F6DC1-277C-433F-818A-1B977A10682F}">
      <dsp:nvSpPr>
        <dsp:cNvPr id="0" name=""/>
        <dsp:cNvSpPr/>
      </dsp:nvSpPr>
      <dsp:spPr>
        <a:xfrm>
          <a:off x="5054676" y="3623436"/>
          <a:ext cx="5826048" cy="946511"/>
        </a:xfrm>
        <a:prstGeom prst="round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baseline="0">
              <a:latin typeface="Segoe UI"/>
              <a:ea typeface="+mn-ea"/>
              <a:cs typeface="+mn-cs"/>
            </a:rPr>
            <a:t>Make sure you use the correct driver.</a:t>
          </a:r>
          <a:endParaRPr lang="en-US" sz="2400" kern="1200">
            <a:latin typeface="Segoe UI"/>
            <a:ea typeface="+mn-ea"/>
            <a:cs typeface="+mn-cs"/>
          </a:endParaRPr>
        </a:p>
      </dsp:txBody>
      <dsp:txXfrm>
        <a:off x="5100881" y="3669641"/>
        <a:ext cx="5733638" cy="8541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3D9876-0FA8-4321-BD52-3712BBDB0D29}">
      <dsp:nvSpPr>
        <dsp:cNvPr id="0" name=""/>
        <dsp:cNvSpPr/>
      </dsp:nvSpPr>
      <dsp:spPr>
        <a:xfrm>
          <a:off x="2669064" y="0"/>
          <a:ext cx="4819650" cy="4819650"/>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CEAA4D-B60B-45E9-9C33-AEBE15E02E85}">
      <dsp:nvSpPr>
        <dsp:cNvPr id="0" name=""/>
        <dsp:cNvSpPr/>
      </dsp:nvSpPr>
      <dsp:spPr>
        <a:xfrm>
          <a:off x="5078889" y="484553"/>
          <a:ext cx="3132772" cy="114090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baseline="0"/>
            <a:t>Active Directory Integrated Authentication.</a:t>
          </a:r>
          <a:endParaRPr lang="en-US" sz="1900" kern="1200"/>
        </a:p>
      </dsp:txBody>
      <dsp:txXfrm>
        <a:off x="5134583" y="540247"/>
        <a:ext cx="3021384" cy="1029513"/>
      </dsp:txXfrm>
    </dsp:sp>
    <dsp:sp modelId="{76156E29-A3D7-47C7-83A2-253B3AC18956}">
      <dsp:nvSpPr>
        <dsp:cNvPr id="0" name=""/>
        <dsp:cNvSpPr/>
      </dsp:nvSpPr>
      <dsp:spPr>
        <a:xfrm>
          <a:off x="5078889" y="1768067"/>
          <a:ext cx="3132772" cy="114090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baseline="0"/>
            <a:t>Active Directory Password Authentication.</a:t>
          </a:r>
          <a:endParaRPr lang="en-US" sz="1900" kern="1200"/>
        </a:p>
      </dsp:txBody>
      <dsp:txXfrm>
        <a:off x="5134583" y="1823761"/>
        <a:ext cx="3021384" cy="1029513"/>
      </dsp:txXfrm>
    </dsp:sp>
    <dsp:sp modelId="{5FB586C7-A31D-46D9-A7F1-08161E59EBB9}">
      <dsp:nvSpPr>
        <dsp:cNvPr id="0" name=""/>
        <dsp:cNvSpPr/>
      </dsp:nvSpPr>
      <dsp:spPr>
        <a:xfrm>
          <a:off x="5078889" y="3051582"/>
          <a:ext cx="3132772" cy="114090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baseline="0"/>
            <a:t>Active Directory Universal with MFA Authentication.</a:t>
          </a:r>
          <a:endParaRPr lang="en-US" sz="1900" kern="1200"/>
        </a:p>
      </dsp:txBody>
      <dsp:txXfrm>
        <a:off x="5134583" y="3107276"/>
        <a:ext cx="3021384" cy="1029513"/>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5F804-2844-492A-A667-E26FE8E01293}">
      <dsp:nvSpPr>
        <dsp:cNvPr id="0" name=""/>
        <dsp:cNvSpPr/>
      </dsp:nvSpPr>
      <dsp:spPr>
        <a:xfrm>
          <a:off x="0" y="1154871"/>
          <a:ext cx="9285466" cy="1216800"/>
        </a:xfrm>
        <a:prstGeom prst="round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505050">
                  <a:hueOff val="0"/>
                  <a:satOff val="0"/>
                  <a:lumOff val="0"/>
                  <a:alphaOff val="0"/>
                </a:srgbClr>
              </a:solidFill>
              <a:latin typeface="Segoe UI"/>
              <a:ea typeface="+mn-ea"/>
              <a:cs typeface="+mn-cs"/>
            </a:rPr>
            <a:t>Many applications require support for queries that do more than equality comparison.</a:t>
          </a:r>
        </a:p>
      </dsp:txBody>
      <dsp:txXfrm>
        <a:off x="59399" y="1214270"/>
        <a:ext cx="9166668" cy="1098002"/>
      </dsp:txXfrm>
    </dsp:sp>
    <dsp:sp modelId="{78FDA1F8-3837-40EE-9C5D-E483FEB37D9D}">
      <dsp:nvSpPr>
        <dsp:cNvPr id="0" name=""/>
        <dsp:cNvSpPr/>
      </dsp:nvSpPr>
      <dsp:spPr>
        <a:xfrm>
          <a:off x="0" y="2558871"/>
          <a:ext cx="9285466" cy="1216800"/>
        </a:xfrm>
        <a:prstGeom prst="roundRect">
          <a:avLst/>
        </a:prstGeom>
        <a:solidFill>
          <a:srgbClr val="FFFFFF">
            <a:hueOff val="0"/>
            <a:satOff val="0"/>
            <a:lumOff val="0"/>
            <a:alphaOff val="0"/>
          </a:srgbClr>
        </a:solidFill>
        <a:ln w="10795" cap="flat" cmpd="sng" algn="ctr">
          <a:solidFill>
            <a:srgbClr val="0078D7">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Clr>
              <a:srgbClr val="1A1A1A"/>
            </a:buClr>
            <a:buNone/>
          </a:pPr>
          <a:r>
            <a:rPr lang="en-US" sz="2400" kern="1200">
              <a:solidFill>
                <a:srgbClr val="505050">
                  <a:hueOff val="0"/>
                  <a:satOff val="0"/>
                  <a:lumOff val="0"/>
                  <a:alphaOff val="0"/>
                </a:srgbClr>
              </a:solidFill>
              <a:latin typeface="Segoe UI"/>
              <a:ea typeface="+mn-ea"/>
              <a:cs typeface="Segoe UI Semilight" panose="020B0402040204020203" pitchFamily="34" charset="0"/>
            </a:rPr>
            <a:t>Data needs to be moved out of the database for initial encryption and key rotation.</a:t>
          </a:r>
          <a:endParaRPr lang="en-US" sz="2400" kern="1200">
            <a:solidFill>
              <a:srgbClr val="505050">
                <a:hueOff val="0"/>
                <a:satOff val="0"/>
                <a:lumOff val="0"/>
                <a:alphaOff val="0"/>
              </a:srgbClr>
            </a:solidFill>
            <a:latin typeface="Segoe UI"/>
            <a:ea typeface="+mn-ea"/>
            <a:cs typeface="+mn-cs"/>
          </a:endParaRPr>
        </a:p>
      </dsp:txBody>
      <dsp:txXfrm>
        <a:off x="59399" y="2618270"/>
        <a:ext cx="9166668" cy="1098002"/>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9283"/>
          <a:ext cx="10880725" cy="1141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FFFFFF"/>
              </a:solidFill>
            </a:rPr>
            <a:t>Can a DBA see Always Encrypted data?</a:t>
          </a:r>
          <a:endParaRPr lang="en-US" sz="2400" kern="1200"/>
        </a:p>
      </dsp:txBody>
      <dsp:txXfrm>
        <a:off x="55744" y="65027"/>
        <a:ext cx="10769237" cy="1030432"/>
      </dsp:txXfrm>
    </dsp:sp>
    <dsp:sp modelId="{E922B38C-D007-46D8-9A79-C8E951BC8385}">
      <dsp:nvSpPr>
        <dsp:cNvPr id="0" name=""/>
        <dsp:cNvSpPr/>
      </dsp:nvSpPr>
      <dsp:spPr>
        <a:xfrm>
          <a:off x="0" y="1326883"/>
          <a:ext cx="10880725" cy="1141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FFFFFF"/>
              </a:solidFill>
            </a:rPr>
            <a:t>What are the 4 steps that you need to perform to enable Always Encrypted?</a:t>
          </a:r>
          <a:endParaRPr lang="en-US" sz="2400" kern="1200"/>
        </a:p>
      </dsp:txBody>
      <dsp:txXfrm>
        <a:off x="55744" y="1382627"/>
        <a:ext cx="10769237" cy="1030432"/>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0DD04-C835-469E-A9CF-B2F7FD93DB93}">
      <dsp:nvSpPr>
        <dsp:cNvPr id="0" name=""/>
        <dsp:cNvSpPr/>
      </dsp:nvSpPr>
      <dsp:spPr>
        <a:xfrm>
          <a:off x="0" y="38915"/>
          <a:ext cx="5791773" cy="154220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Fine-grained access control over specific rows in a database table.</a:t>
          </a:r>
          <a:endParaRPr lang="en-US" sz="2000" kern="1200"/>
        </a:p>
      </dsp:txBody>
      <dsp:txXfrm>
        <a:off x="75284" y="114199"/>
        <a:ext cx="5641205" cy="1391638"/>
      </dsp:txXfrm>
    </dsp:sp>
    <dsp:sp modelId="{E6925E3C-6A33-4D79-A39D-42C442E85B2D}">
      <dsp:nvSpPr>
        <dsp:cNvPr id="0" name=""/>
        <dsp:cNvSpPr/>
      </dsp:nvSpPr>
      <dsp:spPr>
        <a:xfrm>
          <a:off x="0" y="1638721"/>
          <a:ext cx="5791773" cy="154220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dirty="0"/>
            <a:t>Helps to prevent unauthorized access when multiple users share the same tables, or to implement connection filtering in multitenant applications.</a:t>
          </a:r>
          <a:endParaRPr lang="en-US" sz="2000" kern="1200" dirty="0"/>
        </a:p>
      </dsp:txBody>
      <dsp:txXfrm>
        <a:off x="75284" y="1714005"/>
        <a:ext cx="5641205" cy="1391638"/>
      </dsp:txXfrm>
    </dsp:sp>
    <dsp:sp modelId="{76EBF8C6-8738-4567-A4AA-362EFFBA39AF}">
      <dsp:nvSpPr>
        <dsp:cNvPr id="0" name=""/>
        <dsp:cNvSpPr/>
      </dsp:nvSpPr>
      <dsp:spPr>
        <a:xfrm>
          <a:off x="0" y="3238528"/>
          <a:ext cx="5791773" cy="154220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baseline="0"/>
            <a:t>Enforcement logic inside the database and schema is bound to the table.</a:t>
          </a:r>
          <a:endParaRPr lang="en-US" sz="2000" kern="1200"/>
        </a:p>
      </dsp:txBody>
      <dsp:txXfrm>
        <a:off x="75284" y="3313812"/>
        <a:ext cx="5641205" cy="1391638"/>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34DA73-879A-47E7-B72E-0D86FF520103}">
      <dsp:nvSpPr>
        <dsp:cNvPr id="0" name=""/>
        <dsp:cNvSpPr/>
      </dsp:nvSpPr>
      <dsp:spPr>
        <a:xfrm>
          <a:off x="804792" y="1793"/>
          <a:ext cx="2881339" cy="1152535"/>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dicate function</a:t>
          </a:r>
          <a:endParaRPr lang="en-US" sz="2400" kern="1200" dirty="0"/>
        </a:p>
      </dsp:txBody>
      <dsp:txXfrm>
        <a:off x="1381060" y="1793"/>
        <a:ext cx="1728804" cy="1152535"/>
      </dsp:txXfrm>
    </dsp:sp>
    <dsp:sp modelId="{F1FE137E-F4F1-4538-9C79-7963955D4876}">
      <dsp:nvSpPr>
        <dsp:cNvPr id="0" name=""/>
        <dsp:cNvSpPr/>
      </dsp:nvSpPr>
      <dsp:spPr>
        <a:xfrm>
          <a:off x="3311557" y="99758"/>
          <a:ext cx="2391511" cy="956604"/>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User-defined inline table-valued function (</a:t>
          </a:r>
          <a:r>
            <a:rPr lang="en-US" sz="1200" kern="1200" baseline="0" err="1"/>
            <a:t>iTVF</a:t>
          </a:r>
          <a:r>
            <a:rPr lang="en-US" sz="1200" kern="1200" baseline="0"/>
            <a:t>) implementing security logic</a:t>
          </a:r>
          <a:endParaRPr lang="en-US" sz="1200" kern="1200"/>
        </a:p>
      </dsp:txBody>
      <dsp:txXfrm>
        <a:off x="3789859" y="99758"/>
        <a:ext cx="1434907" cy="956604"/>
      </dsp:txXfrm>
    </dsp:sp>
    <dsp:sp modelId="{8A91BF67-7EA2-40DB-B185-71A4910FFBDD}">
      <dsp:nvSpPr>
        <dsp:cNvPr id="0" name=""/>
        <dsp:cNvSpPr/>
      </dsp:nvSpPr>
      <dsp:spPr>
        <a:xfrm>
          <a:off x="5368257" y="99758"/>
          <a:ext cx="2391511" cy="956604"/>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Can be arbitrarily complicated, containing joins with other tables.</a:t>
          </a:r>
          <a:endParaRPr lang="en-US" sz="1200" kern="1200"/>
        </a:p>
      </dsp:txBody>
      <dsp:txXfrm>
        <a:off x="5846559" y="99758"/>
        <a:ext cx="1434907" cy="956604"/>
      </dsp:txXfrm>
    </dsp:sp>
    <dsp:sp modelId="{A401CDA6-E326-4140-A798-7EAC3C3E06D7}">
      <dsp:nvSpPr>
        <dsp:cNvPr id="0" name=""/>
        <dsp:cNvSpPr/>
      </dsp:nvSpPr>
      <dsp:spPr>
        <a:xfrm>
          <a:off x="804792" y="1315684"/>
          <a:ext cx="2881339" cy="1152535"/>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a:t>Security predicate</a:t>
          </a:r>
          <a:endParaRPr lang="en-US" sz="2400" kern="1200"/>
        </a:p>
      </dsp:txBody>
      <dsp:txXfrm>
        <a:off x="1381060" y="1315684"/>
        <a:ext cx="1728804" cy="1152535"/>
      </dsp:txXfrm>
    </dsp:sp>
    <dsp:sp modelId="{515BA803-8CFF-4AA3-887B-366689AC66A0}">
      <dsp:nvSpPr>
        <dsp:cNvPr id="0" name=""/>
        <dsp:cNvSpPr/>
      </dsp:nvSpPr>
      <dsp:spPr>
        <a:xfrm>
          <a:off x="3311557" y="1413649"/>
          <a:ext cx="2391511" cy="956604"/>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Binds a predicate function to a particular table, applying it for all queries.</a:t>
          </a:r>
          <a:endParaRPr lang="en-US" sz="1200" kern="1200"/>
        </a:p>
      </dsp:txBody>
      <dsp:txXfrm>
        <a:off x="3789859" y="1413649"/>
        <a:ext cx="1434907" cy="956604"/>
      </dsp:txXfrm>
    </dsp:sp>
    <dsp:sp modelId="{ECDF9AE4-3513-4B15-AFD0-07F006BDE908}">
      <dsp:nvSpPr>
        <dsp:cNvPr id="0" name=""/>
        <dsp:cNvSpPr/>
      </dsp:nvSpPr>
      <dsp:spPr>
        <a:xfrm>
          <a:off x="5368257" y="1413649"/>
          <a:ext cx="2391511" cy="956604"/>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Two types: filter predicates and blocking predicates.</a:t>
          </a:r>
          <a:endParaRPr lang="en-US" sz="1200" kern="1200"/>
        </a:p>
      </dsp:txBody>
      <dsp:txXfrm>
        <a:off x="5846559" y="1413649"/>
        <a:ext cx="1434907" cy="956604"/>
      </dsp:txXfrm>
    </dsp:sp>
    <dsp:sp modelId="{725A2067-EC95-4D0C-BBFE-BEC8BF75C960}">
      <dsp:nvSpPr>
        <dsp:cNvPr id="0" name=""/>
        <dsp:cNvSpPr/>
      </dsp:nvSpPr>
      <dsp:spPr>
        <a:xfrm>
          <a:off x="804792" y="2629574"/>
          <a:ext cx="2881339" cy="1152535"/>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a:t>Security policy</a:t>
          </a:r>
          <a:endParaRPr lang="en-US" sz="2400" kern="1200"/>
        </a:p>
      </dsp:txBody>
      <dsp:txXfrm>
        <a:off x="1381060" y="2629574"/>
        <a:ext cx="1728804" cy="1152535"/>
      </dsp:txXfrm>
    </dsp:sp>
    <dsp:sp modelId="{FD040542-D408-436C-97BE-A7E3FF155FC2}">
      <dsp:nvSpPr>
        <dsp:cNvPr id="0" name=""/>
        <dsp:cNvSpPr/>
      </dsp:nvSpPr>
      <dsp:spPr>
        <a:xfrm>
          <a:off x="3311557" y="2727540"/>
          <a:ext cx="2391511" cy="956604"/>
        </a:xfrm>
        <a:prstGeom prst="chevron">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baseline="0"/>
            <a:t>Collection of security predicates for managing security across multiple tables.</a:t>
          </a:r>
          <a:endParaRPr lang="en-US" sz="1200" kern="1200"/>
        </a:p>
      </dsp:txBody>
      <dsp:txXfrm>
        <a:off x="3789859" y="2727540"/>
        <a:ext cx="1434907" cy="956604"/>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783"/>
          <a:ext cx="10880725" cy="9523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solidFill>
                <a:srgbClr val="FFFFFF"/>
              </a:solidFill>
            </a:rPr>
            <a:t>What is the purpose of the predicate function?</a:t>
          </a:r>
          <a:endParaRPr lang="en-US" sz="3700" kern="1200"/>
        </a:p>
      </dsp:txBody>
      <dsp:txXfrm>
        <a:off x="46491" y="51274"/>
        <a:ext cx="10787743" cy="859398"/>
      </dsp:txXfrm>
    </dsp:sp>
    <dsp:sp modelId="{E922B38C-D007-46D8-9A79-C8E951BC8385}">
      <dsp:nvSpPr>
        <dsp:cNvPr id="0" name=""/>
        <dsp:cNvSpPr/>
      </dsp:nvSpPr>
      <dsp:spPr>
        <a:xfrm>
          <a:off x="0" y="1063723"/>
          <a:ext cx="10880725" cy="9523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solidFill>
                <a:srgbClr val="FFFFFF"/>
              </a:solidFill>
            </a:rPr>
            <a:t>Why do we need row level security (RLS)?</a:t>
          </a:r>
          <a:endParaRPr lang="en-US" sz="3700" kern="1200"/>
        </a:p>
      </dsp:txBody>
      <dsp:txXfrm>
        <a:off x="46491" y="1110214"/>
        <a:ext cx="10787743" cy="859398"/>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A1DF6-E2B7-4FE4-BCB6-D864A6725124}">
      <dsp:nvSpPr>
        <dsp:cNvPr id="0" name=""/>
        <dsp:cNvSpPr/>
      </dsp:nvSpPr>
      <dsp:spPr>
        <a:xfrm>
          <a:off x="-5449264" y="-834379"/>
          <a:ext cx="6488409" cy="6488409"/>
        </a:xfrm>
        <a:prstGeom prst="blockArc">
          <a:avLst>
            <a:gd name="adj1" fmla="val 18900000"/>
            <a:gd name="adj2" fmla="val 2700000"/>
            <a:gd name="adj3" fmla="val 293"/>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14046D-10B8-4AB5-B8A9-C1A5D49C1869}">
      <dsp:nvSpPr>
        <dsp:cNvPr id="0" name=""/>
        <dsp:cNvSpPr/>
      </dsp:nvSpPr>
      <dsp:spPr>
        <a:xfrm>
          <a:off x="454364" y="301131"/>
          <a:ext cx="5731780" cy="60264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35560" rIns="35560" bIns="35560" numCol="1" spcCol="1270" anchor="ctr" anchorCtr="0">
          <a:noAutofit/>
        </a:bodyPr>
        <a:lstStyle/>
        <a:p>
          <a:pPr marL="0" lvl="0" indent="0" algn="l" defTabSz="622300">
            <a:lnSpc>
              <a:spcPct val="90000"/>
            </a:lnSpc>
            <a:spcBef>
              <a:spcPct val="0"/>
            </a:spcBef>
            <a:spcAft>
              <a:spcPct val="35000"/>
            </a:spcAft>
            <a:buClr>
              <a:srgbClr val="0078D7"/>
            </a:buClr>
            <a:buSzPct val="90000"/>
            <a:buFont typeface="Wingdings" pitchFamily="2" charset="2"/>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Prevent abuse of sensitive data by hiding it from users.</a:t>
          </a:r>
          <a:endParaRPr lang="en-US" sz="1400" kern="1200">
            <a:latin typeface="Segoe UI"/>
            <a:ea typeface="+mn-ea"/>
            <a:cs typeface="+mn-cs"/>
          </a:endParaRPr>
        </a:p>
      </dsp:txBody>
      <dsp:txXfrm>
        <a:off x="454364" y="301131"/>
        <a:ext cx="5731780" cy="602649"/>
      </dsp:txXfrm>
    </dsp:sp>
    <dsp:sp modelId="{1DC287DD-DF47-4D98-A0CA-750EB6785B40}">
      <dsp:nvSpPr>
        <dsp:cNvPr id="0" name=""/>
        <dsp:cNvSpPr/>
      </dsp:nvSpPr>
      <dsp:spPr>
        <a:xfrm>
          <a:off x="77709" y="225800"/>
          <a:ext cx="753311" cy="75331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56F947-43EE-403E-8C4B-BFAA188644D1}">
      <dsp:nvSpPr>
        <dsp:cNvPr id="0" name=""/>
        <dsp:cNvSpPr/>
      </dsp:nvSpPr>
      <dsp:spPr>
        <a:xfrm>
          <a:off x="886205" y="1204816"/>
          <a:ext cx="5299940" cy="60264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Easy configuration in new Azure Portal.</a:t>
          </a:r>
        </a:p>
      </dsp:txBody>
      <dsp:txXfrm>
        <a:off x="886205" y="1204816"/>
        <a:ext cx="5299940" cy="602649"/>
      </dsp:txXfrm>
    </dsp:sp>
    <dsp:sp modelId="{626D7748-7541-4DDD-BA65-3DA536D2B71E}">
      <dsp:nvSpPr>
        <dsp:cNvPr id="0" name=""/>
        <dsp:cNvSpPr/>
      </dsp:nvSpPr>
      <dsp:spPr>
        <a:xfrm>
          <a:off x="509549" y="1129484"/>
          <a:ext cx="753311" cy="75331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19A94D-E201-47AC-AB12-32EC26C0187A}">
      <dsp:nvSpPr>
        <dsp:cNvPr id="0" name=""/>
        <dsp:cNvSpPr/>
      </dsp:nvSpPr>
      <dsp:spPr>
        <a:xfrm>
          <a:off x="1018745" y="2108500"/>
          <a:ext cx="5167399" cy="60264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Policy-driven at table and column level, for a defined set of users.</a:t>
          </a:r>
        </a:p>
      </dsp:txBody>
      <dsp:txXfrm>
        <a:off x="1018745" y="2108500"/>
        <a:ext cx="5167399" cy="602649"/>
      </dsp:txXfrm>
    </dsp:sp>
    <dsp:sp modelId="{972248A9-818B-4BD5-9F0E-BA667CCB231D}">
      <dsp:nvSpPr>
        <dsp:cNvPr id="0" name=""/>
        <dsp:cNvSpPr/>
      </dsp:nvSpPr>
      <dsp:spPr>
        <a:xfrm>
          <a:off x="642090" y="2033169"/>
          <a:ext cx="753311" cy="75331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DDAE33-6705-494C-A593-3EAAD2438B70}">
      <dsp:nvSpPr>
        <dsp:cNvPr id="0" name=""/>
        <dsp:cNvSpPr/>
      </dsp:nvSpPr>
      <dsp:spPr>
        <a:xfrm>
          <a:off x="886205" y="3012184"/>
          <a:ext cx="5299940" cy="60264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Data masking applied in real-time to query results based on policy.</a:t>
          </a:r>
        </a:p>
      </dsp:txBody>
      <dsp:txXfrm>
        <a:off x="886205" y="3012184"/>
        <a:ext cx="5299940" cy="602649"/>
      </dsp:txXfrm>
    </dsp:sp>
    <dsp:sp modelId="{2B507C96-C917-4C3D-A7ED-A908FFFD18BC}">
      <dsp:nvSpPr>
        <dsp:cNvPr id="0" name=""/>
        <dsp:cNvSpPr/>
      </dsp:nvSpPr>
      <dsp:spPr>
        <a:xfrm>
          <a:off x="509549" y="2936853"/>
          <a:ext cx="753311" cy="75331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6E71032-AA2B-4FDD-AFB5-E24ECD7A6CF0}">
      <dsp:nvSpPr>
        <dsp:cNvPr id="0" name=""/>
        <dsp:cNvSpPr/>
      </dsp:nvSpPr>
      <dsp:spPr>
        <a:xfrm>
          <a:off x="454364" y="3915869"/>
          <a:ext cx="5731780" cy="60264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35560" rIns="35560" bIns="35560" numCol="1" spcCol="1270" anchor="ctr" anchorCtr="0">
          <a:noAutofit/>
        </a:bodyPr>
        <a:lstStyle/>
        <a:p>
          <a:pPr marL="0" lvl="0" indent="0" algn="l" defTabSz="622300">
            <a:lnSpc>
              <a:spcPct val="90000"/>
            </a:lnSpc>
            <a:spcBef>
              <a:spcPct val="0"/>
            </a:spcBef>
            <a:spcAft>
              <a:spcPct val="35000"/>
            </a:spcAft>
            <a:buNone/>
          </a:pPr>
          <a:r>
            <a:rPr kumimoji="0" lang="en-US"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Multiple masking functions available, such as full or partial, for various sensitive data categories (credit card numbers, SSN, etc.).</a:t>
          </a:r>
        </a:p>
      </dsp:txBody>
      <dsp:txXfrm>
        <a:off x="454364" y="3915869"/>
        <a:ext cx="5731780" cy="602649"/>
      </dsp:txXfrm>
    </dsp:sp>
    <dsp:sp modelId="{22FBF4C8-3727-48B1-AEDA-923CA83DA545}">
      <dsp:nvSpPr>
        <dsp:cNvPr id="0" name=""/>
        <dsp:cNvSpPr/>
      </dsp:nvSpPr>
      <dsp:spPr>
        <a:xfrm>
          <a:off x="77709" y="3840538"/>
          <a:ext cx="753311" cy="75331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3723"/>
          <a:ext cx="10880725" cy="106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FFFFFF"/>
              </a:solidFill>
            </a:rPr>
            <a:t>What’s the purpose of Dynamic Data Masking?</a:t>
          </a:r>
          <a:endParaRPr lang="en-US" sz="2400" kern="1200"/>
        </a:p>
      </dsp:txBody>
      <dsp:txXfrm>
        <a:off x="52089" y="65812"/>
        <a:ext cx="10776547" cy="962862"/>
      </dsp:txXfrm>
    </dsp:sp>
    <dsp:sp modelId="{A8D5DCD8-4D9F-45BD-9BC9-1D9A2A16691B}">
      <dsp:nvSpPr>
        <dsp:cNvPr id="0" name=""/>
        <dsp:cNvSpPr/>
      </dsp:nvSpPr>
      <dsp:spPr>
        <a:xfrm>
          <a:off x="0" y="1244923"/>
          <a:ext cx="10880725" cy="10670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a:solidFill>
                <a:srgbClr val="FFFFFF"/>
              </a:solidFill>
            </a:rPr>
            <a:t>List two different masking rules in Dynamic Data Masking?</a:t>
          </a:r>
          <a:endParaRPr lang="en-US" sz="2400" kern="1200"/>
        </a:p>
      </dsp:txBody>
      <dsp:txXfrm>
        <a:off x="52089" y="1297012"/>
        <a:ext cx="10776547" cy="962862"/>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A9B01-5687-4BDF-ACEF-B99D56A6C625}">
      <dsp:nvSpPr>
        <dsp:cNvPr id="0" name=""/>
        <dsp:cNvSpPr/>
      </dsp:nvSpPr>
      <dsp:spPr>
        <a:xfrm>
          <a:off x="0" y="55199"/>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SQL Auditing tracks database events and writes them to an audit log in your Azure storage account, Log Analytics workspace or Event Hubs. </a:t>
          </a:r>
          <a:endParaRPr lang="en-US" sz="2400" kern="1200"/>
        </a:p>
      </dsp:txBody>
      <dsp:txXfrm>
        <a:off x="70537" y="125736"/>
        <a:ext cx="10739652" cy="1303875"/>
      </dsp:txXfrm>
    </dsp:sp>
    <dsp:sp modelId="{5F5DA72A-9759-40C0-BFFB-5004DD84EB8D}">
      <dsp:nvSpPr>
        <dsp:cNvPr id="0" name=""/>
        <dsp:cNvSpPr/>
      </dsp:nvSpPr>
      <dsp:spPr>
        <a:xfrm>
          <a:off x="0" y="1687350"/>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Helps you maintain regulatory compliance, understand database activity, and gain insight into discrepancies and anomalies that could indicate business concerns or suspected security violations.</a:t>
          </a:r>
          <a:endParaRPr lang="en-US" sz="2400" kern="1200"/>
        </a:p>
      </dsp:txBody>
      <dsp:txXfrm>
        <a:off x="70537" y="1757887"/>
        <a:ext cx="10739652" cy="1303875"/>
      </dsp:txXfrm>
    </dsp:sp>
    <dsp:sp modelId="{1FB44F38-3C75-4114-A095-4802598DF037}">
      <dsp:nvSpPr>
        <dsp:cNvPr id="0" name=""/>
        <dsp:cNvSpPr/>
      </dsp:nvSpPr>
      <dsp:spPr>
        <a:xfrm>
          <a:off x="0" y="3319500"/>
          <a:ext cx="10880726"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Enables and facilitates adherence to compliance standards, although it doesn't guarantee compliance.</a:t>
          </a:r>
          <a:endParaRPr lang="en-US" sz="2400" kern="1200"/>
        </a:p>
      </dsp:txBody>
      <dsp:txXfrm>
        <a:off x="70537" y="3390037"/>
        <a:ext cx="10739652" cy="1303875"/>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5C92F6-58CF-4500-A9B2-F5CFD21F56E5}">
      <dsp:nvSpPr>
        <dsp:cNvPr id="0" name=""/>
        <dsp:cNvSpPr/>
      </dsp:nvSpPr>
      <dsp:spPr>
        <a:xfrm>
          <a:off x="0" y="321979"/>
          <a:ext cx="5817225"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E3CCFF-C5C6-483C-9F7E-8BF07742EC0C}">
      <dsp:nvSpPr>
        <dsp:cNvPr id="0" name=""/>
        <dsp:cNvSpPr/>
      </dsp:nvSpPr>
      <dsp:spPr>
        <a:xfrm>
          <a:off x="290861" y="11671"/>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Clr>
              <a:srgbClr val="FFFFFF"/>
            </a:buClr>
            <a:buSzPct val="101000"/>
            <a:buFont typeface="Wingdings" pitchFamily="2" charset="2"/>
            <a:buNone/>
          </a:pPr>
          <a:r>
            <a:rPr kumimoji="0" lang="nl-BE" sz="14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Gain insight into database events and streamline compliance-related tasks.</a:t>
          </a:r>
          <a:endParaRPr lang="en-US" sz="1400" kern="1200" dirty="0">
            <a:latin typeface="Segoe UI"/>
            <a:ea typeface="+mn-ea"/>
            <a:cs typeface="+mn-cs"/>
          </a:endParaRPr>
        </a:p>
      </dsp:txBody>
      <dsp:txXfrm>
        <a:off x="315376" y="36186"/>
        <a:ext cx="5040268" cy="453158"/>
      </dsp:txXfrm>
    </dsp:sp>
    <dsp:sp modelId="{0DBB5B29-DEA1-4361-B0A9-892B87661E54}">
      <dsp:nvSpPr>
        <dsp:cNvPr id="0" name=""/>
        <dsp:cNvSpPr/>
      </dsp:nvSpPr>
      <dsp:spPr>
        <a:xfrm>
          <a:off x="0" y="1030087"/>
          <a:ext cx="5817225"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C27B5B-B892-4017-A72A-BD4D64F3651B}">
      <dsp:nvSpPr>
        <dsp:cNvPr id="0" name=""/>
        <dsp:cNvSpPr/>
      </dsp:nvSpPr>
      <dsp:spPr>
        <a:xfrm>
          <a:off x="290861" y="719779"/>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Configurable to track and log database activity.</a:t>
          </a:r>
        </a:p>
      </dsp:txBody>
      <dsp:txXfrm>
        <a:off x="315376" y="744294"/>
        <a:ext cx="5040268" cy="453158"/>
      </dsp:txXfrm>
    </dsp:sp>
    <dsp:sp modelId="{DE14FD35-F502-4795-A370-682505109CDB}">
      <dsp:nvSpPr>
        <dsp:cNvPr id="0" name=""/>
        <dsp:cNvSpPr/>
      </dsp:nvSpPr>
      <dsp:spPr>
        <a:xfrm>
          <a:off x="0" y="1738196"/>
          <a:ext cx="5817225" cy="42869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EB1B66-CC24-4A09-AD93-9F934B738976}">
      <dsp:nvSpPr>
        <dsp:cNvPr id="0" name=""/>
        <dsp:cNvSpPr/>
      </dsp:nvSpPr>
      <dsp:spPr>
        <a:xfrm>
          <a:off x="290861" y="1427887"/>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Dashboard views in portal for at-a-glance insights.</a:t>
          </a:r>
        </a:p>
      </dsp:txBody>
      <dsp:txXfrm>
        <a:off x="315376" y="1452402"/>
        <a:ext cx="5040268" cy="453158"/>
      </dsp:txXfrm>
    </dsp:sp>
    <dsp:sp modelId="{886D4DBB-F5E2-45D7-BEDB-C6AD57E356E6}">
      <dsp:nvSpPr>
        <dsp:cNvPr id="0" name=""/>
        <dsp:cNvSpPr/>
      </dsp:nvSpPr>
      <dsp:spPr>
        <a:xfrm>
          <a:off x="0" y="2547402"/>
          <a:ext cx="5817225"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AB1AD2-911D-47B5-9E4F-2BFB9A4CB9F1}">
      <dsp:nvSpPr>
        <dsp:cNvPr id="0" name=""/>
        <dsp:cNvSpPr/>
      </dsp:nvSpPr>
      <dsp:spPr>
        <a:xfrm>
          <a:off x="290861" y="2237093"/>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Audit logs reside </a:t>
          </a:r>
          <a:r>
            <a:rPr kumimoji="0" lang="en-US" sz="1400" b="0" i="0" u="none" strike="noStrike" kern="1200" cap="none" spc="0" normalizeH="0" baseline="0">
              <a:ln/>
              <a:effectLst/>
              <a:uLnTx/>
              <a:uFillTx/>
              <a:latin typeface="Segoe UI Semilight" panose="020B0402040204020203" pitchFamily="34" charset="0"/>
              <a:ea typeface="+mn-ea"/>
              <a:cs typeface="Segoe UI Semilight" panose="020B0402040204020203" pitchFamily="34" charset="0"/>
            </a:rPr>
            <a:t>Azure Storage Account, Log Analytics or Event Hub.</a:t>
          </a:r>
          <a:endPar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endParaRPr>
        </a:p>
      </dsp:txBody>
      <dsp:txXfrm>
        <a:off x="315376" y="2261608"/>
        <a:ext cx="5040268" cy="453158"/>
      </dsp:txXfrm>
    </dsp:sp>
    <dsp:sp modelId="{F7EDB615-C14F-495F-B4E0-B19299C5BB3A}">
      <dsp:nvSpPr>
        <dsp:cNvPr id="0" name=""/>
        <dsp:cNvSpPr/>
      </dsp:nvSpPr>
      <dsp:spPr>
        <a:xfrm>
          <a:off x="0" y="3255510"/>
          <a:ext cx="5817225" cy="327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B0339A8-DFFB-43E4-9368-DF7645AD808E}">
      <dsp:nvSpPr>
        <dsp:cNvPr id="0" name=""/>
        <dsp:cNvSpPr/>
      </dsp:nvSpPr>
      <dsp:spPr>
        <a:xfrm>
          <a:off x="290861" y="2945202"/>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None/>
          </a:pPr>
          <a:r>
            <a:rPr kumimoji="0" lang="nl-BE" sz="1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Available in Basic, Standard, Premium and Managed Instance.</a:t>
          </a:r>
        </a:p>
      </dsp:txBody>
      <dsp:txXfrm>
        <a:off x="315376" y="2969717"/>
        <a:ext cx="5040268" cy="453158"/>
      </dsp:txXfrm>
    </dsp:sp>
    <dsp:sp modelId="{399C60C7-F801-4906-A7F2-E42FE4063A69}">
      <dsp:nvSpPr>
        <dsp:cNvPr id="0" name=""/>
        <dsp:cNvSpPr/>
      </dsp:nvSpPr>
      <dsp:spPr>
        <a:xfrm>
          <a:off x="0" y="3963618"/>
          <a:ext cx="5817225" cy="10237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481" tIns="270764" rIns="451481"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a:latin typeface="Segoe UI"/>
              <a:ea typeface="+mn-ea"/>
              <a:cs typeface="+mn-cs"/>
            </a:rPr>
            <a:t>BATCH_COMPLETED_GROUP</a:t>
          </a:r>
        </a:p>
        <a:p>
          <a:pPr marL="114300" lvl="1" indent="-114300" algn="l" defTabSz="577850">
            <a:lnSpc>
              <a:spcPct val="90000"/>
            </a:lnSpc>
            <a:spcBef>
              <a:spcPct val="0"/>
            </a:spcBef>
            <a:spcAft>
              <a:spcPct val="15000"/>
            </a:spcAft>
            <a:buChar char="•"/>
          </a:pPr>
          <a:r>
            <a:rPr lang="en-US" sz="1300" kern="1200">
              <a:latin typeface="Segoe UI"/>
              <a:ea typeface="+mn-ea"/>
              <a:cs typeface="+mn-cs"/>
            </a:rPr>
            <a:t>SUCCESSFUL_DATABASE_AUTHENTICATION_GROUP</a:t>
          </a:r>
        </a:p>
        <a:p>
          <a:pPr marL="114300" lvl="1" indent="-114300" algn="l" defTabSz="577850">
            <a:lnSpc>
              <a:spcPct val="90000"/>
            </a:lnSpc>
            <a:spcBef>
              <a:spcPct val="0"/>
            </a:spcBef>
            <a:spcAft>
              <a:spcPct val="15000"/>
            </a:spcAft>
            <a:buChar char="•"/>
          </a:pPr>
          <a:r>
            <a:rPr lang="en-US" sz="1300" kern="1200">
              <a:latin typeface="Segoe UI"/>
              <a:ea typeface="+mn-ea"/>
              <a:cs typeface="+mn-cs"/>
            </a:rPr>
            <a:t>FAILED_DATABASE_AUTHENTICATION_GROUP</a:t>
          </a:r>
          <a:endParaRPr lang="nl-BE" sz="1300" kern="1200">
            <a:latin typeface="Segoe UI Semilight" panose="020B0402040204020203" pitchFamily="34" charset="0"/>
            <a:ea typeface="+mn-ea"/>
            <a:cs typeface="Segoe UI Semilight" panose="020B0402040204020203" pitchFamily="34" charset="0"/>
          </a:endParaRPr>
        </a:p>
      </dsp:txBody>
      <dsp:txXfrm>
        <a:off x="0" y="3963618"/>
        <a:ext cx="5817225" cy="1023750"/>
      </dsp:txXfrm>
    </dsp:sp>
    <dsp:sp modelId="{81495C1D-FD76-47FB-A523-FAFB98DB7852}">
      <dsp:nvSpPr>
        <dsp:cNvPr id="0" name=""/>
        <dsp:cNvSpPr/>
      </dsp:nvSpPr>
      <dsp:spPr>
        <a:xfrm>
          <a:off x="290861" y="3653310"/>
          <a:ext cx="5089298" cy="5021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914" tIns="0" rIns="153914" bIns="0" numCol="1" spcCol="1270" anchor="ctr" anchorCtr="0">
          <a:noAutofit/>
        </a:bodyPr>
        <a:lstStyle/>
        <a:p>
          <a:pPr marL="0" lvl="0" indent="0" algn="l" defTabSz="622300">
            <a:lnSpc>
              <a:spcPct val="90000"/>
            </a:lnSpc>
            <a:spcBef>
              <a:spcPct val="0"/>
            </a:spcBef>
            <a:spcAft>
              <a:spcPct val="35000"/>
            </a:spcAft>
            <a:buNone/>
          </a:pPr>
          <a:r>
            <a:rPr lang="en-US" sz="1400" kern="1200">
              <a:latin typeface="Segoe UI"/>
              <a:ea typeface="+mn-ea"/>
              <a:cs typeface="+mn-cs"/>
            </a:rPr>
            <a:t>The default auditing policy includes:</a:t>
          </a:r>
        </a:p>
      </dsp:txBody>
      <dsp:txXfrm>
        <a:off x="315376" y="3677825"/>
        <a:ext cx="5040268" cy="453158"/>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822D8B-BDF8-4FC0-AB1F-8F2C6B43AB99}">
      <dsp:nvSpPr>
        <dsp:cNvPr id="0" name=""/>
        <dsp:cNvSpPr/>
      </dsp:nvSpPr>
      <dsp:spPr>
        <a:xfrm>
          <a:off x="0" y="369235"/>
          <a:ext cx="10880725" cy="779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Segoe UI"/>
              <a:ea typeface="+mn-ea"/>
              <a:cs typeface="+mn-cs"/>
            </a:rPr>
            <a:t>Azure portal</a:t>
          </a:r>
        </a:p>
      </dsp:txBody>
      <dsp:txXfrm>
        <a:off x="0" y="369235"/>
        <a:ext cx="10880725" cy="779625"/>
      </dsp:txXfrm>
    </dsp:sp>
    <dsp:sp modelId="{4DD7C95C-C098-412D-B906-033164EFCEF7}">
      <dsp:nvSpPr>
        <dsp:cNvPr id="0" name=""/>
        <dsp:cNvSpPr/>
      </dsp:nvSpPr>
      <dsp:spPr>
        <a:xfrm>
          <a:off x="544036" y="103555"/>
          <a:ext cx="7616507"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Azure Monitor logs</a:t>
          </a:r>
        </a:p>
      </dsp:txBody>
      <dsp:txXfrm>
        <a:off x="569975" y="129494"/>
        <a:ext cx="7564629" cy="479482"/>
      </dsp:txXfrm>
    </dsp:sp>
    <dsp:sp modelId="{0531F294-9F7B-4F7C-978B-B6EE06139032}">
      <dsp:nvSpPr>
        <dsp:cNvPr id="0" name=""/>
        <dsp:cNvSpPr/>
      </dsp:nvSpPr>
      <dsp:spPr>
        <a:xfrm>
          <a:off x="0" y="1511740"/>
          <a:ext cx="10880725" cy="77962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Segoe UI"/>
              <a:ea typeface="+mn-ea"/>
              <a:cs typeface="+mn-cs"/>
            </a:rPr>
            <a:t>Avro Tools or similar tools</a:t>
          </a:r>
        </a:p>
      </dsp:txBody>
      <dsp:txXfrm>
        <a:off x="0" y="1511740"/>
        <a:ext cx="10880725" cy="779625"/>
      </dsp:txXfrm>
    </dsp:sp>
    <dsp:sp modelId="{D1E81132-7F06-4C5C-B7B1-CC6C01C5C269}">
      <dsp:nvSpPr>
        <dsp:cNvPr id="0" name=""/>
        <dsp:cNvSpPr/>
      </dsp:nvSpPr>
      <dsp:spPr>
        <a:xfrm>
          <a:off x="544036" y="1246060"/>
          <a:ext cx="7616507"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Event Hub</a:t>
          </a:r>
        </a:p>
      </dsp:txBody>
      <dsp:txXfrm>
        <a:off x="569975" y="1271999"/>
        <a:ext cx="7564629" cy="479482"/>
      </dsp:txXfrm>
    </dsp:sp>
    <dsp:sp modelId="{26AAA9CC-1277-4E24-BEB6-173CCB3E53D1}">
      <dsp:nvSpPr>
        <dsp:cNvPr id="0" name=""/>
        <dsp:cNvSpPr/>
      </dsp:nvSpPr>
      <dsp:spPr>
        <a:xfrm>
          <a:off x="0" y="2654246"/>
          <a:ext cx="10880725" cy="20979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74904" rIns="844465" bIns="128016" numCol="1" spcCol="1270" anchor="t" anchorCtr="0">
          <a:noAutofit/>
        </a:bodyPr>
        <a:lstStyle/>
        <a:p>
          <a:pPr marL="171450" lvl="1" indent="-171450" algn="l" defTabSz="800100">
            <a:lnSpc>
              <a:spcPct val="90000"/>
            </a:lnSpc>
            <a:spcBef>
              <a:spcPct val="0"/>
            </a:spcBef>
            <a:spcAft>
              <a:spcPct val="15000"/>
            </a:spcAft>
            <a:buChar char="•"/>
          </a:pPr>
          <a:r>
            <a:rPr lang="en-US" sz="1800" b="0" kern="1200">
              <a:latin typeface="Segoe UI"/>
              <a:ea typeface="+mn-ea"/>
              <a:cs typeface="+mn-cs"/>
            </a:rPr>
            <a:t>Azure Storage Explorer</a:t>
          </a:r>
        </a:p>
        <a:p>
          <a:pPr marL="171450" lvl="1" indent="-171450" algn="l" defTabSz="800100">
            <a:lnSpc>
              <a:spcPct val="90000"/>
            </a:lnSpc>
            <a:spcBef>
              <a:spcPct val="0"/>
            </a:spcBef>
            <a:spcAft>
              <a:spcPct val="15000"/>
            </a:spcAft>
            <a:buChar char="•"/>
          </a:pPr>
          <a:r>
            <a:rPr lang="en-US" sz="1800" b="0" kern="1200">
              <a:latin typeface="Segoe UI"/>
              <a:ea typeface="+mn-ea"/>
              <a:cs typeface="+mn-cs"/>
            </a:rPr>
            <a:t>Azure portal</a:t>
          </a:r>
        </a:p>
        <a:p>
          <a:pPr marL="171450" lvl="1" indent="-171450" algn="l" defTabSz="800100">
            <a:lnSpc>
              <a:spcPct val="90000"/>
            </a:lnSpc>
            <a:spcBef>
              <a:spcPct val="0"/>
            </a:spcBef>
            <a:spcAft>
              <a:spcPct val="15000"/>
            </a:spcAft>
            <a:buChar char="•"/>
          </a:pPr>
          <a:r>
            <a:rPr lang="en-US" sz="1800" b="0" kern="1200">
              <a:latin typeface="Segoe UI"/>
              <a:ea typeface="+mn-ea"/>
              <a:cs typeface="+mn-cs"/>
            </a:rPr>
            <a:t>Power BI</a:t>
          </a:r>
        </a:p>
        <a:p>
          <a:pPr marL="171450" lvl="1" indent="-171450" algn="l" defTabSz="800100">
            <a:lnSpc>
              <a:spcPct val="90000"/>
            </a:lnSpc>
            <a:spcBef>
              <a:spcPct val="0"/>
            </a:spcBef>
            <a:spcAft>
              <a:spcPct val="15000"/>
            </a:spcAft>
            <a:buChar char="•"/>
          </a:pPr>
          <a:r>
            <a:rPr lang="en-US" sz="1800" b="0" kern="1200">
              <a:latin typeface="Segoe UI"/>
              <a:ea typeface="+mn-ea"/>
              <a:cs typeface="+mn-cs"/>
            </a:rPr>
            <a:t>SQL Server Management Studio (SSMS)</a:t>
          </a:r>
        </a:p>
        <a:p>
          <a:pPr marL="171450" lvl="1" indent="-171450" algn="l" defTabSz="800100">
            <a:lnSpc>
              <a:spcPct val="90000"/>
            </a:lnSpc>
            <a:spcBef>
              <a:spcPct val="0"/>
            </a:spcBef>
            <a:spcAft>
              <a:spcPct val="15000"/>
            </a:spcAft>
            <a:buChar char="•"/>
          </a:pPr>
          <a:r>
            <a:rPr lang="en-US" sz="1800" b="0" kern="1200">
              <a:latin typeface="Segoe UI"/>
              <a:ea typeface="+mn-ea"/>
              <a:cs typeface="+mn-cs"/>
            </a:rPr>
            <a:t>PowerShell</a:t>
          </a:r>
        </a:p>
      </dsp:txBody>
      <dsp:txXfrm>
        <a:off x="0" y="2654246"/>
        <a:ext cx="10880725" cy="2097900"/>
      </dsp:txXfrm>
    </dsp:sp>
    <dsp:sp modelId="{F8E14435-6CDD-4CF9-9937-090146E2FE24}">
      <dsp:nvSpPr>
        <dsp:cNvPr id="0" name=""/>
        <dsp:cNvSpPr/>
      </dsp:nvSpPr>
      <dsp:spPr>
        <a:xfrm>
          <a:off x="544036" y="2388566"/>
          <a:ext cx="7616507"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a:ea typeface="+mn-ea"/>
              <a:cs typeface="+mn-cs"/>
            </a:rPr>
            <a:t>Azure storage account</a:t>
          </a:r>
        </a:p>
      </dsp:txBody>
      <dsp:txXfrm>
        <a:off x="569975" y="2414505"/>
        <a:ext cx="7564629" cy="4794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4D0183-38C9-4B48-9B03-F2425E418019}">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Centrally manage user permissions.</a:t>
          </a:r>
          <a:endParaRPr lang="en-US" sz="2000" kern="1200"/>
        </a:p>
      </dsp:txBody>
      <dsp:txXfrm>
        <a:off x="0" y="199677"/>
        <a:ext cx="3400226" cy="2040135"/>
      </dsp:txXfrm>
    </dsp:sp>
    <dsp:sp modelId="{629F1054-A113-4443-81EA-90E026B0C2D0}">
      <dsp:nvSpPr>
        <dsp:cNvPr id="0" name=""/>
        <dsp:cNvSpPr/>
      </dsp:nvSpPr>
      <dsp:spPr>
        <a:xfrm>
          <a:off x="3740249"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Alternative to SQL Server authentication.</a:t>
          </a:r>
          <a:endParaRPr lang="en-US" sz="2000" kern="1200"/>
        </a:p>
      </dsp:txBody>
      <dsp:txXfrm>
        <a:off x="3740249" y="199677"/>
        <a:ext cx="3400226" cy="2040135"/>
      </dsp:txXfrm>
    </dsp:sp>
    <dsp:sp modelId="{29B8E5D6-2B1E-42FA-9018-B6511F13218B}">
      <dsp:nvSpPr>
        <dsp:cNvPr id="0" name=""/>
        <dsp:cNvSpPr/>
      </dsp:nvSpPr>
      <dsp:spPr>
        <a:xfrm>
          <a:off x="7480498" y="199677"/>
          <a:ext cx="3400226" cy="20401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Allows password rotation in a single place.</a:t>
          </a:r>
          <a:endParaRPr lang="en-US" sz="2000" kern="1200"/>
        </a:p>
      </dsp:txBody>
      <dsp:txXfrm>
        <a:off x="7480498" y="199677"/>
        <a:ext cx="3400226" cy="2040135"/>
      </dsp:txXfrm>
    </dsp:sp>
    <dsp:sp modelId="{97350AE0-AC8C-454C-84DF-EEEBEB349562}">
      <dsp:nvSpPr>
        <dsp:cNvPr id="0" name=""/>
        <dsp:cNvSpPr/>
      </dsp:nvSpPr>
      <dsp:spPr>
        <a:xfrm>
          <a:off x="1870124" y="2579836"/>
          <a:ext cx="3400226" cy="20401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Enables management of database permissions using external Azure Active Directory groups.</a:t>
          </a:r>
          <a:endParaRPr lang="en-US" sz="2000" kern="1200"/>
        </a:p>
      </dsp:txBody>
      <dsp:txXfrm>
        <a:off x="1870124" y="2579836"/>
        <a:ext cx="3400226" cy="2040135"/>
      </dsp:txXfrm>
    </dsp:sp>
    <dsp:sp modelId="{E21FA7A9-8B5C-4EAD-953F-91C6F3237883}">
      <dsp:nvSpPr>
        <dsp:cNvPr id="0" name=""/>
        <dsp:cNvSpPr/>
      </dsp:nvSpPr>
      <dsp:spPr>
        <a:xfrm>
          <a:off x="5610373" y="2579836"/>
          <a:ext cx="3400226" cy="204013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baseline="0"/>
            <a:t>Stops password storing by using integrated Windows authentication and other forms of authentication supported by AAD.</a:t>
          </a:r>
          <a:endParaRPr lang="en-US" sz="2000" kern="1200"/>
        </a:p>
      </dsp:txBody>
      <dsp:txXfrm>
        <a:off x="5610373" y="2579836"/>
        <a:ext cx="3400226" cy="2040135"/>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868"/>
          <a:ext cx="10880725" cy="10822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solidFill>
                <a:srgbClr val="FFFFFF"/>
              </a:solidFill>
            </a:rPr>
            <a:t>Which 3 action groups are configured by default when you enable auditing?</a:t>
          </a:r>
          <a:endParaRPr lang="en-US" sz="2500" kern="1200"/>
        </a:p>
      </dsp:txBody>
      <dsp:txXfrm>
        <a:off x="52831" y="53699"/>
        <a:ext cx="10775063" cy="976588"/>
      </dsp:txXfrm>
    </dsp:sp>
    <dsp:sp modelId="{E922B38C-D007-46D8-9A79-C8E951BC8385}">
      <dsp:nvSpPr>
        <dsp:cNvPr id="0" name=""/>
        <dsp:cNvSpPr/>
      </dsp:nvSpPr>
      <dsp:spPr>
        <a:xfrm>
          <a:off x="0" y="1155118"/>
          <a:ext cx="10880725" cy="108225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a:solidFill>
                <a:srgbClr val="FFFFFF"/>
              </a:solidFill>
            </a:rPr>
            <a:t>Where are the auditing records stored?</a:t>
          </a:r>
          <a:endParaRPr lang="en-US" sz="2500" kern="1200"/>
        </a:p>
      </dsp:txBody>
      <dsp:txXfrm>
        <a:off x="52831" y="1207949"/>
        <a:ext cx="10775063" cy="976588"/>
      </dsp:txXfrm>
    </dsp:sp>
    <dsp:sp modelId="{5C29BE52-B903-4E71-A37C-F053B49277AD}">
      <dsp:nvSpPr>
        <dsp:cNvPr id="0" name=""/>
        <dsp:cNvSpPr/>
      </dsp:nvSpPr>
      <dsp:spPr>
        <a:xfrm>
          <a:off x="0" y="2309368"/>
          <a:ext cx="10880725" cy="108225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Font typeface="Arial" panose="020B0604020202020204" pitchFamily="34" charset="0"/>
            <a:buNone/>
          </a:pPr>
          <a:r>
            <a:rPr lang="en-US" sz="2500" kern="1200">
              <a:solidFill>
                <a:srgbClr val="FFFFFF"/>
              </a:solidFill>
            </a:rPr>
            <a:t>Which tools can you use to analyze the Audit Logs?</a:t>
          </a:r>
          <a:endParaRPr lang="en-US" sz="2500" kern="1200"/>
        </a:p>
      </dsp:txBody>
      <dsp:txXfrm>
        <a:off x="52831" y="2362199"/>
        <a:ext cx="10775063" cy="976588"/>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BA8602-0292-46DD-9D12-D7EB2D330530}">
      <dsp:nvSpPr>
        <dsp:cNvPr id="0" name=""/>
        <dsp:cNvSpPr/>
      </dsp:nvSpPr>
      <dsp:spPr>
        <a:xfrm>
          <a:off x="0" y="686239"/>
          <a:ext cx="10863309" cy="2079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3113" tIns="916432" rIns="843113"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a:latin typeface="Segoe UI"/>
              <a:ea typeface="+mn-ea"/>
              <a:cs typeface="+mn-cs"/>
            </a:rPr>
            <a:t>Advanced Threat Protection</a:t>
          </a:r>
        </a:p>
        <a:p>
          <a:pPr marL="228600" lvl="1" indent="-228600" algn="l" defTabSz="889000">
            <a:lnSpc>
              <a:spcPct val="90000"/>
            </a:lnSpc>
            <a:spcBef>
              <a:spcPct val="0"/>
            </a:spcBef>
            <a:spcAft>
              <a:spcPct val="15000"/>
            </a:spcAft>
            <a:buChar char="•"/>
          </a:pPr>
          <a:r>
            <a:rPr lang="en-US" sz="2000" kern="1200">
              <a:latin typeface="Segoe UI"/>
              <a:ea typeface="+mn-ea"/>
              <a:cs typeface="+mn-cs"/>
            </a:rPr>
            <a:t>Data discovery &amp; classification</a:t>
          </a:r>
        </a:p>
        <a:p>
          <a:pPr marL="228600" lvl="1" indent="-228600" algn="l" defTabSz="889000">
            <a:lnSpc>
              <a:spcPct val="90000"/>
            </a:lnSpc>
            <a:spcBef>
              <a:spcPct val="0"/>
            </a:spcBef>
            <a:spcAft>
              <a:spcPct val="15000"/>
            </a:spcAft>
            <a:buChar char="•"/>
          </a:pPr>
          <a:r>
            <a:rPr lang="en-US" sz="2000" kern="1200">
              <a:latin typeface="Segoe UI"/>
              <a:ea typeface="+mn-ea"/>
              <a:cs typeface="+mn-cs"/>
            </a:rPr>
            <a:t>Vulnerability</a:t>
          </a:r>
        </a:p>
      </dsp:txBody>
      <dsp:txXfrm>
        <a:off x="0" y="686239"/>
        <a:ext cx="10863309" cy="2079000"/>
      </dsp:txXfrm>
    </dsp:sp>
    <dsp:sp modelId="{EDA5B502-6D55-46F0-B169-07AD3F653BF2}">
      <dsp:nvSpPr>
        <dsp:cNvPr id="0" name=""/>
        <dsp:cNvSpPr/>
      </dsp:nvSpPr>
      <dsp:spPr>
        <a:xfrm>
          <a:off x="543165" y="36799"/>
          <a:ext cx="9159779" cy="1298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425" tIns="0" rIns="287425" bIns="0" numCol="1" spcCol="1270" anchor="ctr" anchorCtr="0">
          <a:noAutofit/>
        </a:bodyPr>
        <a:lstStyle/>
        <a:p>
          <a:pPr marL="0" lvl="0" indent="0" algn="l" defTabSz="889000">
            <a:lnSpc>
              <a:spcPct val="90000"/>
            </a:lnSpc>
            <a:spcBef>
              <a:spcPct val="0"/>
            </a:spcBef>
            <a:spcAft>
              <a:spcPct val="35000"/>
            </a:spcAft>
            <a:buNone/>
          </a:pPr>
          <a:r>
            <a:rPr lang="en-US" sz="2000" u="none" kern="1200">
              <a:latin typeface="Segoe UI"/>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Advanced Data Security</a:t>
          </a:r>
          <a:r>
            <a:rPr lang="en-US" sz="2000" kern="1200">
              <a:latin typeface="Segoe UI"/>
              <a:ea typeface="+mn-ea"/>
              <a:cs typeface="+mn-cs"/>
            </a:rPr>
            <a:t> (ADS) offering, which is a unified package for advanced SQL security capabilities, </a:t>
          </a:r>
          <a:r>
            <a:rPr lang="en-US" sz="2000" b="0" i="0" kern="1200">
              <a:latin typeface="Segoe UI"/>
              <a:ea typeface="+mn-ea"/>
              <a:cs typeface="+mn-cs"/>
            </a:rPr>
            <a:t>including:</a:t>
          </a:r>
          <a:endParaRPr lang="en-US" sz="2000" kern="1200">
            <a:latin typeface="Segoe UI"/>
            <a:ea typeface="+mn-ea"/>
            <a:cs typeface="+mn-cs"/>
          </a:endParaRPr>
        </a:p>
      </dsp:txBody>
      <dsp:txXfrm>
        <a:off x="606571" y="100205"/>
        <a:ext cx="9032967" cy="1172068"/>
      </dsp:txXfrm>
    </dsp:sp>
    <dsp:sp modelId="{F6E8C80B-229B-40EF-842D-A2492FD537C1}">
      <dsp:nvSpPr>
        <dsp:cNvPr id="0" name=""/>
        <dsp:cNvSpPr/>
      </dsp:nvSpPr>
      <dsp:spPr>
        <a:xfrm>
          <a:off x="0" y="3652279"/>
          <a:ext cx="10863309" cy="110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AAF96E-3F2E-43CB-8171-BA78D6845CA8}">
      <dsp:nvSpPr>
        <dsp:cNvPr id="0" name=""/>
        <dsp:cNvSpPr/>
      </dsp:nvSpPr>
      <dsp:spPr>
        <a:xfrm>
          <a:off x="543165" y="3002839"/>
          <a:ext cx="9159779" cy="1298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425" tIns="0" rIns="287425" bIns="0" numCol="1" spcCol="1270" anchor="ctr" anchorCtr="0">
          <a:noAutofit/>
        </a:bodyPr>
        <a:lstStyle/>
        <a:p>
          <a:pPr marL="0" lvl="0" indent="0" algn="l" defTabSz="889000">
            <a:lnSpc>
              <a:spcPct val="90000"/>
            </a:lnSpc>
            <a:spcBef>
              <a:spcPct val="0"/>
            </a:spcBef>
            <a:spcAft>
              <a:spcPct val="35000"/>
            </a:spcAft>
            <a:buNone/>
          </a:pPr>
          <a:r>
            <a:rPr lang="en-US" sz="2000" kern="1200">
              <a:latin typeface="Segoe UI"/>
              <a:ea typeface="+mn-ea"/>
              <a:cs typeface="+mn-cs"/>
            </a:rPr>
            <a:t>All these capabilities can be accessed and managed via the central SQL ADS portal.</a:t>
          </a:r>
        </a:p>
      </dsp:txBody>
      <dsp:txXfrm>
        <a:off x="606571" y="3066245"/>
        <a:ext cx="9032967" cy="1172068"/>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CEC710-F96B-415D-B99C-F5532DC78F37}">
      <dsp:nvSpPr>
        <dsp:cNvPr id="0" name=""/>
        <dsp:cNvSpPr/>
      </dsp:nvSpPr>
      <dsp:spPr>
        <a:xfrm>
          <a:off x="0" y="321480"/>
          <a:ext cx="10880725"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a:ea typeface="+mn-ea"/>
              <a:cs typeface="+mn-cs"/>
            </a:rPr>
            <a:t>Advanced Threat Protection for single and pooled databases detects anomalous activities indicating unusual and potentially harmful attempts to access or exploit databases.</a:t>
          </a:r>
        </a:p>
      </dsp:txBody>
      <dsp:txXfrm>
        <a:off x="70537" y="392017"/>
        <a:ext cx="10739651" cy="1303875"/>
      </dsp:txXfrm>
    </dsp:sp>
    <dsp:sp modelId="{2E3DE9DB-BCB0-4D83-9F51-AA9C6E5917E0}">
      <dsp:nvSpPr>
        <dsp:cNvPr id="0" name=""/>
        <dsp:cNvSpPr/>
      </dsp:nvSpPr>
      <dsp:spPr>
        <a:xfrm>
          <a:off x="0" y="1953630"/>
          <a:ext cx="10880725"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a:ea typeface="+mn-ea"/>
              <a:cs typeface="+mn-cs"/>
            </a:rPr>
            <a:t> Advanced Threat Protection can identify:</a:t>
          </a:r>
        </a:p>
      </dsp:txBody>
      <dsp:txXfrm>
        <a:off x="70537" y="2024167"/>
        <a:ext cx="10739651" cy="1303875"/>
      </dsp:txXfrm>
    </dsp:sp>
    <dsp:sp modelId="{17C01B5D-C087-4522-8E51-6A993CC44670}">
      <dsp:nvSpPr>
        <dsp:cNvPr id="0" name=""/>
        <dsp:cNvSpPr/>
      </dsp:nvSpPr>
      <dsp:spPr>
        <a:xfrm>
          <a:off x="0" y="3398580"/>
          <a:ext cx="10880725" cy="1110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latin typeface="Segoe UI"/>
              <a:ea typeface="+mn-ea"/>
              <a:cs typeface="+mn-cs"/>
            </a:rPr>
            <a:t>Potential SQL injection, Access from unusual location or data center.</a:t>
          </a:r>
        </a:p>
        <a:p>
          <a:pPr marL="228600" lvl="1" indent="-228600" algn="l" defTabSz="889000">
            <a:lnSpc>
              <a:spcPct val="90000"/>
            </a:lnSpc>
            <a:spcBef>
              <a:spcPct val="0"/>
            </a:spcBef>
            <a:spcAft>
              <a:spcPct val="20000"/>
            </a:spcAft>
            <a:buChar char="•"/>
          </a:pPr>
          <a:r>
            <a:rPr lang="en-US" sz="2000" kern="1200">
              <a:latin typeface="Segoe UI"/>
              <a:ea typeface="+mn-ea"/>
              <a:cs typeface="+mn-cs"/>
            </a:rPr>
            <a:t>Access from unfamiliar principal or potentially harmful application. </a:t>
          </a:r>
        </a:p>
        <a:p>
          <a:pPr marL="228600" lvl="1" indent="-228600" algn="l" defTabSz="889000">
            <a:lnSpc>
              <a:spcPct val="90000"/>
            </a:lnSpc>
            <a:spcBef>
              <a:spcPct val="0"/>
            </a:spcBef>
            <a:spcAft>
              <a:spcPct val="20000"/>
            </a:spcAft>
            <a:buChar char="•"/>
          </a:pPr>
          <a:r>
            <a:rPr lang="en-US" sz="2000" kern="1200">
              <a:latin typeface="Segoe UI"/>
              <a:ea typeface="+mn-ea"/>
              <a:cs typeface="+mn-cs"/>
            </a:rPr>
            <a:t>Brute force SQL credentials.</a:t>
          </a:r>
        </a:p>
      </dsp:txBody>
      <dsp:txXfrm>
        <a:off x="0" y="3398580"/>
        <a:ext cx="10880725" cy="1110037"/>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A57DFC-E7F9-49B2-A3BB-628BA08352AD}">
      <dsp:nvSpPr>
        <dsp:cNvPr id="0" name=""/>
        <dsp:cNvSpPr/>
      </dsp:nvSpPr>
      <dsp:spPr>
        <a:xfrm>
          <a:off x="-5766336" y="-882583"/>
          <a:ext cx="6865068" cy="6865068"/>
        </a:xfrm>
        <a:prstGeom prst="blockArc">
          <a:avLst>
            <a:gd name="adj1" fmla="val 18900000"/>
            <a:gd name="adj2" fmla="val 2700000"/>
            <a:gd name="adj3" fmla="val 29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4BAB36-4A28-4F7C-B3CA-D40F208FC8F1}">
      <dsp:nvSpPr>
        <dsp:cNvPr id="0" name=""/>
        <dsp:cNvSpPr/>
      </dsp:nvSpPr>
      <dsp:spPr>
        <a:xfrm>
          <a:off x="575120" y="392080"/>
          <a:ext cx="4945871" cy="784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2752" tIns="45720" rIns="45720" bIns="45720" numCol="1" spcCol="1270" anchor="ctr" anchorCtr="0">
          <a:noAutofit/>
        </a:bodyPr>
        <a:lstStyle/>
        <a:p>
          <a:pPr marL="0" lvl="0" indent="0" algn="l" defTabSz="800100">
            <a:lnSpc>
              <a:spcPct val="90000"/>
            </a:lnSpc>
            <a:spcBef>
              <a:spcPct val="0"/>
            </a:spcBef>
            <a:spcAft>
              <a:spcPct val="35000"/>
            </a:spcAft>
            <a:buClr>
              <a:srgbClr val="FFFFFF"/>
            </a:buClr>
            <a:buSzPct val="90000"/>
            <a:buFont typeface="Wingdings" pitchFamily="2" charset="2"/>
            <a:buNone/>
          </a:pPr>
          <a:r>
            <a:rPr kumimoji="0" lang="en-US" sz="18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Detect anomalous database activities that could indicate a potential threat.</a:t>
          </a:r>
          <a:endParaRPr lang="en-US" sz="1800" kern="1200">
            <a:latin typeface="Segoe UI"/>
            <a:ea typeface="+mn-ea"/>
            <a:cs typeface="+mn-cs"/>
          </a:endParaRPr>
        </a:p>
      </dsp:txBody>
      <dsp:txXfrm>
        <a:off x="575120" y="392080"/>
        <a:ext cx="4945871" cy="784568"/>
      </dsp:txXfrm>
    </dsp:sp>
    <dsp:sp modelId="{B2A66DFB-DE94-42E1-846B-97FC41941F3A}">
      <dsp:nvSpPr>
        <dsp:cNvPr id="0" name=""/>
        <dsp:cNvSpPr/>
      </dsp:nvSpPr>
      <dsp:spPr>
        <a:xfrm>
          <a:off x="84764" y="294009"/>
          <a:ext cx="980711" cy="9807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F064BD-6E3B-404A-8008-495C8F683392}">
      <dsp:nvSpPr>
        <dsp:cNvPr id="0" name=""/>
        <dsp:cNvSpPr/>
      </dsp:nvSpPr>
      <dsp:spPr>
        <a:xfrm>
          <a:off x="1024931" y="1569137"/>
          <a:ext cx="4496060" cy="784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2752" tIns="45720" rIns="45720" bIns="45720" numCol="1" spcCol="1270" anchor="ctr" anchorCtr="0">
          <a:noAutofit/>
        </a:bodyPr>
        <a:lstStyle/>
        <a:p>
          <a:pPr marL="0" lvl="0" indent="0" algn="l" defTabSz="800100">
            <a:lnSpc>
              <a:spcPct val="90000"/>
            </a:lnSpc>
            <a:spcBef>
              <a:spcPct val="0"/>
            </a:spcBef>
            <a:spcAft>
              <a:spcPct val="35000"/>
            </a:spcAft>
            <a:buNone/>
          </a:pPr>
          <a:r>
            <a:rPr kumimoji="0" lang="en-US" sz="18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Configure threat detection policy in Azure Portal.</a:t>
          </a:r>
        </a:p>
      </dsp:txBody>
      <dsp:txXfrm>
        <a:off x="1024931" y="1569137"/>
        <a:ext cx="4496060" cy="784568"/>
      </dsp:txXfrm>
    </dsp:sp>
    <dsp:sp modelId="{F5AEE719-E992-48FE-B440-F4CA3BEAE3F1}">
      <dsp:nvSpPr>
        <dsp:cNvPr id="0" name=""/>
        <dsp:cNvSpPr/>
      </dsp:nvSpPr>
      <dsp:spPr>
        <a:xfrm>
          <a:off x="534575" y="1471066"/>
          <a:ext cx="980711" cy="9807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4785D2-AA36-49CD-944B-292AA71DBCBF}">
      <dsp:nvSpPr>
        <dsp:cNvPr id="0" name=""/>
        <dsp:cNvSpPr/>
      </dsp:nvSpPr>
      <dsp:spPr>
        <a:xfrm>
          <a:off x="1024931" y="2646743"/>
          <a:ext cx="4496060" cy="9834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2752" tIns="45720" rIns="45720" bIns="45720" numCol="1" spcCol="1270" anchor="ctr" anchorCtr="0">
          <a:noAutofit/>
        </a:bodyPr>
        <a:lstStyle/>
        <a:p>
          <a:pPr marL="0" lvl="0" indent="0" algn="l" defTabSz="800100">
            <a:lnSpc>
              <a:spcPct val="90000"/>
            </a:lnSpc>
            <a:spcBef>
              <a:spcPct val="0"/>
            </a:spcBef>
            <a:spcAft>
              <a:spcPct val="35000"/>
            </a:spcAft>
            <a:buNone/>
          </a:pPr>
          <a:r>
            <a:rPr kumimoji="0" lang="en-US" sz="18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Receive alerts from multiple database threat detectors that identify anomalous activities.</a:t>
          </a:r>
        </a:p>
      </dsp:txBody>
      <dsp:txXfrm>
        <a:off x="1024931" y="2646743"/>
        <a:ext cx="4496060" cy="983472"/>
      </dsp:txXfrm>
    </dsp:sp>
    <dsp:sp modelId="{B0E9120E-4483-4CB0-85A2-0EE5C7EE30FB}">
      <dsp:nvSpPr>
        <dsp:cNvPr id="0" name=""/>
        <dsp:cNvSpPr/>
      </dsp:nvSpPr>
      <dsp:spPr>
        <a:xfrm>
          <a:off x="534575" y="2648124"/>
          <a:ext cx="980711" cy="9807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4FC5E8-D983-41E4-8EB7-E9C862CA1019}">
      <dsp:nvSpPr>
        <dsp:cNvPr id="0" name=""/>
        <dsp:cNvSpPr/>
      </dsp:nvSpPr>
      <dsp:spPr>
        <a:xfrm>
          <a:off x="575120" y="3923252"/>
          <a:ext cx="4945871" cy="784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2752" tIns="45720" rIns="45720" bIns="45720" numCol="1" spcCol="1270" anchor="ctr" anchorCtr="0">
          <a:noAutofit/>
        </a:bodyPr>
        <a:lstStyle/>
        <a:p>
          <a:pPr marL="0" lvl="0" indent="0" algn="l" defTabSz="800100">
            <a:lnSpc>
              <a:spcPct val="90000"/>
            </a:lnSpc>
            <a:spcBef>
              <a:spcPct val="0"/>
            </a:spcBef>
            <a:spcAft>
              <a:spcPct val="35000"/>
            </a:spcAft>
            <a:buNone/>
          </a:pPr>
          <a:r>
            <a:rPr kumimoji="0" lang="en-US" sz="18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Explore audit log around the time of an event.</a:t>
          </a:r>
        </a:p>
      </dsp:txBody>
      <dsp:txXfrm>
        <a:off x="575120" y="3923252"/>
        <a:ext cx="4945871" cy="784568"/>
      </dsp:txXfrm>
    </dsp:sp>
    <dsp:sp modelId="{97173A74-1DF9-466F-9423-C532B991070C}">
      <dsp:nvSpPr>
        <dsp:cNvPr id="0" name=""/>
        <dsp:cNvSpPr/>
      </dsp:nvSpPr>
      <dsp:spPr>
        <a:xfrm>
          <a:off x="84764" y="3825181"/>
          <a:ext cx="980711" cy="980711"/>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D53B1B-5754-4C13-94F6-DB860CFF652B}">
      <dsp:nvSpPr>
        <dsp:cNvPr id="0" name=""/>
        <dsp:cNvSpPr/>
      </dsp:nvSpPr>
      <dsp:spPr>
        <a:xfrm>
          <a:off x="-5513267" y="-844554"/>
          <a:ext cx="6567913" cy="6567913"/>
        </a:xfrm>
        <a:prstGeom prst="blockArc">
          <a:avLst>
            <a:gd name="adj1" fmla="val 18900000"/>
            <a:gd name="adj2" fmla="val 2700000"/>
            <a:gd name="adj3" fmla="val 32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DC1C5B-AA1F-4657-B30E-8BDDAE3FB497}">
      <dsp:nvSpPr>
        <dsp:cNvPr id="0" name=""/>
        <dsp:cNvSpPr/>
      </dsp:nvSpPr>
      <dsp:spPr>
        <a:xfrm>
          <a:off x="342248" y="221790"/>
          <a:ext cx="10455928"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Vulnerability to SQL Injection</a:t>
          </a:r>
          <a:endParaRPr lang="nl-BE" sz="2400" kern="1200">
            <a:latin typeface="Segoe UI"/>
            <a:ea typeface="+mn-ea"/>
            <a:cs typeface="+mn-cs"/>
          </a:endParaRPr>
        </a:p>
      </dsp:txBody>
      <dsp:txXfrm>
        <a:off x="342248" y="221790"/>
        <a:ext cx="10455928" cy="443385"/>
      </dsp:txXfrm>
    </dsp:sp>
    <dsp:sp modelId="{E8E5CE25-A54E-4012-8E1D-D2AB08D98A99}">
      <dsp:nvSpPr>
        <dsp:cNvPr id="0" name=""/>
        <dsp:cNvSpPr/>
      </dsp:nvSpPr>
      <dsp:spPr>
        <a:xfrm>
          <a:off x="65132" y="166367"/>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84C32C-6157-49E3-9A98-0D2F9230B2C7}">
      <dsp:nvSpPr>
        <dsp:cNvPr id="0" name=""/>
        <dsp:cNvSpPr/>
      </dsp:nvSpPr>
      <dsp:spPr>
        <a:xfrm>
          <a:off x="743773" y="887259"/>
          <a:ext cx="10054403"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Potential SQL Injection</a:t>
          </a:r>
          <a:endParaRPr lang="nl-BE" sz="2400" kern="1200">
            <a:latin typeface="Segoe UI"/>
            <a:ea typeface="+mn-ea"/>
            <a:cs typeface="+mn-cs"/>
          </a:endParaRPr>
        </a:p>
      </dsp:txBody>
      <dsp:txXfrm>
        <a:off x="743773" y="887259"/>
        <a:ext cx="10054403" cy="443385"/>
      </dsp:txXfrm>
    </dsp:sp>
    <dsp:sp modelId="{1030206F-BA13-443D-8C11-AA99242C8FC7}">
      <dsp:nvSpPr>
        <dsp:cNvPr id="0" name=""/>
        <dsp:cNvSpPr/>
      </dsp:nvSpPr>
      <dsp:spPr>
        <a:xfrm>
          <a:off x="466657" y="831836"/>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C44903-3735-48E7-8E6A-DF0A4E480900}">
      <dsp:nvSpPr>
        <dsp:cNvPr id="0" name=""/>
        <dsp:cNvSpPr/>
      </dsp:nvSpPr>
      <dsp:spPr>
        <a:xfrm>
          <a:off x="963807" y="1552240"/>
          <a:ext cx="9834369"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Access from unusual location</a:t>
          </a:r>
          <a:endParaRPr lang="nl-BE" sz="2400" kern="1200">
            <a:latin typeface="Segoe UI"/>
            <a:ea typeface="+mn-ea"/>
            <a:cs typeface="+mn-cs"/>
          </a:endParaRPr>
        </a:p>
      </dsp:txBody>
      <dsp:txXfrm>
        <a:off x="963807" y="1552240"/>
        <a:ext cx="9834369" cy="443385"/>
      </dsp:txXfrm>
    </dsp:sp>
    <dsp:sp modelId="{91DC3EF6-96A7-49D4-A97D-47E9C5DCCD3E}">
      <dsp:nvSpPr>
        <dsp:cNvPr id="0" name=""/>
        <dsp:cNvSpPr/>
      </dsp:nvSpPr>
      <dsp:spPr>
        <a:xfrm>
          <a:off x="686691" y="1496817"/>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FAECC8-400D-453E-AA16-073CDDD205C9}">
      <dsp:nvSpPr>
        <dsp:cNvPr id="0" name=""/>
        <dsp:cNvSpPr/>
      </dsp:nvSpPr>
      <dsp:spPr>
        <a:xfrm>
          <a:off x="1034062" y="2217709"/>
          <a:ext cx="9764114"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Access from unusual Azure data center</a:t>
          </a:r>
          <a:endParaRPr lang="nl-BE" sz="2400" kern="1200">
            <a:latin typeface="Segoe UI"/>
            <a:ea typeface="+mn-ea"/>
            <a:cs typeface="+mn-cs"/>
          </a:endParaRPr>
        </a:p>
      </dsp:txBody>
      <dsp:txXfrm>
        <a:off x="1034062" y="2217709"/>
        <a:ext cx="9764114" cy="443385"/>
      </dsp:txXfrm>
    </dsp:sp>
    <dsp:sp modelId="{E1C4BB68-B2A4-4A92-87B2-49D3DA1CE52C}">
      <dsp:nvSpPr>
        <dsp:cNvPr id="0" name=""/>
        <dsp:cNvSpPr/>
      </dsp:nvSpPr>
      <dsp:spPr>
        <a:xfrm>
          <a:off x="756946" y="2162286"/>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93A98EF-7F21-410E-9A87-1849BCF2FFB9}">
      <dsp:nvSpPr>
        <dsp:cNvPr id="0" name=""/>
        <dsp:cNvSpPr/>
      </dsp:nvSpPr>
      <dsp:spPr>
        <a:xfrm>
          <a:off x="963807" y="2883178"/>
          <a:ext cx="9834369"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Access from unfamiliar principal</a:t>
          </a:r>
          <a:endParaRPr lang="nl-BE" sz="2400" kern="1200">
            <a:latin typeface="Segoe UI"/>
            <a:ea typeface="+mn-ea"/>
            <a:cs typeface="+mn-cs"/>
          </a:endParaRPr>
        </a:p>
      </dsp:txBody>
      <dsp:txXfrm>
        <a:off x="963807" y="2883178"/>
        <a:ext cx="9834369" cy="443385"/>
      </dsp:txXfrm>
    </dsp:sp>
    <dsp:sp modelId="{8592102B-D3F4-494B-BF45-E0A5C3BB44BC}">
      <dsp:nvSpPr>
        <dsp:cNvPr id="0" name=""/>
        <dsp:cNvSpPr/>
      </dsp:nvSpPr>
      <dsp:spPr>
        <a:xfrm>
          <a:off x="686691" y="2827755"/>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6ED6B2-0023-4C77-AF3D-10661181B949}">
      <dsp:nvSpPr>
        <dsp:cNvPr id="0" name=""/>
        <dsp:cNvSpPr/>
      </dsp:nvSpPr>
      <dsp:spPr>
        <a:xfrm>
          <a:off x="743773" y="3548159"/>
          <a:ext cx="10054403"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Access from a potentially harmful application</a:t>
          </a:r>
          <a:endParaRPr lang="nl-BE" sz="2400" kern="1200">
            <a:latin typeface="Segoe UI"/>
            <a:ea typeface="+mn-ea"/>
            <a:cs typeface="+mn-cs"/>
          </a:endParaRPr>
        </a:p>
      </dsp:txBody>
      <dsp:txXfrm>
        <a:off x="743773" y="3548159"/>
        <a:ext cx="10054403" cy="443385"/>
      </dsp:txXfrm>
    </dsp:sp>
    <dsp:sp modelId="{BE9DEAFF-DD7D-4687-A090-4FAE277F6833}">
      <dsp:nvSpPr>
        <dsp:cNvPr id="0" name=""/>
        <dsp:cNvSpPr/>
      </dsp:nvSpPr>
      <dsp:spPr>
        <a:xfrm>
          <a:off x="466657" y="3492736"/>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CCAEF5-117F-42DE-BFFD-C46437B7FC55}">
      <dsp:nvSpPr>
        <dsp:cNvPr id="0" name=""/>
        <dsp:cNvSpPr/>
      </dsp:nvSpPr>
      <dsp:spPr>
        <a:xfrm>
          <a:off x="342248" y="4213628"/>
          <a:ext cx="10455928" cy="4433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193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Brute force SQL credentials</a:t>
          </a:r>
          <a:endParaRPr lang="nl-BE" sz="2400" kern="1200">
            <a:latin typeface="Segoe UI"/>
            <a:ea typeface="+mn-ea"/>
            <a:cs typeface="+mn-cs"/>
          </a:endParaRPr>
        </a:p>
      </dsp:txBody>
      <dsp:txXfrm>
        <a:off x="342248" y="4213628"/>
        <a:ext cx="10455928" cy="443385"/>
      </dsp:txXfrm>
    </dsp:sp>
    <dsp:sp modelId="{94B0EC2D-894F-42F8-888F-4B813C74F162}">
      <dsp:nvSpPr>
        <dsp:cNvPr id="0" name=""/>
        <dsp:cNvSpPr/>
      </dsp:nvSpPr>
      <dsp:spPr>
        <a:xfrm>
          <a:off x="65132" y="4158205"/>
          <a:ext cx="554232" cy="55423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016463-C238-474B-9A11-F89ECB5663EC}">
      <dsp:nvSpPr>
        <dsp:cNvPr id="0" name=""/>
        <dsp:cNvSpPr/>
      </dsp:nvSpPr>
      <dsp:spPr>
        <a:xfrm>
          <a:off x="0" y="953376"/>
          <a:ext cx="10895645" cy="144494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a:ea typeface="+mn-ea"/>
              <a:cs typeface="+mn-cs"/>
            </a:rPr>
            <a:t>Data discovery &amp; classification provides advanced capabilities built into Azure SQL Database for </a:t>
          </a:r>
          <a:r>
            <a:rPr lang="en-US" sz="2400" b="1" kern="1200">
              <a:latin typeface="Segoe UI"/>
              <a:ea typeface="+mn-ea"/>
              <a:cs typeface="+mn-cs"/>
            </a:rPr>
            <a:t>discovering</a:t>
          </a:r>
          <a:r>
            <a:rPr lang="en-US" sz="2400" kern="1200">
              <a:latin typeface="Segoe UI"/>
              <a:ea typeface="+mn-ea"/>
              <a:cs typeface="+mn-cs"/>
            </a:rPr>
            <a:t>, </a:t>
          </a:r>
          <a:r>
            <a:rPr lang="en-US" sz="2400" b="1" kern="1200">
              <a:latin typeface="Segoe UI"/>
              <a:ea typeface="+mn-ea"/>
              <a:cs typeface="+mn-cs"/>
            </a:rPr>
            <a:t>classifying</a:t>
          </a:r>
          <a:r>
            <a:rPr lang="en-US" sz="2400" kern="1200">
              <a:latin typeface="Segoe UI"/>
              <a:ea typeface="+mn-ea"/>
              <a:cs typeface="+mn-cs"/>
            </a:rPr>
            <a:t>, </a:t>
          </a:r>
          <a:r>
            <a:rPr lang="en-US" sz="2400" b="1" kern="1200">
              <a:latin typeface="Segoe UI"/>
              <a:ea typeface="+mn-ea"/>
              <a:cs typeface="+mn-cs"/>
            </a:rPr>
            <a:t>labeling</a:t>
          </a:r>
          <a:r>
            <a:rPr lang="en-US" sz="2400" kern="1200">
              <a:latin typeface="Segoe UI"/>
              <a:ea typeface="+mn-ea"/>
              <a:cs typeface="+mn-cs"/>
            </a:rPr>
            <a:t> &amp; </a:t>
          </a:r>
          <a:r>
            <a:rPr lang="en-US" sz="2400" b="1" kern="1200">
              <a:latin typeface="Segoe UI"/>
              <a:ea typeface="+mn-ea"/>
              <a:cs typeface="+mn-cs"/>
            </a:rPr>
            <a:t>protecting</a:t>
          </a:r>
          <a:r>
            <a:rPr lang="en-US" sz="2400" kern="1200">
              <a:latin typeface="Segoe UI"/>
              <a:ea typeface="+mn-ea"/>
              <a:cs typeface="+mn-cs"/>
            </a:rPr>
            <a:t> the sensitive data in your databases.</a:t>
          </a:r>
        </a:p>
      </dsp:txBody>
      <dsp:txXfrm>
        <a:off x="70537" y="1023913"/>
        <a:ext cx="10754571" cy="1303875"/>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6CE577-3135-45ED-B437-0909A2276718}">
      <dsp:nvSpPr>
        <dsp:cNvPr id="0" name=""/>
        <dsp:cNvSpPr/>
      </dsp:nvSpPr>
      <dsp:spPr>
        <a:xfrm>
          <a:off x="-5633907" y="-862450"/>
          <a:ext cx="6707751" cy="6707751"/>
        </a:xfrm>
        <a:prstGeom prst="blockArc">
          <a:avLst>
            <a:gd name="adj1" fmla="val 18900000"/>
            <a:gd name="adj2" fmla="val 2700000"/>
            <a:gd name="adj3" fmla="val 32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AA2EF7-0365-4860-B5A9-34020B27D7F3}">
      <dsp:nvSpPr>
        <dsp:cNvPr id="0" name=""/>
        <dsp:cNvSpPr/>
      </dsp:nvSpPr>
      <dsp:spPr>
        <a:xfrm>
          <a:off x="469445" y="311328"/>
          <a:ext cx="8752010" cy="623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55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0" i="0" u="none" strike="noStrike" kern="1200" dirty="0">
              <a:effectLst/>
              <a:latin typeface="+mn-lt"/>
              <a:ea typeface="+mn-ea"/>
              <a:cs typeface="+mn-cs"/>
            </a:rPr>
            <a:t>Discovery &amp; recommendations </a:t>
          </a:r>
          <a:endParaRPr lang="nl-BE" sz="2400" b="0" kern="1200" dirty="0">
            <a:latin typeface="+mn-lt"/>
            <a:ea typeface="+mn-ea"/>
            <a:cs typeface="+mn-cs"/>
          </a:endParaRPr>
        </a:p>
      </dsp:txBody>
      <dsp:txXfrm>
        <a:off x="469445" y="311328"/>
        <a:ext cx="8752010" cy="623055"/>
      </dsp:txXfrm>
    </dsp:sp>
    <dsp:sp modelId="{048F5345-A67F-4ACB-8EF6-A0C71A556E29}">
      <dsp:nvSpPr>
        <dsp:cNvPr id="0" name=""/>
        <dsp:cNvSpPr/>
      </dsp:nvSpPr>
      <dsp:spPr>
        <a:xfrm>
          <a:off x="80035" y="233446"/>
          <a:ext cx="778819" cy="7788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4A256D-0EDB-4DCE-87DC-AA2E4F390A92}">
      <dsp:nvSpPr>
        <dsp:cNvPr id="0" name=""/>
        <dsp:cNvSpPr/>
      </dsp:nvSpPr>
      <dsp:spPr>
        <a:xfrm>
          <a:off x="915909" y="1245613"/>
          <a:ext cx="8305547" cy="623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550" tIns="60960" rIns="60960" bIns="60960" numCol="1" spcCol="1270" anchor="ctr" anchorCtr="0">
          <a:noAutofit/>
        </a:bodyPr>
        <a:lstStyle/>
        <a:p>
          <a:pPr marL="0" lvl="0" indent="0" algn="l" defTabSz="1066800">
            <a:lnSpc>
              <a:spcPct val="90000"/>
            </a:lnSpc>
            <a:spcBef>
              <a:spcPct val="0"/>
            </a:spcBef>
            <a:spcAft>
              <a:spcPct val="35000"/>
            </a:spcAft>
            <a:buNone/>
          </a:pPr>
          <a:r>
            <a:rPr lang="nl-BE" sz="2400" kern="1200">
              <a:latin typeface="Segoe UI"/>
              <a:ea typeface="+mn-ea"/>
              <a:cs typeface="+mn-cs"/>
            </a:rPr>
            <a:t>Labeling</a:t>
          </a:r>
        </a:p>
      </dsp:txBody>
      <dsp:txXfrm>
        <a:off x="915909" y="1245613"/>
        <a:ext cx="8305547" cy="623055"/>
      </dsp:txXfrm>
    </dsp:sp>
    <dsp:sp modelId="{D085F822-9231-42EA-80AE-D414E5E81C2E}">
      <dsp:nvSpPr>
        <dsp:cNvPr id="0" name=""/>
        <dsp:cNvSpPr/>
      </dsp:nvSpPr>
      <dsp:spPr>
        <a:xfrm>
          <a:off x="526499" y="1167731"/>
          <a:ext cx="778819" cy="7788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9E11E5-B507-4C20-A75A-858083FD981E}">
      <dsp:nvSpPr>
        <dsp:cNvPr id="0" name=""/>
        <dsp:cNvSpPr/>
      </dsp:nvSpPr>
      <dsp:spPr>
        <a:xfrm>
          <a:off x="1052937" y="2179897"/>
          <a:ext cx="8168518" cy="623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550" tIns="60960" rIns="60960" bIns="60960" numCol="1" spcCol="1270" anchor="ctr" anchorCtr="0">
          <a:noAutofit/>
        </a:bodyPr>
        <a:lstStyle/>
        <a:p>
          <a:pPr marL="0" lvl="0" indent="0" algn="l" defTabSz="1066800">
            <a:lnSpc>
              <a:spcPct val="90000"/>
            </a:lnSpc>
            <a:spcBef>
              <a:spcPct val="0"/>
            </a:spcBef>
            <a:spcAft>
              <a:spcPct val="35000"/>
            </a:spcAft>
            <a:buNone/>
          </a:pPr>
          <a:r>
            <a:rPr lang="nl-BE" sz="2400" kern="1200">
              <a:latin typeface="Segoe UI"/>
              <a:ea typeface="+mn-ea"/>
              <a:cs typeface="+mn-cs"/>
            </a:rPr>
            <a:t>Query result set sensitivity</a:t>
          </a:r>
        </a:p>
      </dsp:txBody>
      <dsp:txXfrm>
        <a:off x="1052937" y="2179897"/>
        <a:ext cx="8168518" cy="623055"/>
      </dsp:txXfrm>
    </dsp:sp>
    <dsp:sp modelId="{BFE8A08C-85C2-4E79-BC90-76A29B928BEE}">
      <dsp:nvSpPr>
        <dsp:cNvPr id="0" name=""/>
        <dsp:cNvSpPr/>
      </dsp:nvSpPr>
      <dsp:spPr>
        <a:xfrm>
          <a:off x="663527" y="2102015"/>
          <a:ext cx="778819" cy="7788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7AC9D81-28D7-4F58-B969-D3F080D7F31D}">
      <dsp:nvSpPr>
        <dsp:cNvPr id="0" name=""/>
        <dsp:cNvSpPr/>
      </dsp:nvSpPr>
      <dsp:spPr>
        <a:xfrm>
          <a:off x="915909" y="3114182"/>
          <a:ext cx="8305547" cy="623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550" tIns="60960" rIns="60960" bIns="60960" numCol="1" spcCol="1270" anchor="ctr" anchorCtr="0">
          <a:noAutofit/>
        </a:bodyPr>
        <a:lstStyle/>
        <a:p>
          <a:pPr marL="0" lvl="0" indent="0" algn="l" defTabSz="1066800">
            <a:lnSpc>
              <a:spcPct val="90000"/>
            </a:lnSpc>
            <a:spcBef>
              <a:spcPct val="0"/>
            </a:spcBef>
            <a:spcAft>
              <a:spcPct val="35000"/>
            </a:spcAft>
            <a:buNone/>
          </a:pPr>
          <a:r>
            <a:rPr lang="nl-BE" sz="2400" kern="1200">
              <a:latin typeface="Segoe UI"/>
              <a:ea typeface="+mn-ea"/>
              <a:cs typeface="+mn-cs"/>
            </a:rPr>
            <a:t>Visibility</a:t>
          </a:r>
        </a:p>
      </dsp:txBody>
      <dsp:txXfrm>
        <a:off x="915909" y="3114182"/>
        <a:ext cx="8305547" cy="623055"/>
      </dsp:txXfrm>
    </dsp:sp>
    <dsp:sp modelId="{E782F6CC-65FA-4263-B239-FD0ACD11C09F}">
      <dsp:nvSpPr>
        <dsp:cNvPr id="0" name=""/>
        <dsp:cNvSpPr/>
      </dsp:nvSpPr>
      <dsp:spPr>
        <a:xfrm>
          <a:off x="526499" y="3036300"/>
          <a:ext cx="778819" cy="7788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6697AF-387E-466C-BB8E-F19958E78F05}">
      <dsp:nvSpPr>
        <dsp:cNvPr id="0" name=""/>
        <dsp:cNvSpPr/>
      </dsp:nvSpPr>
      <dsp:spPr>
        <a:xfrm>
          <a:off x="469445" y="4048466"/>
          <a:ext cx="8752010" cy="623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455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a:latin typeface="Segoe UI"/>
              <a:ea typeface="+mn-ea"/>
              <a:cs typeface="+mn-cs"/>
            </a:rPr>
            <a:t>Auditing access to sensitive data</a:t>
          </a:r>
          <a:endParaRPr lang="nl-BE" sz="2400" kern="1200">
            <a:latin typeface="Segoe UI"/>
            <a:ea typeface="+mn-ea"/>
            <a:cs typeface="+mn-cs"/>
          </a:endParaRPr>
        </a:p>
      </dsp:txBody>
      <dsp:txXfrm>
        <a:off x="469445" y="4048466"/>
        <a:ext cx="8752010" cy="623055"/>
      </dsp:txXfrm>
    </dsp:sp>
    <dsp:sp modelId="{1598694E-D32E-4874-90F4-366BFC842A01}">
      <dsp:nvSpPr>
        <dsp:cNvPr id="0" name=""/>
        <dsp:cNvSpPr/>
      </dsp:nvSpPr>
      <dsp:spPr>
        <a:xfrm>
          <a:off x="80035" y="3970584"/>
          <a:ext cx="778819" cy="7788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57F7C0-EDA0-4FCD-9B29-378435924FF8}">
      <dsp:nvSpPr>
        <dsp:cNvPr id="0" name=""/>
        <dsp:cNvSpPr/>
      </dsp:nvSpPr>
      <dsp:spPr>
        <a:xfrm>
          <a:off x="0" y="959922"/>
          <a:ext cx="10900091" cy="1444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Segoe UI"/>
              <a:ea typeface="+mn-ea"/>
              <a:cs typeface="+mn-cs"/>
            </a:rPr>
            <a:t>SQL Vulnerability Assessment is an easy to configure service that can </a:t>
          </a:r>
          <a:r>
            <a:rPr lang="en-US" sz="2400" b="1" kern="1200" dirty="0">
              <a:latin typeface="Segoe UI"/>
              <a:ea typeface="+mn-ea"/>
              <a:cs typeface="+mn-cs"/>
            </a:rPr>
            <a:t>discover</a:t>
          </a:r>
          <a:r>
            <a:rPr lang="en-US" sz="2400" kern="1200" dirty="0">
              <a:latin typeface="Segoe UI"/>
              <a:ea typeface="+mn-ea"/>
              <a:cs typeface="+mn-cs"/>
            </a:rPr>
            <a:t>, </a:t>
          </a:r>
          <a:r>
            <a:rPr lang="en-US" sz="2400" b="1" kern="1200" dirty="0">
              <a:latin typeface="Segoe UI"/>
              <a:ea typeface="+mn-ea"/>
              <a:cs typeface="+mn-cs"/>
            </a:rPr>
            <a:t>track</a:t>
          </a:r>
          <a:r>
            <a:rPr lang="en-US" sz="2400" kern="1200" dirty="0">
              <a:latin typeface="Segoe UI"/>
              <a:ea typeface="+mn-ea"/>
              <a:cs typeface="+mn-cs"/>
            </a:rPr>
            <a:t>, and </a:t>
          </a:r>
          <a:r>
            <a:rPr lang="en-US" sz="2400" b="1" kern="1200" dirty="0">
              <a:latin typeface="Segoe UI"/>
              <a:ea typeface="+mn-ea"/>
              <a:cs typeface="+mn-cs"/>
            </a:rPr>
            <a:t>help you remediate potential database vulnerabilities</a:t>
          </a:r>
          <a:r>
            <a:rPr lang="en-US" sz="2400" kern="1200" dirty="0">
              <a:latin typeface="Segoe UI"/>
              <a:ea typeface="+mn-ea"/>
              <a:cs typeface="+mn-cs"/>
            </a:rPr>
            <a:t>. Use it to </a:t>
          </a:r>
          <a:r>
            <a:rPr lang="en-US" sz="2400" b="1" kern="1200" dirty="0">
              <a:latin typeface="Segoe UI"/>
              <a:ea typeface="+mn-ea"/>
              <a:cs typeface="+mn-cs"/>
            </a:rPr>
            <a:t>proactively</a:t>
          </a:r>
          <a:r>
            <a:rPr lang="en-US" sz="2400" kern="1200" dirty="0">
              <a:latin typeface="Segoe UI"/>
              <a:ea typeface="+mn-ea"/>
              <a:cs typeface="+mn-cs"/>
            </a:rPr>
            <a:t> improve your database security.</a:t>
          </a:r>
        </a:p>
      </dsp:txBody>
      <dsp:txXfrm>
        <a:off x="70537" y="1030459"/>
        <a:ext cx="10759017" cy="1303875"/>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06042-8573-4D62-9645-4DB4D3B70571}">
      <dsp:nvSpPr>
        <dsp:cNvPr id="0" name=""/>
        <dsp:cNvSpPr/>
      </dsp:nvSpPr>
      <dsp:spPr>
        <a:xfrm rot="5400000">
          <a:off x="2872213" y="-981595"/>
          <a:ext cx="943232" cy="31471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None/>
          </a:pPr>
          <a:r>
            <a:rPr kumimoji="0" lang="en-US" sz="19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Discover sensitive data and potential security holes.</a:t>
          </a:r>
        </a:p>
      </dsp:txBody>
      <dsp:txXfrm rot="-5400000">
        <a:off x="1770262" y="120356"/>
        <a:ext cx="3147134" cy="943232"/>
      </dsp:txXfrm>
    </dsp:sp>
    <dsp:sp modelId="{424CBEF9-BC3B-4483-84E4-582BA6767F6B}">
      <dsp:nvSpPr>
        <dsp:cNvPr id="0" name=""/>
        <dsp:cNvSpPr/>
      </dsp:nvSpPr>
      <dsp:spPr>
        <a:xfrm>
          <a:off x="0" y="2451"/>
          <a:ext cx="1770262" cy="1179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Clr>
              <a:srgbClr val="0078D7"/>
            </a:buClr>
            <a:buSzPct val="90000"/>
            <a:buFont typeface="Arial" panose="020B0604020202020204" pitchFamily="34" charset="0"/>
            <a:buNone/>
          </a:pPr>
          <a:r>
            <a:rPr kumimoji="0" lang="en-US" sz="2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Get visibility </a:t>
          </a:r>
          <a:endParaRPr lang="en-US" sz="2400" kern="1200">
            <a:latin typeface="Segoe UI"/>
            <a:ea typeface="+mn-ea"/>
            <a:cs typeface="+mn-cs"/>
          </a:endParaRPr>
        </a:p>
      </dsp:txBody>
      <dsp:txXfrm>
        <a:off x="57556" y="60007"/>
        <a:ext cx="1655150" cy="1063928"/>
      </dsp:txXfrm>
    </dsp:sp>
    <dsp:sp modelId="{EFCB8670-142F-4C35-93FE-5128E40FE8FA}">
      <dsp:nvSpPr>
        <dsp:cNvPr id="0" name=""/>
        <dsp:cNvSpPr/>
      </dsp:nvSpPr>
      <dsp:spPr>
        <a:xfrm rot="5400000">
          <a:off x="2872213" y="256397"/>
          <a:ext cx="943232" cy="31471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None/>
          </a:pPr>
          <a:r>
            <a:rPr kumimoji="0" lang="en-US" sz="1900" b="0" i="0" u="none" strike="noStrike" kern="1200" cap="none" spc="0" normalizeH="0" baseline="0" noProof="0" dirty="0">
              <a:ln/>
              <a:effectLst/>
              <a:uLnTx/>
              <a:uFillTx/>
              <a:latin typeface="Segoe UI Semilight" panose="020B0402040204020203" pitchFamily="34" charset="0"/>
              <a:ea typeface="+mn-ea"/>
              <a:cs typeface="Segoe UI Semilight" panose="020B0402040204020203" pitchFamily="34" charset="0"/>
            </a:rPr>
            <a:t>Actionable remediation and security hardening steps.</a:t>
          </a:r>
        </a:p>
      </dsp:txBody>
      <dsp:txXfrm rot="-5400000">
        <a:off x="1770262" y="1358348"/>
        <a:ext cx="3147134" cy="943232"/>
      </dsp:txXfrm>
    </dsp:sp>
    <dsp:sp modelId="{084AE520-A755-4805-A6AB-8C26939AA813}">
      <dsp:nvSpPr>
        <dsp:cNvPr id="0" name=""/>
        <dsp:cNvSpPr/>
      </dsp:nvSpPr>
      <dsp:spPr>
        <a:xfrm>
          <a:off x="0" y="1240444"/>
          <a:ext cx="1770262" cy="1179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kumimoji="0" lang="en-US" sz="2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Remediate </a:t>
          </a:r>
        </a:p>
      </dsp:txBody>
      <dsp:txXfrm>
        <a:off x="57556" y="1298000"/>
        <a:ext cx="1655150" cy="1063928"/>
      </dsp:txXfrm>
    </dsp:sp>
    <dsp:sp modelId="{4188B5E2-50FD-4A08-9BE4-1C852E0CEF9A}">
      <dsp:nvSpPr>
        <dsp:cNvPr id="0" name=""/>
        <dsp:cNvSpPr/>
      </dsp:nvSpPr>
      <dsp:spPr>
        <a:xfrm rot="5400000">
          <a:off x="2872213" y="1494390"/>
          <a:ext cx="943232" cy="31471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None/>
          </a:pPr>
          <a:r>
            <a:rPr kumimoji="0" lang="en-US" sz="19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Baseline policy tuned to your environment, allowing you to focus on deviations. </a:t>
          </a:r>
        </a:p>
      </dsp:txBody>
      <dsp:txXfrm rot="-5400000">
        <a:off x="1770262" y="2596341"/>
        <a:ext cx="3147134" cy="943232"/>
      </dsp:txXfrm>
    </dsp:sp>
    <dsp:sp modelId="{6350F853-4F22-4E58-9B82-55A8236DCB03}">
      <dsp:nvSpPr>
        <dsp:cNvPr id="0" name=""/>
        <dsp:cNvSpPr/>
      </dsp:nvSpPr>
      <dsp:spPr>
        <a:xfrm>
          <a:off x="0" y="2478437"/>
          <a:ext cx="1770262" cy="1179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kumimoji="0" lang="en-US" sz="2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Customize </a:t>
          </a:r>
        </a:p>
      </dsp:txBody>
      <dsp:txXfrm>
        <a:off x="57556" y="2535993"/>
        <a:ext cx="1655150" cy="1063928"/>
      </dsp:txXfrm>
    </dsp:sp>
    <dsp:sp modelId="{F553E03E-2F8D-4013-9C77-80464D956870}">
      <dsp:nvSpPr>
        <dsp:cNvPr id="0" name=""/>
        <dsp:cNvSpPr/>
      </dsp:nvSpPr>
      <dsp:spPr>
        <a:xfrm rot="5400000">
          <a:off x="2872213" y="2732383"/>
          <a:ext cx="943232" cy="31471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None/>
          </a:pPr>
          <a:r>
            <a:rPr kumimoji="0" lang="en-US" sz="19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Pass internal or external audits to facilitate compliance.</a:t>
          </a:r>
        </a:p>
      </dsp:txBody>
      <dsp:txXfrm rot="-5400000">
        <a:off x="1770262" y="3834334"/>
        <a:ext cx="3147134" cy="943232"/>
      </dsp:txXfrm>
    </dsp:sp>
    <dsp:sp modelId="{0CB9EFFD-D6F4-4AC4-A475-900FB12C136A}">
      <dsp:nvSpPr>
        <dsp:cNvPr id="0" name=""/>
        <dsp:cNvSpPr/>
      </dsp:nvSpPr>
      <dsp:spPr>
        <a:xfrm>
          <a:off x="0" y="3716429"/>
          <a:ext cx="1770262" cy="11790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kumimoji="0" lang="en-US" sz="2400" b="0" i="0" u="none" strike="noStrike" kern="1200" cap="none" spc="0" normalizeH="0" baseline="0" noProof="0">
              <a:ln/>
              <a:effectLst/>
              <a:uLnTx/>
              <a:uFillTx/>
              <a:latin typeface="Segoe UI Semilight" panose="020B0402040204020203" pitchFamily="34" charset="0"/>
              <a:ea typeface="+mn-ea"/>
              <a:cs typeface="Segoe UI Semilight" panose="020B0402040204020203" pitchFamily="34" charset="0"/>
            </a:rPr>
            <a:t>Report </a:t>
          </a:r>
        </a:p>
      </dsp:txBody>
      <dsp:txXfrm>
        <a:off x="57556" y="3773985"/>
        <a:ext cx="1655150" cy="1063928"/>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15885"/>
          <a:ext cx="10880725" cy="772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solidFill>
                <a:srgbClr val="FFFFFF"/>
              </a:solidFill>
            </a:rPr>
            <a:t>List one important event type captured in threat detection.</a:t>
          </a:r>
          <a:endParaRPr lang="en-US" sz="3000" kern="1200"/>
        </a:p>
      </dsp:txBody>
      <dsp:txXfrm>
        <a:off x="37696" y="153581"/>
        <a:ext cx="10805333" cy="696808"/>
      </dsp:txXfrm>
    </dsp:sp>
    <dsp:sp modelId="{E922B38C-D007-46D8-9A79-C8E951BC8385}">
      <dsp:nvSpPr>
        <dsp:cNvPr id="0" name=""/>
        <dsp:cNvSpPr/>
      </dsp:nvSpPr>
      <dsp:spPr>
        <a:xfrm>
          <a:off x="0" y="937967"/>
          <a:ext cx="10880725" cy="7722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solidFill>
                <a:srgbClr val="FFFFFF"/>
              </a:solidFill>
            </a:rPr>
            <a:t>Where are the threat detection records stored?</a:t>
          </a:r>
          <a:endParaRPr lang="en-US" sz="3000" kern="1200"/>
        </a:p>
      </dsp:txBody>
      <dsp:txXfrm>
        <a:off x="37696" y="975663"/>
        <a:ext cx="10805333" cy="696808"/>
      </dsp:txXfrm>
    </dsp:sp>
    <dsp:sp modelId="{330C0406-7617-4A08-A9D6-96E04941E1BD}">
      <dsp:nvSpPr>
        <dsp:cNvPr id="0" name=""/>
        <dsp:cNvSpPr/>
      </dsp:nvSpPr>
      <dsp:spPr>
        <a:xfrm>
          <a:off x="0" y="1796567"/>
          <a:ext cx="10880725" cy="7722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Font typeface="Arial" panose="020B0604020202020204" pitchFamily="34" charset="0"/>
            <a:buNone/>
          </a:pPr>
          <a:r>
            <a:rPr lang="en-US" sz="3000" kern="1200">
              <a:solidFill>
                <a:srgbClr val="FFFFFF"/>
              </a:solidFill>
            </a:rPr>
            <a:t>What are the steps to implement a Vulnerability Assessment?</a:t>
          </a:r>
          <a:endParaRPr lang="en-US" sz="3000" kern="1200"/>
        </a:p>
      </dsp:txBody>
      <dsp:txXfrm>
        <a:off x="37696" y="1834263"/>
        <a:ext cx="10805333" cy="6968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5943"/>
          <a:ext cx="10880725" cy="10296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rgbClr val="FFFFFF"/>
              </a:solidFill>
            </a:rPr>
            <a:t>List three benefits of Azure Activity Directory Authentication.</a:t>
          </a:r>
          <a:endParaRPr lang="en-US" sz="2400" kern="1200"/>
        </a:p>
      </dsp:txBody>
      <dsp:txXfrm>
        <a:off x="50261" y="66204"/>
        <a:ext cx="10780203" cy="929078"/>
      </dsp:txXfrm>
    </dsp:sp>
    <dsp:sp modelId="{4A33671D-E411-4E64-9C6E-8646BDFFDF93}">
      <dsp:nvSpPr>
        <dsp:cNvPr id="0" name=""/>
        <dsp:cNvSpPr/>
      </dsp:nvSpPr>
      <dsp:spPr>
        <a:xfrm>
          <a:off x="0" y="1203943"/>
          <a:ext cx="10880725" cy="10296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a:solidFill>
                <a:srgbClr val="FFFFFF"/>
              </a:solidFill>
            </a:rPr>
            <a:t>Can we use Windows authentication for Azure SQL Database?</a:t>
          </a:r>
          <a:endParaRPr lang="en-US" sz="2400" kern="1200"/>
        </a:p>
      </dsp:txBody>
      <dsp:txXfrm>
        <a:off x="50261" y="1254204"/>
        <a:ext cx="10780203" cy="929078"/>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7F9EA5-A53C-4068-87ED-01F93B1B6679}">
      <dsp:nvSpPr>
        <dsp:cNvPr id="0" name=""/>
        <dsp:cNvSpPr/>
      </dsp:nvSpPr>
      <dsp:spPr>
        <a:xfrm>
          <a:off x="0" y="107222"/>
          <a:ext cx="6726237" cy="4890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ntroduction to Azure SQL Database Security</a:t>
          </a:r>
        </a:p>
      </dsp:txBody>
      <dsp:txXfrm>
        <a:off x="23874" y="131096"/>
        <a:ext cx="6678489" cy="441312"/>
      </dsp:txXfrm>
    </dsp:sp>
    <dsp:sp modelId="{3CCEF63C-9790-409A-86A8-E94362D432FC}">
      <dsp:nvSpPr>
        <dsp:cNvPr id="0" name=""/>
        <dsp:cNvSpPr/>
      </dsp:nvSpPr>
      <dsp:spPr>
        <a:xfrm>
          <a:off x="0" y="651002"/>
          <a:ext cx="6726237" cy="4890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Azure Active Directory Security</a:t>
          </a:r>
        </a:p>
      </dsp:txBody>
      <dsp:txXfrm>
        <a:off x="23874" y="674876"/>
        <a:ext cx="6678489" cy="441312"/>
      </dsp:txXfrm>
    </dsp:sp>
    <dsp:sp modelId="{70A3944B-0AAA-49F7-AB74-06AAF27442AE}">
      <dsp:nvSpPr>
        <dsp:cNvPr id="0" name=""/>
        <dsp:cNvSpPr/>
      </dsp:nvSpPr>
      <dsp:spPr>
        <a:xfrm>
          <a:off x="0" y="1194782"/>
          <a:ext cx="6726237" cy="4890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Manage Logins in Azure SQL Database</a:t>
          </a:r>
        </a:p>
      </dsp:txBody>
      <dsp:txXfrm>
        <a:off x="23874" y="1218656"/>
        <a:ext cx="6678489" cy="441312"/>
      </dsp:txXfrm>
    </dsp:sp>
    <dsp:sp modelId="{2B7E5D1B-DE75-498C-B845-CB363A7C4CA3}">
      <dsp:nvSpPr>
        <dsp:cNvPr id="0" name=""/>
        <dsp:cNvSpPr/>
      </dsp:nvSpPr>
      <dsp:spPr>
        <a:xfrm>
          <a:off x="0" y="1738562"/>
          <a:ext cx="6726237" cy="48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Firewall Rules and Virtual Networks</a:t>
          </a:r>
        </a:p>
      </dsp:txBody>
      <dsp:txXfrm>
        <a:off x="23874" y="1762436"/>
        <a:ext cx="6678489" cy="441312"/>
      </dsp:txXfrm>
    </dsp:sp>
    <dsp:sp modelId="{584563E5-6873-417D-91CE-51A973634DF6}">
      <dsp:nvSpPr>
        <dsp:cNvPr id="0" name=""/>
        <dsp:cNvSpPr/>
      </dsp:nvSpPr>
      <dsp:spPr>
        <a:xfrm>
          <a:off x="0" y="2282342"/>
          <a:ext cx="6726237" cy="48906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Transparent Data Encryption</a:t>
          </a:r>
        </a:p>
      </dsp:txBody>
      <dsp:txXfrm>
        <a:off x="23874" y="2306216"/>
        <a:ext cx="6678489" cy="441312"/>
      </dsp:txXfrm>
    </dsp:sp>
    <dsp:sp modelId="{5D73149A-F8A5-4A67-9A68-8D328FEAED80}">
      <dsp:nvSpPr>
        <dsp:cNvPr id="0" name=""/>
        <dsp:cNvSpPr/>
      </dsp:nvSpPr>
      <dsp:spPr>
        <a:xfrm>
          <a:off x="0" y="2826122"/>
          <a:ext cx="6726237" cy="4890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Always Encrypted</a:t>
          </a:r>
        </a:p>
      </dsp:txBody>
      <dsp:txXfrm>
        <a:off x="23874" y="2849996"/>
        <a:ext cx="6678489" cy="441312"/>
      </dsp:txXfrm>
    </dsp:sp>
    <dsp:sp modelId="{9843E625-64C0-4AB4-8371-71B72D90BA02}">
      <dsp:nvSpPr>
        <dsp:cNvPr id="0" name=""/>
        <dsp:cNvSpPr/>
      </dsp:nvSpPr>
      <dsp:spPr>
        <a:xfrm>
          <a:off x="0" y="3369902"/>
          <a:ext cx="6726237" cy="4890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Row Level Security</a:t>
          </a:r>
        </a:p>
      </dsp:txBody>
      <dsp:txXfrm>
        <a:off x="23874" y="3393776"/>
        <a:ext cx="6678489" cy="441312"/>
      </dsp:txXfrm>
    </dsp:sp>
    <dsp:sp modelId="{3D05CF5A-8A45-438A-AF9C-80B398D007FF}">
      <dsp:nvSpPr>
        <dsp:cNvPr id="0" name=""/>
        <dsp:cNvSpPr/>
      </dsp:nvSpPr>
      <dsp:spPr>
        <a:xfrm>
          <a:off x="0" y="3913682"/>
          <a:ext cx="6726237" cy="4890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Dynamic Data Masking</a:t>
          </a:r>
        </a:p>
      </dsp:txBody>
      <dsp:txXfrm>
        <a:off x="23874" y="3937556"/>
        <a:ext cx="6678489" cy="441312"/>
      </dsp:txXfrm>
    </dsp:sp>
    <dsp:sp modelId="{8AB84A2A-018B-4FE9-9B75-B9E22F701A2B}">
      <dsp:nvSpPr>
        <dsp:cNvPr id="0" name=""/>
        <dsp:cNvSpPr/>
      </dsp:nvSpPr>
      <dsp:spPr>
        <a:xfrm>
          <a:off x="0" y="4457462"/>
          <a:ext cx="6726237" cy="48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Auditing for Azure SQL Database</a:t>
          </a:r>
        </a:p>
      </dsp:txBody>
      <dsp:txXfrm>
        <a:off x="23874" y="4481336"/>
        <a:ext cx="6678489" cy="441312"/>
      </dsp:txXfrm>
    </dsp:sp>
    <dsp:sp modelId="{779B6E45-19B8-4417-B310-C93BB0090CCA}">
      <dsp:nvSpPr>
        <dsp:cNvPr id="0" name=""/>
        <dsp:cNvSpPr/>
      </dsp:nvSpPr>
      <dsp:spPr>
        <a:xfrm>
          <a:off x="0" y="5001242"/>
          <a:ext cx="6726237" cy="48906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Implement Advanced Data Security</a:t>
          </a:r>
        </a:p>
      </dsp:txBody>
      <dsp:txXfrm>
        <a:off x="23874" y="5025116"/>
        <a:ext cx="6678489" cy="44131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B47041-97FA-4F12-9307-AE8E2C432568}">
      <dsp:nvSpPr>
        <dsp:cNvPr id="0" name=""/>
        <dsp:cNvSpPr/>
      </dsp:nvSpPr>
      <dsp:spPr>
        <a:xfrm>
          <a:off x="5440363" y="1370501"/>
          <a:ext cx="1657361" cy="575282"/>
        </a:xfrm>
        <a:custGeom>
          <a:avLst/>
          <a:gdLst/>
          <a:ahLst/>
          <a:cxnLst/>
          <a:rect l="0" t="0" r="0" b="0"/>
          <a:pathLst>
            <a:path>
              <a:moveTo>
                <a:pt x="0" y="0"/>
              </a:moveTo>
              <a:lnTo>
                <a:pt x="0" y="287641"/>
              </a:lnTo>
              <a:lnTo>
                <a:pt x="1657361" y="287641"/>
              </a:lnTo>
              <a:lnTo>
                <a:pt x="1657361" y="5752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178D28-DDDA-4412-87DC-510B39C98418}">
      <dsp:nvSpPr>
        <dsp:cNvPr id="0" name=""/>
        <dsp:cNvSpPr/>
      </dsp:nvSpPr>
      <dsp:spPr>
        <a:xfrm>
          <a:off x="3783001" y="1370501"/>
          <a:ext cx="1657361" cy="575282"/>
        </a:xfrm>
        <a:custGeom>
          <a:avLst/>
          <a:gdLst/>
          <a:ahLst/>
          <a:cxnLst/>
          <a:rect l="0" t="0" r="0" b="0"/>
          <a:pathLst>
            <a:path>
              <a:moveTo>
                <a:pt x="1657361" y="0"/>
              </a:moveTo>
              <a:lnTo>
                <a:pt x="1657361" y="287641"/>
              </a:lnTo>
              <a:lnTo>
                <a:pt x="0" y="287641"/>
              </a:lnTo>
              <a:lnTo>
                <a:pt x="0" y="57528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2C28F2-E4D8-40FC-8996-0E986F106439}">
      <dsp:nvSpPr>
        <dsp:cNvPr id="0" name=""/>
        <dsp:cNvSpPr/>
      </dsp:nvSpPr>
      <dsp:spPr>
        <a:xfrm>
          <a:off x="4070642" y="781"/>
          <a:ext cx="2739440" cy="136972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erver Level Principal accounts</a:t>
          </a:r>
          <a:endParaRPr lang="en-US" sz="2400" kern="1200" dirty="0"/>
        </a:p>
      </dsp:txBody>
      <dsp:txXfrm>
        <a:off x="4070642" y="781"/>
        <a:ext cx="2739440" cy="1369720"/>
      </dsp:txXfrm>
    </dsp:sp>
    <dsp:sp modelId="{C1171F05-504E-4925-A1A9-02005D84A7DC}">
      <dsp:nvSpPr>
        <dsp:cNvPr id="0" name=""/>
        <dsp:cNvSpPr/>
      </dsp:nvSpPr>
      <dsp:spPr>
        <a:xfrm>
          <a:off x="2413281" y="1945784"/>
          <a:ext cx="2739440" cy="136972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baseline="0"/>
            <a:t>Server Admin</a:t>
          </a:r>
          <a:endParaRPr lang="en-US" sz="2000" kern="1200"/>
        </a:p>
      </dsp:txBody>
      <dsp:txXfrm>
        <a:off x="2413281" y="1945784"/>
        <a:ext cx="2739440" cy="1369720"/>
      </dsp:txXfrm>
    </dsp:sp>
    <dsp:sp modelId="{05361139-8D25-4EE5-8CD5-5AD08C416B7F}">
      <dsp:nvSpPr>
        <dsp:cNvPr id="0" name=""/>
        <dsp:cNvSpPr/>
      </dsp:nvSpPr>
      <dsp:spPr>
        <a:xfrm>
          <a:off x="5728004" y="1945784"/>
          <a:ext cx="2739440" cy="136972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baseline="0"/>
            <a:t>Azure Active Directory Administrator</a:t>
          </a:r>
          <a:endParaRPr lang="en-US" sz="2000" kern="1200"/>
        </a:p>
      </dsp:txBody>
      <dsp:txXfrm>
        <a:off x="5728004" y="1945784"/>
        <a:ext cx="2739440" cy="13697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131ED5-7019-4CC6-9242-3861DBA15046}">
      <dsp:nvSpPr>
        <dsp:cNvPr id="0" name=""/>
        <dsp:cNvSpPr/>
      </dsp:nvSpPr>
      <dsp:spPr>
        <a:xfrm>
          <a:off x="9563"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Create a server-level login</a:t>
          </a:r>
          <a:endParaRPr lang="en-US" sz="3000" kern="1200"/>
        </a:p>
      </dsp:txBody>
      <dsp:txXfrm>
        <a:off x="59793" y="88878"/>
        <a:ext cx="2757855" cy="1614529"/>
      </dsp:txXfrm>
    </dsp:sp>
    <dsp:sp modelId="{5343C535-DE4F-4F1B-9C84-0AE85764AE94}">
      <dsp:nvSpPr>
        <dsp:cNvPr id="0" name=""/>
        <dsp:cNvSpPr/>
      </dsp:nvSpPr>
      <dsp:spPr>
        <a:xfrm>
          <a:off x="3153710" y="541711"/>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3153710" y="683483"/>
        <a:ext cx="424173" cy="425318"/>
      </dsp:txXfrm>
    </dsp:sp>
    <dsp:sp modelId="{7DDB43B4-EAFF-408C-9BC8-6322153BBCD8}">
      <dsp:nvSpPr>
        <dsp:cNvPr id="0" name=""/>
        <dsp:cNvSpPr/>
      </dsp:nvSpPr>
      <dsp:spPr>
        <a:xfrm>
          <a:off x="4011205"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Create a user in virtual master</a:t>
          </a:r>
          <a:endParaRPr lang="en-US" sz="3000" kern="1200" dirty="0"/>
        </a:p>
      </dsp:txBody>
      <dsp:txXfrm>
        <a:off x="4061435" y="88878"/>
        <a:ext cx="2757855" cy="1614529"/>
      </dsp:txXfrm>
    </dsp:sp>
    <dsp:sp modelId="{C84D97D5-0F1D-46EA-91E7-F0509C60C5FD}">
      <dsp:nvSpPr>
        <dsp:cNvPr id="0" name=""/>
        <dsp:cNvSpPr/>
      </dsp:nvSpPr>
      <dsp:spPr>
        <a:xfrm>
          <a:off x="7155352" y="541711"/>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7155352" y="683483"/>
        <a:ext cx="424173" cy="425318"/>
      </dsp:txXfrm>
    </dsp:sp>
    <dsp:sp modelId="{BCB706DA-A027-441F-99B4-872B29972A63}">
      <dsp:nvSpPr>
        <dsp:cNvPr id="0" name=""/>
        <dsp:cNvSpPr/>
      </dsp:nvSpPr>
      <dsp:spPr>
        <a:xfrm>
          <a:off x="8012847"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Add to dbmanager</a:t>
          </a:r>
          <a:endParaRPr lang="en-US" sz="3000" kern="1200"/>
        </a:p>
      </dsp:txBody>
      <dsp:txXfrm>
        <a:off x="8063077" y="88878"/>
        <a:ext cx="2757855" cy="161452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131ED5-7019-4CC6-9242-3861DBA15046}">
      <dsp:nvSpPr>
        <dsp:cNvPr id="0" name=""/>
        <dsp:cNvSpPr/>
      </dsp:nvSpPr>
      <dsp:spPr>
        <a:xfrm>
          <a:off x="9563"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latin typeface="Segoe UI Light" panose="020B0502040204020203" pitchFamily="34" charset="0"/>
              <a:ea typeface="+mn-ea"/>
              <a:cs typeface="Segoe UI Light" panose="020B0502040204020203" pitchFamily="34" charset="0"/>
            </a:rPr>
            <a:t>Create a server-level login</a:t>
          </a:r>
          <a:endParaRPr lang="en-US" sz="2300" kern="1200"/>
        </a:p>
      </dsp:txBody>
      <dsp:txXfrm>
        <a:off x="59793" y="88878"/>
        <a:ext cx="2757855" cy="1614529"/>
      </dsp:txXfrm>
    </dsp:sp>
    <dsp:sp modelId="{5343C535-DE4F-4F1B-9C84-0AE85764AE94}">
      <dsp:nvSpPr>
        <dsp:cNvPr id="0" name=""/>
        <dsp:cNvSpPr/>
      </dsp:nvSpPr>
      <dsp:spPr>
        <a:xfrm>
          <a:off x="3153710" y="541711"/>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3153710" y="683483"/>
        <a:ext cx="424173" cy="425318"/>
      </dsp:txXfrm>
    </dsp:sp>
    <dsp:sp modelId="{D6E0A1F6-34B0-495D-8E56-3EAC3110A19D}">
      <dsp:nvSpPr>
        <dsp:cNvPr id="0" name=""/>
        <dsp:cNvSpPr/>
      </dsp:nvSpPr>
      <dsp:spPr>
        <a:xfrm>
          <a:off x="4011205"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latin typeface="Segoe UI Light" panose="020B0502040204020203" pitchFamily="34" charset="0"/>
              <a:cs typeface="Segoe UI Light" panose="020B0502040204020203" pitchFamily="34" charset="0"/>
            </a:rPr>
            <a:t>Create a user in virtual master or contained user (preferred)</a:t>
          </a:r>
        </a:p>
      </dsp:txBody>
      <dsp:txXfrm>
        <a:off x="4061435" y="88878"/>
        <a:ext cx="2757855" cy="1614529"/>
      </dsp:txXfrm>
    </dsp:sp>
    <dsp:sp modelId="{63991C44-0B95-46EB-8C10-2C58001A6912}">
      <dsp:nvSpPr>
        <dsp:cNvPr id="0" name=""/>
        <dsp:cNvSpPr/>
      </dsp:nvSpPr>
      <dsp:spPr>
        <a:xfrm>
          <a:off x="7155352" y="541711"/>
          <a:ext cx="605962" cy="70886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7155352" y="683483"/>
        <a:ext cx="424173" cy="425318"/>
      </dsp:txXfrm>
    </dsp:sp>
    <dsp:sp modelId="{EFFFC366-2D4C-434E-9B0E-3B9389D36D90}">
      <dsp:nvSpPr>
        <dsp:cNvPr id="0" name=""/>
        <dsp:cNvSpPr/>
      </dsp:nvSpPr>
      <dsp:spPr>
        <a:xfrm>
          <a:off x="8012847" y="38648"/>
          <a:ext cx="2858315" cy="171498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latin typeface="Segoe UI Light" panose="020B0502040204020203" pitchFamily="34" charset="0"/>
              <a:ea typeface="+mn-ea"/>
              <a:cs typeface="Segoe UI Light" panose="020B0502040204020203" pitchFamily="34" charset="0"/>
            </a:rPr>
            <a:t>Add to loginmanager</a:t>
          </a:r>
        </a:p>
      </dsp:txBody>
      <dsp:txXfrm>
        <a:off x="8063077" y="88878"/>
        <a:ext cx="2757855" cy="16145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E53370-D822-4DB3-B285-E70983F90B7A}">
      <dsp:nvSpPr>
        <dsp:cNvPr id="0" name=""/>
        <dsp:cNvSpPr/>
      </dsp:nvSpPr>
      <dsp:spPr>
        <a:xfrm>
          <a:off x="0" y="142774"/>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Azure Active Directory authentication contained database user. </a:t>
          </a:r>
          <a:endParaRPr lang="en-US" sz="2500" kern="1200"/>
        </a:p>
      </dsp:txBody>
      <dsp:txXfrm>
        <a:off x="0" y="142774"/>
        <a:ext cx="3400226" cy="2040136"/>
      </dsp:txXfrm>
    </dsp:sp>
    <dsp:sp modelId="{E18BD02F-5232-424D-ABF0-194D016E617D}">
      <dsp:nvSpPr>
        <dsp:cNvPr id="0" name=""/>
        <dsp:cNvSpPr/>
      </dsp:nvSpPr>
      <dsp:spPr>
        <a:xfrm>
          <a:off x="3740249" y="142774"/>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dirty="0"/>
            <a:t>SQL Server authentication contained database user.</a:t>
          </a:r>
          <a:endParaRPr lang="en-US" sz="2500" kern="1200" dirty="0"/>
        </a:p>
      </dsp:txBody>
      <dsp:txXfrm>
        <a:off x="3740249" y="142774"/>
        <a:ext cx="3400226" cy="2040136"/>
      </dsp:txXfrm>
    </dsp:sp>
    <dsp:sp modelId="{0D7CCD5D-AFFA-4195-8B9B-CB9506D0C85A}">
      <dsp:nvSpPr>
        <dsp:cNvPr id="0" name=""/>
        <dsp:cNvSpPr/>
      </dsp:nvSpPr>
      <dsp:spPr>
        <a:xfrm>
          <a:off x="7480499" y="142774"/>
          <a:ext cx="3400226" cy="20401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baseline="0"/>
            <a:t>SQL Server authentication user based on a SQL Server authentication login. </a:t>
          </a:r>
          <a:endParaRPr lang="en-US" sz="2500" kern="1200"/>
        </a:p>
      </dsp:txBody>
      <dsp:txXfrm>
        <a:off x="7480499" y="142774"/>
        <a:ext cx="3400226" cy="204013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9.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9.01.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19/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azure/sql-database/sql-database-aad-authentication-configur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msdn.microsoft.com/library/ms173463.aspx"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msdn.microsoft.com/library/ms189121"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msdn.microsoft.com/library/ms191291.aspx"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msdn.microsoft.com/library/ms187936.aspx"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msdn.microsoft.com/library/dn270010.aspx"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docs.microsoft.com/en-us/azure/sql-database/sql-database-technical-overview" TargetMode="External"/><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https://docs.microsoft.com/en-us/azure/virtual-network/virtual-networks-static-private-ip-arm-pportal" TargetMode="External"/><Relationship Id="rId4" Type="http://schemas.openxmlformats.org/officeDocument/2006/relationships/hyperlink" Target="https://docs.microsoft.com/en-us/azure/sql-data-warehouse/sql-data-warehouse-overview-what-is" TargetMode="Externa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docs.microsoft.com/en-us/azure/private-link/index" TargetMode="External"/><Relationship Id="rId2" Type="http://schemas.openxmlformats.org/officeDocument/2006/relationships/slide" Target="../slides/slide40.xml"/><Relationship Id="rId1" Type="http://schemas.openxmlformats.org/officeDocument/2006/relationships/notesMaster" Target="../notesMasters/notesMaster1.xml"/><Relationship Id="rId5" Type="http://schemas.openxmlformats.org/officeDocument/2006/relationships/hyperlink" Target="https://docs.microsoft.com/en-us/azure/expressroute/expressroute-introduction" TargetMode="External"/><Relationship Id="rId4" Type="http://schemas.openxmlformats.org/officeDocument/2006/relationships/hyperlink" Target="https://docs.microsoft.com/en-us/azure/virtual-network/virtual-networks-overview"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docs.microsoft.com/en-us/azure/sql-database/sql-database-technical-overview"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docs.microsoft.com/en-us/azure/sql-data-warehouse/sql-data-warehouse-overview-what-is"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sql/relational-databases/security/encryption/transparent-data-encryption" TargetMode="External"/><Relationship Id="rId2" Type="http://schemas.openxmlformats.org/officeDocument/2006/relationships/slide" Target="../slides/slide48.xml"/><Relationship Id="rId1" Type="http://schemas.openxmlformats.org/officeDocument/2006/relationships/notesMaster" Target="../notesMasters/notesMaster1.xml"/><Relationship Id="rId5" Type="http://schemas.openxmlformats.org/officeDocument/2006/relationships/hyperlink" Target="https://docs.microsoft.com/azure/key-vault/key-vault-hsm-protected-keys" TargetMode="External"/><Relationship Id="rId4" Type="http://schemas.openxmlformats.org/officeDocument/2006/relationships/hyperlink" Target="https://docs.microsoft.com/azure/key-vault/key-vault-secure-your-key-vault"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azure.microsoft.com/pricing/details/monitor/" TargetMode="External"/><Relationship Id="rId2" Type="http://schemas.openxmlformats.org/officeDocument/2006/relationships/slide" Target="../slides/slide85.xml"/><Relationship Id="rId1" Type="http://schemas.openxmlformats.org/officeDocument/2006/relationships/notesMaster" Target="../notesMasters/notesMaster1.xml"/><Relationship Id="rId4" Type="http://schemas.openxmlformats.org/officeDocument/2006/relationships/hyperlink" Target="https://docs.microsoft.com/en-us/azure/sql-database/sql-database-auditing" TargetMode="Externa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s://azure.microsoft.com/services/security-center/" TargetMode="Externa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https://docs.microsoft.com/en-us/azure/sql-database/sql-advanced-threat-protection" TargetMode="External"/><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docs.microsoft.com/en-us/azure/sql-database/sql-advanced-threat-protection" TargetMode="External"/><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continuing with the Azure SQL Database Essentials course. Here we will explore the management of security of the Azure SQL database on the Microsoft Azure cloud platform.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3871394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zure Active Directory Securit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91973561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SQL Vulnerability Assessment (VA) is a service that provides visibility into your security state, and includes actionable steps to resolve security issues, and enhance your database security. It can help you: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eet compliance requirements that require database scan reports.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eet data privacy standards.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onitor a dynamic database environment where changes are difficult to track. </a:t>
            </a:r>
          </a:p>
          <a:p>
            <a:r>
              <a:rPr lang="en-US" sz="800" b="0" i="0" u="none" strike="noStrike" kern="1200">
                <a:solidFill>
                  <a:schemeClr val="tx1"/>
                </a:solidFill>
                <a:effectLst/>
                <a:latin typeface="Segoe UI Light" pitchFamily="34" charset="0"/>
                <a:ea typeface="+mn-ea"/>
                <a:cs typeface="+mn-cs"/>
              </a:rPr>
              <a:t>VA is a scanning service built into the Azure SQL Database service. The service employs a knowledge base of rules that flag security vulnerabilities and highlight deviations from best practices, such as misconfigurations, excessive permissions, and unprotected sensitive data. The rules are based on Microsoft’s best practices and focus on the security issues that present the biggest risks to your database and its valuable data. They cover both database-level issues as well as server-level security issues, like server firewall settings and server-level permissions. These rules also represent many of the requirements from various regulatory bodies to meet their compliance standards. </a:t>
            </a:r>
          </a:p>
          <a:p>
            <a:r>
              <a:rPr lang="en-US" sz="800" b="0" i="0" u="none" strike="noStrike" kern="1200">
                <a:solidFill>
                  <a:schemeClr val="tx1"/>
                </a:solidFill>
                <a:effectLst/>
                <a:latin typeface="Segoe UI Light" pitchFamily="34" charset="0"/>
                <a:ea typeface="+mn-ea"/>
                <a:cs typeface="+mn-cs"/>
              </a:rPr>
              <a:t>Results of the scan include actionable steps to resolve each issue and provide customized remediation scripts where applicable. An assessment report can be customized for your environment by setting an acceptable baseline for permission configurations, feature configurations, and database settings.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2</a:t>
            </a:fld>
            <a:endParaRPr lang="en-US" noProof="0"/>
          </a:p>
        </p:txBody>
      </p:sp>
    </p:spTree>
    <p:extLst>
      <p:ext uri="{BB962C8B-B14F-4D97-AF65-F5344CB8AC3E}">
        <p14:creationId xmlns:p14="http://schemas.microsoft.com/office/powerpoint/2010/main" val="57537177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Get started with VA by navigating to Advanced Data Security under the Security heading in your Azure SQL Database pane. Click to enable Advanced Data Security, and then click on the Vulnerability Assessment card, which automatically opens the Vulnerability Assessment settings card. </a:t>
            </a:r>
          </a:p>
          <a:p>
            <a:r>
              <a:rPr lang="en-US"/>
              <a:t>Start by configuring a storage account where your scan results will be stored. For information about storage accounts, see About Azure storage accounts. Once storage is configured, click Scan to scan your database for vulnerabilities.</a:t>
            </a:r>
          </a:p>
          <a:p>
            <a:r>
              <a:rPr lang="en-US"/>
              <a:t>2. View the report</a:t>
            </a:r>
          </a:p>
          <a:p>
            <a:r>
              <a:rPr lang="en-US"/>
              <a:t>When your scan is complete, your scan report is automatically displayed in the Azure portal. The report presents an overview of your security state: how many issues were found and their respective severities. Results include warnings on deviations from best practices and a snapshot of your security-related settings, such as database principals and roles and their associated </a:t>
            </a:r>
            <a:r>
              <a:rPr lang="en-US" err="1"/>
              <a:t>permissions.The</a:t>
            </a:r>
            <a:r>
              <a:rPr lang="en-US"/>
              <a:t> scan report also provides a map of sensitive data discovered in your database, and includes recommendations to classify that data using Data Discovery &amp; Classification. </a:t>
            </a:r>
          </a:p>
          <a:p>
            <a:r>
              <a:rPr lang="en-US"/>
              <a:t>3-4. Analyze the results and resolve issues</a:t>
            </a:r>
          </a:p>
          <a:p>
            <a:r>
              <a:rPr lang="en-US"/>
              <a:t>Review your results and determine the findings in the report that are true security issues in your environment. Drill down to each failed result to understand the impact of the finding and why each security check failed. Use the actionable remediation information provided by the report to resolve the issue. </a:t>
            </a:r>
          </a:p>
          <a:p>
            <a:r>
              <a:rPr lang="en-US"/>
              <a:t>5. Set your baseline</a:t>
            </a:r>
          </a:p>
          <a:p>
            <a:r>
              <a:rPr lang="en-US"/>
              <a:t>As you review your assessment results, you can mark specific results as being an acceptable Baseline in your environment. The baseline is essentially a customization of how the results are reported. Results that match the baseline are considered as passing in subsequent scans. Once you have established your baseline security state, VA only reports on deviations from the baseline and you can focus your attention on the relevant issues. </a:t>
            </a:r>
          </a:p>
          <a:p>
            <a:r>
              <a:rPr lang="en-US"/>
              <a:t>6. Run a new scan to see your customized tracking report</a:t>
            </a:r>
          </a:p>
          <a:p>
            <a:r>
              <a:rPr lang="en-US"/>
              <a:t>After you complete setting up your Rule Baselines, run a new scan to view the customized report. VA now reports only the security issues that deviate from your approved baseline state. </a:t>
            </a:r>
          </a:p>
          <a:p>
            <a:r>
              <a:rPr lang="en-US"/>
              <a:t>7. Set up periodic recurring scans</a:t>
            </a:r>
          </a:p>
          <a:p>
            <a:r>
              <a:rPr lang="en-US"/>
              <a:t>Navigate to the Vulnerability Assessment settings to turn on Periodic recurring scans. This configures Vulnerability Assessment to automatically run a scan on your database once per week. A scan result summary will be sent to the email address(es) you provide.</a:t>
            </a:r>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3</a:t>
            </a:fld>
            <a:endParaRPr lang="en-US" noProof="0"/>
          </a:p>
        </p:txBody>
      </p:sp>
    </p:spTree>
    <p:extLst>
      <p:ext uri="{BB962C8B-B14F-4D97-AF65-F5344CB8AC3E}">
        <p14:creationId xmlns:p14="http://schemas.microsoft.com/office/powerpoint/2010/main" val="251206490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a:solidFill>
                  <a:srgbClr val="000000"/>
                </a:solidFill>
                <a:latin typeface="Consolas" panose="020B0609020204030204" pitchFamily="49" charset="0"/>
              </a:rPr>
              <a:t>M04L10Demo03</a:t>
            </a:r>
          </a:p>
          <a:p>
            <a:pPr marL="0" indent="0">
              <a:buFont typeface="Arial" panose="020B0604020202020204" pitchFamily="34" charset="0"/>
              <a:buNone/>
            </a:pPr>
            <a:endParaRPr lang="en-US" sz="800" b="1"/>
          </a:p>
          <a:p>
            <a:pPr marL="0" indent="0">
              <a:buFont typeface="Arial" panose="020B0604020202020204" pitchFamily="34" charset="0"/>
              <a:buNone/>
            </a:pPr>
            <a:r>
              <a:rPr lang="en-US" sz="800" b="1"/>
              <a:t>Demo Requirements</a:t>
            </a:r>
          </a:p>
          <a:p>
            <a:pPr marL="171450" indent="-171450">
              <a:buFontTx/>
              <a:buChar char="-"/>
            </a:pPr>
            <a:r>
              <a:rPr lang="en-US" sz="800" b="0" err="1"/>
              <a:t>Salesdb</a:t>
            </a:r>
            <a:r>
              <a:rPr lang="en-US" sz="800" b="0"/>
              <a:t> that has been created in Module 1</a:t>
            </a:r>
          </a:p>
          <a:p>
            <a:pPr marL="171450" indent="-171450">
              <a:buFontTx/>
              <a:buChar char="-"/>
            </a:pPr>
            <a:r>
              <a:rPr lang="en-US" sz="800" b="0"/>
              <a:t>An Azure Storage account</a:t>
            </a:r>
          </a:p>
          <a:p>
            <a:pPr marL="171450" indent="-171450">
              <a:buFontTx/>
              <a:buChar char="-"/>
            </a:pPr>
            <a:r>
              <a:rPr lang="en-US" sz="800" b="0"/>
              <a:t>SSMS</a:t>
            </a:r>
          </a:p>
          <a:p>
            <a:pPr marL="171450" indent="-171450">
              <a:buFontTx/>
              <a:buChar char="-"/>
            </a:pPr>
            <a:r>
              <a:rPr lang="en-US" sz="800" b="0"/>
              <a:t>Execute the following statement on the </a:t>
            </a:r>
            <a:r>
              <a:rPr lang="en-US" sz="800" b="0" err="1"/>
              <a:t>salesdb</a:t>
            </a:r>
            <a:endParaRPr lang="en-US" sz="800" b="0"/>
          </a:p>
          <a:p>
            <a:r>
              <a:rPr lang="en-US" sz="800" b="0"/>
              <a:t>     </a:t>
            </a:r>
            <a:r>
              <a:rPr lang="en-US" sz="800" kern="1200">
                <a:solidFill>
                  <a:schemeClr val="tx1"/>
                </a:solidFill>
                <a:latin typeface="Segoe UI Light" pitchFamily="34" charset="0"/>
                <a:ea typeface="+mn-ea"/>
                <a:cs typeface="+mn-cs"/>
              </a:rPr>
              <a:t>ALTER ROLE [</a:t>
            </a:r>
            <a:r>
              <a:rPr lang="en-US" sz="800" kern="1200" err="1">
                <a:solidFill>
                  <a:schemeClr val="tx1"/>
                </a:solidFill>
                <a:latin typeface="Segoe UI Light" pitchFamily="34" charset="0"/>
                <a:ea typeface="+mn-ea"/>
                <a:cs typeface="+mn-cs"/>
              </a:rPr>
              <a:t>db_owner</a:t>
            </a:r>
            <a:r>
              <a:rPr lang="en-US" sz="800" kern="1200">
                <a:solidFill>
                  <a:schemeClr val="tx1"/>
                </a:solidFill>
                <a:latin typeface="Segoe UI Light" pitchFamily="34" charset="0"/>
                <a:ea typeface="+mn-ea"/>
                <a:cs typeface="+mn-cs"/>
              </a:rPr>
              <a:t>] ADD MEMBER [guest]</a:t>
            </a:r>
            <a:endParaRPr lang="en-US" sz="800" b="0"/>
          </a:p>
          <a:p>
            <a:pPr marL="171450" indent="-171450">
              <a:buFontTx/>
              <a:buChar char="-"/>
            </a:pPr>
            <a:endParaRPr lang="en-US" sz="800" b="0"/>
          </a:p>
          <a:p>
            <a:pPr marL="0" indent="0">
              <a:buFontTx/>
              <a:buNone/>
            </a:pPr>
            <a:r>
              <a:rPr lang="en-US" sz="800" b="1"/>
              <a:t>Step 1: Run a scan</a:t>
            </a:r>
            <a:endParaRPr lang="en-US" sz="800" b="0"/>
          </a:p>
          <a:p>
            <a:pPr marL="228600" indent="-228600">
              <a:buFontTx/>
              <a:buAutoNum type="arabicPeriod"/>
            </a:pPr>
            <a:r>
              <a:rPr lang="en-US" sz="800" b="0"/>
              <a:t>Get started with VA by navigating to Advanced Threat Protection under the Security heading in your Azure SQL Database pane. </a:t>
            </a:r>
          </a:p>
          <a:p>
            <a:pPr marL="228600" indent="-228600">
              <a:buFontTx/>
              <a:buAutoNum type="arabicPeriod"/>
            </a:pPr>
            <a:r>
              <a:rPr lang="en-US" sz="800" b="0"/>
              <a:t>Click to enable Advanced Threat Protection, and then click on the Vulnerability Assessment card, which automatically opens the Vulnerability Assessment settings card. </a:t>
            </a:r>
          </a:p>
          <a:p>
            <a:pPr marL="228600" indent="-228600">
              <a:buFontTx/>
              <a:buAutoNum type="arabicPeriod"/>
            </a:pPr>
            <a:r>
              <a:rPr lang="en-US" sz="800" b="0"/>
              <a:t>Configure your storage account</a:t>
            </a:r>
          </a:p>
          <a:p>
            <a:pPr marL="228600" indent="-228600">
              <a:buFontTx/>
              <a:buAutoNum type="arabicPeriod"/>
            </a:pPr>
            <a:r>
              <a:rPr lang="en-US" sz="800" b="0"/>
              <a:t>Once storage is configured, click Scan to scan your database for vulnerabilities. The scan is lightweight and safe. It takes a few seconds to run, and is entirely read-only. It does not make any changes to your database.</a:t>
            </a:r>
          </a:p>
          <a:p>
            <a:pPr marL="0" indent="0">
              <a:buFontTx/>
              <a:buNone/>
            </a:pPr>
            <a:endParaRPr lang="en-US" sz="800" b="0"/>
          </a:p>
          <a:p>
            <a:pPr marL="0" indent="0">
              <a:buFontTx/>
              <a:buNone/>
            </a:pPr>
            <a:r>
              <a:rPr lang="en-US" sz="800" b="1"/>
              <a:t>Step 2: View the report</a:t>
            </a:r>
            <a:endParaRPr lang="en-US" sz="800" b="0"/>
          </a:p>
          <a:p>
            <a:pPr marL="0" indent="0">
              <a:buFontTx/>
              <a:buNone/>
            </a:pPr>
            <a:r>
              <a:rPr lang="en-US" sz="800" b="0"/>
              <a:t>Explore the issues and explain them to the students. </a:t>
            </a:r>
            <a:r>
              <a:rPr lang="en-US" sz="800" b="0" i="0" u="none" strike="noStrike" kern="1200">
                <a:solidFill>
                  <a:schemeClr val="tx1"/>
                </a:solidFill>
                <a:effectLst/>
                <a:latin typeface="Segoe UI Light" pitchFamily="34" charset="0"/>
                <a:ea typeface="+mn-ea"/>
                <a:cs typeface="+mn-cs"/>
              </a:rPr>
              <a:t>When your scan is complete, your scan report is automatically displayed in the Azure portal. The report presents an overview of your security state: how many issues were found and their respective severities. </a:t>
            </a:r>
          </a:p>
          <a:p>
            <a:pPr marL="0" indent="0">
              <a:buFontTx/>
              <a:buNone/>
            </a:pPr>
            <a:r>
              <a:rPr lang="en-US" sz="800" b="0" i="0" u="none" strike="noStrike" kern="1200">
                <a:solidFill>
                  <a:schemeClr val="tx1"/>
                </a:solidFill>
                <a:effectLst/>
                <a:latin typeface="Segoe UI Light" pitchFamily="34" charset="0"/>
                <a:ea typeface="+mn-ea"/>
                <a:cs typeface="+mn-cs"/>
              </a:rPr>
              <a:t>You will see that the “Server principal GUEST should not be a member of any role” issue is shown as high risk</a:t>
            </a:r>
          </a:p>
          <a:p>
            <a:pPr marL="0" indent="0">
              <a:buFontTx/>
              <a:buNone/>
            </a:pPr>
            <a:endParaRPr lang="en-US" sz="800" b="0" i="0" u="none" strike="noStrike" kern="1200">
              <a:solidFill>
                <a:schemeClr val="tx1"/>
              </a:solidFill>
              <a:effectLst/>
              <a:latin typeface="Segoe UI Light" pitchFamily="34" charset="0"/>
              <a:ea typeface="+mn-ea"/>
              <a:cs typeface="+mn-cs"/>
            </a:endParaRPr>
          </a:p>
          <a:p>
            <a:pPr marL="0" indent="0">
              <a:buFontTx/>
              <a:buNone/>
            </a:pPr>
            <a:r>
              <a:rPr lang="en-US" sz="800" b="1" i="0" u="none" strike="noStrike" kern="1200">
                <a:solidFill>
                  <a:schemeClr val="tx1"/>
                </a:solidFill>
                <a:effectLst/>
                <a:latin typeface="Segoe UI Light" pitchFamily="34" charset="0"/>
                <a:ea typeface="+mn-ea"/>
                <a:cs typeface="+mn-cs"/>
              </a:rPr>
              <a:t>Step3: Analyze and resolve</a:t>
            </a:r>
          </a:p>
          <a:p>
            <a:pPr marL="228600" indent="-228600">
              <a:buFontTx/>
              <a:buAutoNum type="arabicPeriod"/>
            </a:pPr>
            <a:r>
              <a:rPr lang="en-US" sz="800" b="0" i="0" u="none" strike="noStrike" kern="1200">
                <a:solidFill>
                  <a:schemeClr val="tx1"/>
                </a:solidFill>
                <a:effectLst/>
                <a:latin typeface="Segoe UI Light" pitchFamily="34" charset="0"/>
                <a:ea typeface="+mn-ea"/>
                <a:cs typeface="+mn-cs"/>
              </a:rPr>
              <a:t>Click on the Server principal GUEST should not be a member of any role issue and look at Remediation</a:t>
            </a:r>
          </a:p>
          <a:p>
            <a:pPr marL="228600" indent="-228600">
              <a:buFontTx/>
              <a:buAutoNum type="arabicPeriod"/>
            </a:pPr>
            <a:r>
              <a:rPr lang="en-US" sz="800" b="0" i="0" u="none" strike="noStrike" kern="1200">
                <a:solidFill>
                  <a:schemeClr val="tx1"/>
                </a:solidFill>
                <a:effectLst/>
                <a:latin typeface="Segoe UI Light" pitchFamily="34" charset="0"/>
                <a:ea typeface="+mn-ea"/>
                <a:cs typeface="+mn-cs"/>
              </a:rPr>
              <a:t>Resolve the issue by executing the SQL Statement that is suggested in the remediation script</a:t>
            </a:r>
          </a:p>
          <a:p>
            <a:pPr marL="228600" indent="-228600">
              <a:buFontTx/>
              <a:buAutoNum type="arabicPeriod"/>
            </a:pPr>
            <a:r>
              <a:rPr lang="en-US" sz="800" b="0" i="0" u="none" strike="noStrike" kern="1200">
                <a:solidFill>
                  <a:schemeClr val="tx1"/>
                </a:solidFill>
                <a:effectLst/>
                <a:latin typeface="Segoe UI Light" pitchFamily="34" charset="0"/>
                <a:ea typeface="+mn-ea"/>
                <a:cs typeface="+mn-cs"/>
              </a:rPr>
              <a:t>Run the scan again and you will notice that the issue is gone</a:t>
            </a:r>
          </a:p>
          <a:p>
            <a:pPr marL="228600" indent="-228600">
              <a:buFontTx/>
              <a:buAutoNum type="arabicPeriod"/>
            </a:pPr>
            <a:r>
              <a:rPr lang="en-US" sz="800" b="0" i="0" u="none" strike="noStrike" kern="1200">
                <a:solidFill>
                  <a:schemeClr val="tx1"/>
                </a:solidFill>
                <a:effectLst/>
                <a:latin typeface="Segoe UI Light" pitchFamily="34" charset="0"/>
                <a:ea typeface="+mn-ea"/>
                <a:cs typeface="+mn-cs"/>
              </a:rPr>
              <a:t>Click on the scan history button to show the history of each scan</a:t>
            </a:r>
          </a:p>
          <a:p>
            <a:pPr marL="0" indent="0">
              <a:buFontTx/>
              <a:buNone/>
            </a:pPr>
            <a:endParaRPr lang="en-US" sz="800" b="0" i="0" u="none" strike="noStrike" kern="1200">
              <a:solidFill>
                <a:schemeClr val="tx1"/>
              </a:solidFill>
              <a:effectLst/>
              <a:latin typeface="Segoe UI Light" pitchFamily="34" charset="0"/>
              <a:ea typeface="+mn-ea"/>
              <a:cs typeface="+mn-cs"/>
            </a:endParaRPr>
          </a:p>
          <a:p>
            <a:pPr marL="0" indent="0">
              <a:buFontTx/>
              <a:buNone/>
            </a:pPr>
            <a:endParaRPr lang="en-US" sz="800" b="1"/>
          </a:p>
          <a:p>
            <a:pPr marL="0" indent="0">
              <a:buFontTx/>
              <a:buNone/>
            </a:pPr>
            <a:endParaRPr lang="en-US" sz="800" b="0"/>
          </a:p>
          <a:p>
            <a:pPr marL="0" indent="0">
              <a:buFontTx/>
              <a:buNone/>
            </a:pPr>
            <a:endParaRPr lang="en-US" sz="800" b="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08008279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a:solidFill>
                  <a:srgbClr val="000000"/>
                </a:solidFill>
                <a:latin typeface="Consolas" panose="020B0609020204030204" pitchFamily="49" charset="0"/>
              </a:rPr>
              <a:t>M04L10Lab01</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AU">
                <a:solidFill>
                  <a:srgbClr val="000000"/>
                </a:solidFill>
                <a:latin typeface="Segoe UI Light"/>
                <a:cs typeface="Segoe UI Light"/>
              </a:rPr>
              <a:t>Q1: </a:t>
            </a:r>
            <a:r>
              <a:rPr lang="en-US" sz="900">
                <a:solidFill>
                  <a:srgbClr val="FFFFFF"/>
                </a:solidFill>
              </a:rPr>
              <a:t>List one important event type captured in threat detection.</a:t>
            </a:r>
          </a:p>
          <a:p>
            <a:pPr lvl="0"/>
            <a:r>
              <a:rPr lang="en-AU">
                <a:solidFill>
                  <a:srgbClr val="000000"/>
                </a:solidFill>
                <a:latin typeface="Segoe UI Light"/>
                <a:cs typeface="Segoe UI Light"/>
              </a:rPr>
              <a:t>Answer 1: </a:t>
            </a:r>
            <a:endParaRPr lang="nl-BE"/>
          </a:p>
          <a:p>
            <a:pPr marL="171450" lvl="0" indent="-171450">
              <a:buFont typeface="Arial" panose="020B0604020202020204" pitchFamily="34" charset="0"/>
              <a:buChar char="•"/>
            </a:pPr>
            <a:r>
              <a:rPr lang="en-US" b="1" baseline="0"/>
              <a:t>Potential SQL Injection</a:t>
            </a:r>
            <a:endParaRPr lang="nl-BE" b="1"/>
          </a:p>
          <a:p>
            <a:pPr marL="171450" lvl="0" indent="-171450">
              <a:buFont typeface="Arial" panose="020B0604020202020204" pitchFamily="34" charset="0"/>
              <a:buChar char="•"/>
            </a:pPr>
            <a:r>
              <a:rPr lang="en-US" b="1" baseline="0"/>
              <a:t>Access from unusual location</a:t>
            </a:r>
            <a:endParaRPr lang="nl-BE" b="1"/>
          </a:p>
          <a:p>
            <a:pPr marL="171450" lvl="0" indent="-171450">
              <a:buFont typeface="Arial" panose="020B0604020202020204" pitchFamily="34" charset="0"/>
              <a:buChar char="•"/>
            </a:pPr>
            <a:r>
              <a:rPr lang="en-US" b="1" baseline="0"/>
              <a:t>Access from unusual Azure data center</a:t>
            </a:r>
            <a:endParaRPr lang="nl-BE" b="1"/>
          </a:p>
          <a:p>
            <a:pPr marL="171450" lvl="0" indent="-171450">
              <a:buFont typeface="Arial" panose="020B0604020202020204" pitchFamily="34" charset="0"/>
              <a:buChar char="•"/>
            </a:pPr>
            <a:r>
              <a:rPr lang="en-US" b="1" baseline="0"/>
              <a:t>Access from unfamiliar principal</a:t>
            </a:r>
            <a:endParaRPr lang="nl-BE" b="1"/>
          </a:p>
          <a:p>
            <a:pPr marL="171450" lvl="0" indent="-171450">
              <a:buFont typeface="Arial" panose="020B0604020202020204" pitchFamily="34" charset="0"/>
              <a:buChar char="•"/>
            </a:pPr>
            <a:r>
              <a:rPr lang="en-US" b="1" baseline="0"/>
              <a:t>Access from a potentially harmful application</a:t>
            </a:r>
            <a:endParaRPr lang="nl-BE" b="1"/>
          </a:p>
          <a:p>
            <a:pPr marL="171450" lvl="0" indent="-171450">
              <a:buFont typeface="Arial" panose="020B0604020202020204" pitchFamily="34" charset="0"/>
              <a:buChar char="•"/>
            </a:pPr>
            <a:r>
              <a:rPr lang="en-US" b="1" baseline="0"/>
              <a:t>Brute force SQL credentials</a:t>
            </a:r>
            <a:endParaRPr lang="nl-BE" b="1"/>
          </a:p>
          <a:p>
            <a:endParaRPr lang="en-AU">
              <a:solidFill>
                <a:srgbClr val="000000"/>
              </a:solidFill>
              <a:latin typeface="Segoe UI Light"/>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a:solidFill>
                  <a:srgbClr val="000000"/>
                </a:solidFill>
                <a:latin typeface="Segoe UI Light"/>
                <a:cs typeface="Segoe UI Light"/>
              </a:rPr>
              <a:t>Q2: </a:t>
            </a:r>
            <a:r>
              <a:rPr lang="en-US" sz="900">
                <a:solidFill>
                  <a:srgbClr val="FFFFFF"/>
                </a:solidFill>
              </a:rPr>
              <a:t>Where are the threat detection records stored?</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AU">
                <a:solidFill>
                  <a:srgbClr val="000000"/>
                </a:solidFill>
                <a:latin typeface="Segoe UI Light"/>
                <a:cs typeface="Segoe UI Light"/>
              </a:rPr>
              <a:t>Answer 2: </a:t>
            </a:r>
            <a:r>
              <a:rPr lang="en-AU" b="1">
                <a:solidFill>
                  <a:srgbClr val="000000"/>
                </a:solidFill>
                <a:latin typeface="Segoe UI Light"/>
                <a:cs typeface="Segoe UI Light"/>
              </a:rPr>
              <a:t>Azure blob storage</a:t>
            </a:r>
          </a:p>
          <a:p>
            <a:endParaRPr lang="en-AU">
              <a:solidFill>
                <a:srgbClr val="000000"/>
              </a:solidFill>
              <a:latin typeface="Segoe UI Light"/>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FFFFFF"/>
                </a:solidFill>
              </a:rPr>
              <a:t>Q3: What are the steps to implement a Vulnerability Assessment?</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AU">
                <a:solidFill>
                  <a:srgbClr val="000000"/>
                </a:solidFill>
                <a:latin typeface="Segoe UI Light"/>
                <a:cs typeface="Segoe UI Light"/>
              </a:rPr>
              <a:t>Answer 3:</a:t>
            </a:r>
          </a:p>
          <a:p>
            <a:pPr marL="228600" indent="-228600">
              <a:buAutoNum type="arabicPeriod"/>
            </a:pPr>
            <a:r>
              <a:rPr lang="en-AU" b="1">
                <a:solidFill>
                  <a:srgbClr val="000000"/>
                </a:solidFill>
                <a:latin typeface="Segoe UI Light"/>
                <a:cs typeface="Segoe UI Light"/>
              </a:rPr>
              <a:t>Run a Scan</a:t>
            </a:r>
          </a:p>
          <a:p>
            <a:pPr marL="228600" indent="-228600">
              <a:buAutoNum type="arabicPeriod"/>
            </a:pPr>
            <a:r>
              <a:rPr lang="en-AU" b="1">
                <a:solidFill>
                  <a:srgbClr val="000000"/>
                </a:solidFill>
                <a:latin typeface="Segoe UI Light"/>
                <a:cs typeface="Segoe UI Light"/>
              </a:rPr>
              <a:t>View the report</a:t>
            </a:r>
          </a:p>
          <a:p>
            <a:pPr marL="228600" indent="-228600">
              <a:buAutoNum type="arabicPeriod"/>
            </a:pPr>
            <a:r>
              <a:rPr lang="en-AU" b="1">
                <a:solidFill>
                  <a:srgbClr val="000000"/>
                </a:solidFill>
                <a:latin typeface="Segoe UI Light"/>
                <a:cs typeface="Segoe UI Light"/>
              </a:rPr>
              <a:t>Remediate issues</a:t>
            </a:r>
          </a:p>
          <a:p>
            <a:pPr marL="228600" indent="-228600">
              <a:buAutoNum type="arabicPeriod"/>
            </a:pPr>
            <a:r>
              <a:rPr lang="en-AU" b="1">
                <a:solidFill>
                  <a:srgbClr val="000000"/>
                </a:solidFill>
                <a:latin typeface="Segoe UI Light"/>
                <a:cs typeface="Segoe UI Light"/>
              </a:rPr>
              <a:t>Set a baseline</a:t>
            </a:r>
          </a:p>
          <a:p>
            <a:pPr marL="228600" indent="-228600">
              <a:buAutoNum type="arabicPeriod"/>
            </a:pPr>
            <a:r>
              <a:rPr lang="en-AU" b="1">
                <a:solidFill>
                  <a:srgbClr val="000000"/>
                </a:solidFill>
                <a:latin typeface="Segoe UI Light"/>
                <a:cs typeface="Segoe UI Light"/>
              </a:rPr>
              <a:t>Detect deviation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7</a:t>
            </a:fld>
            <a:endParaRPr lang="en-US" noProof="0"/>
          </a:p>
        </p:txBody>
      </p:sp>
    </p:spTree>
    <p:extLst>
      <p:ext uri="{BB962C8B-B14F-4D97-AF65-F5344CB8AC3E}">
        <p14:creationId xmlns:p14="http://schemas.microsoft.com/office/powerpoint/2010/main" val="65509513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8</a:t>
            </a:fld>
            <a:endParaRPr lang="en-US" noProof="0"/>
          </a:p>
        </p:txBody>
      </p:sp>
    </p:spTree>
    <p:extLst>
      <p:ext uri="{BB962C8B-B14F-4D97-AF65-F5344CB8AC3E}">
        <p14:creationId xmlns:p14="http://schemas.microsoft.com/office/powerpoint/2010/main" val="1470607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zure Active Directory Security.</a:t>
            </a:r>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zure Active Directory (AAD) is a cloud-compliant directory services product that provides identity and authentication services for cloud applications including data security integration with Azure SQL Database. </a:t>
            </a:r>
          </a:p>
          <a:p>
            <a:endParaRPr lang="en-US"/>
          </a:p>
          <a:p>
            <a:r>
              <a:rPr lang="en-US"/>
              <a:t>Configure and manage Azure Active Directory authentication with SQL:</a:t>
            </a:r>
          </a:p>
          <a:p>
            <a:r>
              <a:rPr lang="en-US">
                <a:hlinkClick r:id="rId3"/>
              </a:rPr>
              <a:t>https://docs.microsoft.com/en-us/azure/sql-database/sql-database-aad-authentication-configure</a:t>
            </a:r>
            <a:r>
              <a:rPr lang="en-US"/>
              <a:t>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a:p>
        </p:txBody>
      </p:sp>
    </p:spTree>
    <p:extLst>
      <p:ext uri="{BB962C8B-B14F-4D97-AF65-F5344CB8AC3E}">
        <p14:creationId xmlns:p14="http://schemas.microsoft.com/office/powerpoint/2010/main" val="3813522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ve Directory Integrated Authentication – Azure AD provides Integrated Windows Authentication for Azure AD federated domains and clients on domain-joined machines. This enables single sign-on across participating services. Integrated Windows authentication is also supported for remote connections using VPNs.</a:t>
            </a:r>
          </a:p>
          <a:p>
            <a:endParaRPr lang="en-US"/>
          </a:p>
          <a:p>
            <a:r>
              <a:rPr lang="en-US"/>
              <a:t>Active Directory Password Authentication – Azure AD supports managed and federated domains with user name/password. Password rotation is centralized and triggered automatically from Azure AD</a:t>
            </a:r>
            <a:endParaRPr lang="en-US">
              <a:cs typeface="Segoe UI Light"/>
            </a:endParaRPr>
          </a:p>
          <a:p>
            <a:endParaRPr lang="en-US"/>
          </a:p>
          <a:p>
            <a:r>
              <a:rPr lang="en-US"/>
              <a:t>Active Directory Universal with MFA authentication is an interactive method that also supports Azure Multi-Factor Authentication (MFA). Azure MFA helps safeguard access to data and applications while meeting user demand for a simple sign-in process. It delivers strong authentication with a range of easy verification options (phone call, text message, smart cards with pin, or mobile app notification), allowing users to choose the method they prefer. Interactive MFA with Azure AD can result in a pop-up dialog box for MFA validation.</a:t>
            </a:r>
            <a:endParaRPr lang="en-US">
              <a:cs typeface="Segoe UI Light"/>
            </a:endParaRPr>
          </a:p>
          <a:p>
            <a:pPr marL="217170" lvl="1" indent="0">
              <a:buNone/>
            </a:pPr>
            <a:endParaRPr lang="en-AU">
              <a:cs typeface="Segoe UI Light"/>
            </a:endParaRPr>
          </a:p>
          <a:p>
            <a:endParaRPr lang="en-US">
              <a:cs typeface="Segoe UI Light"/>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3314666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zure Active Directory authentication is a mechanism of connecting to Microsoft Azure SQL Database by using identities in Azure Active Directory (</a:t>
            </a:r>
            <a:r>
              <a:rPr lang="en-US" sz="1000">
                <a:latin typeface="Segoe UI" panose="020B0502040204020203" pitchFamily="34" charset="0"/>
                <a:cs typeface="Segoe UI" panose="020B0502040204020203" pitchFamily="34" charset="0"/>
              </a:rPr>
              <a:t>A</a:t>
            </a:r>
            <a:r>
              <a:rPr lang="en-US" sz="1000" b="0" i="0" kern="1200">
                <a:effectLst/>
                <a:latin typeface="Segoe UI" panose="020B0502040204020203" pitchFamily="34" charset="0"/>
                <a:cs typeface="Segoe UI" panose="020B0502040204020203" pitchFamily="34" charset="0"/>
              </a:rPr>
              <a:t>AD). With AAD authentication you can centrally manage the identities of database users and other Microsoft services in one central location. Central ID management provides a single place to manage database users and simplifies permission management. Benefits include the following:</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It provides an alternative to SQL Server authentication.</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Helps stop the proliferation of user identities across database servers.</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llows password rotation in a single place</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Customers can manage database permissions using external AAD groups.</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It can eliminate storing passwords by enabling integrated Windows authentication and other forms of authentication supported by AAD.</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AD authentication uses contained database users to authenticate identities at the database level.</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AD supports token-based authentication for applications connecting to SQL Databas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a:p>
        </p:txBody>
      </p:sp>
    </p:spTree>
    <p:extLst>
      <p:ext uri="{BB962C8B-B14F-4D97-AF65-F5344CB8AC3E}">
        <p14:creationId xmlns:p14="http://schemas.microsoft.com/office/powerpoint/2010/main" val="3254209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Aft>
                <a:spcPts val="0"/>
              </a:spcAft>
              <a:buNone/>
            </a:pPr>
            <a:r>
              <a:rPr lang="en-US" sz="1000" b="0" i="0" kern="1200">
                <a:effectLst/>
                <a:latin typeface="Segoe UI" panose="020B0502040204020203" pitchFamily="34" charset="0"/>
                <a:cs typeface="Segoe UI" panose="020B0502040204020203" pitchFamily="34" charset="0"/>
              </a:rPr>
              <a:t>AAD supports token-based (also known as “claim-based”) authentication for applications connecting to SQL Database. The Trust architecture is designed to enable the transportation of secure tokens used for claim-based authentication instead of passing credentials between application components. This gives added security and performance benefits reducing round-trips with AAD. </a:t>
            </a:r>
          </a:p>
          <a:p>
            <a:endParaRPr lang="nl-BE"/>
          </a:p>
          <a:p>
            <a:pPr marL="0" indent="0">
              <a:buFont typeface="Arial" panose="020B0604020202020204" pitchFamily="34" charset="0"/>
              <a:buNone/>
            </a:pPr>
            <a:r>
              <a:rPr lang="en-US" sz="1000" b="0" i="0" kern="1200">
                <a:effectLst/>
                <a:latin typeface="Segoe UI" panose="020B0502040204020203" pitchFamily="34" charset="0"/>
                <a:cs typeface="Segoe UI" panose="020B0502040204020203" pitchFamily="34" charset="0"/>
              </a:rPr>
              <a:t>With Azure Active Directory authentication you can centrally manage the identities of database users and other Microsoft services in one central location. Central ID management provides a single place to manage database users and simplifies permission management. Benefits include the following:</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It provides an alternative to SQL Server authentication.</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Helps stop the proliferation of user identities across database servers.</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llows password rotation in a single place</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Customers can manage database permissions using external (AAD) groups.</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It can eliminate storing passwords by enabling integrated Windows authentication and other forms of authentication supported by Azure Active Directory.</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zure Active Directory authentication uses contained database users to authenticate identities at the database level.</a:t>
            </a:r>
          </a:p>
          <a:p>
            <a:pPr marL="628650" lvl="1" indent="-171450">
              <a:buFont typeface="Arial" panose="020B0604020202020204" pitchFamily="34" charset="0"/>
              <a:buChar char="•"/>
            </a:pPr>
            <a:r>
              <a:rPr lang="en-US" sz="1000" b="0" i="0" kern="1200">
                <a:effectLst/>
                <a:latin typeface="Segoe UI" panose="020B0502040204020203" pitchFamily="34" charset="0"/>
                <a:cs typeface="Segoe UI" panose="020B0502040204020203" pitchFamily="34" charset="0"/>
              </a:rPr>
              <a:t>Azure Active Directory supports token-based authentication for applications token-based authentication for applications connecting to SQL Database.</a:t>
            </a:r>
          </a:p>
          <a:p>
            <a:endParaRPr lang="en-US" sz="1000" b="0" i="0" kern="1200">
              <a:effectLst/>
              <a:latin typeface="Segoe UI" panose="020B0502040204020203" pitchFamily="34" charset="0"/>
              <a:cs typeface="Segoe UI" panose="020B0502040204020203" pitchFamily="34" charset="0"/>
            </a:endParaRP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10763893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02Demo01</a:t>
            </a:r>
          </a:p>
          <a:p>
            <a:endParaRPr lang="en-US" b="1"/>
          </a:p>
          <a:p>
            <a:r>
              <a:rPr lang="en-US" b="1"/>
              <a:t>Demo requirements</a:t>
            </a:r>
            <a:endParaRPr lang="en-US" b="0"/>
          </a:p>
          <a:p>
            <a:r>
              <a:rPr lang="en-US" b="0"/>
              <a:t>Non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1"/>
              <a:t>FYI</a:t>
            </a:r>
            <a:r>
              <a:rPr lang="en-US" b="0"/>
              <a:t> </a:t>
            </a:r>
            <a:r>
              <a:rPr lang="en-US"/>
              <a:t>There is no lab for this because many students are using a Microsoft Account without a domain, so they cannot perform this lab.</a:t>
            </a:r>
          </a:p>
          <a:p>
            <a:endParaRPr lang="en-US" b="0"/>
          </a:p>
          <a:p>
            <a:endParaRPr lang="en-US" b="0"/>
          </a:p>
          <a:p>
            <a:r>
              <a:rPr lang="en-US" b="0"/>
              <a:t>In this demo your going to setup your Microsoft Account as Administrator of the logical server.</a:t>
            </a:r>
          </a:p>
          <a:p>
            <a:r>
              <a:rPr lang="en-US" b="0"/>
              <a:t>Once the Administrator has been setup, you will show that it’s possible to connect with the SSMS using your windows account</a:t>
            </a:r>
          </a:p>
          <a:p>
            <a:endParaRPr lang="en-US" b="0"/>
          </a:p>
          <a:p>
            <a:r>
              <a:rPr lang="en-US" b="1"/>
              <a:t>Demo 1 – Create Admin Account:</a:t>
            </a:r>
          </a:p>
          <a:p>
            <a:pPr marL="228600" indent="-228600">
              <a:buAutoNum type="arabicPeriod"/>
            </a:pPr>
            <a:r>
              <a:rPr lang="en-US" b="0"/>
              <a:t>Open the Azure Portal and go to your logical server</a:t>
            </a:r>
          </a:p>
          <a:p>
            <a:pPr marL="228600" indent="-228600">
              <a:buAutoNum type="arabicPeriod"/>
            </a:pPr>
            <a:r>
              <a:rPr lang="en-US" b="0"/>
              <a:t>Click on Active Directory Admin</a:t>
            </a:r>
          </a:p>
          <a:p>
            <a:pPr marL="228600" indent="-228600">
              <a:buAutoNum type="arabicPeriod"/>
            </a:pPr>
            <a:r>
              <a:rPr lang="en-US" b="0"/>
              <a:t>Click on Set Admin</a:t>
            </a:r>
          </a:p>
          <a:p>
            <a:pPr marL="228600" indent="-228600">
              <a:buAutoNum type="arabicPeriod"/>
            </a:pPr>
            <a:r>
              <a:rPr lang="en-US" b="0"/>
              <a:t>Type your Microsoft Alias and select it as the admin account</a:t>
            </a:r>
          </a:p>
          <a:p>
            <a:pPr marL="228600" indent="-228600">
              <a:buAutoNum type="arabicPeriod"/>
            </a:pPr>
            <a:r>
              <a:rPr lang="en-US" b="0"/>
              <a:t>Click Save</a:t>
            </a:r>
          </a:p>
          <a:p>
            <a:pPr marL="0" indent="0">
              <a:buNone/>
            </a:pPr>
            <a:endParaRPr lang="en-US" b="0"/>
          </a:p>
          <a:p>
            <a:pPr marL="0" indent="0">
              <a:buNone/>
            </a:pPr>
            <a:r>
              <a:rPr lang="en-US" b="1"/>
              <a:t>Demo 2 – Connect with SSMS</a:t>
            </a:r>
          </a:p>
          <a:p>
            <a:pPr marL="228600" indent="-228600">
              <a:buAutoNum type="arabicPeriod"/>
            </a:pPr>
            <a:r>
              <a:rPr lang="en-US" b="0"/>
              <a:t>Open SSMS, specify your logical server name and select “Active Directory – Universal with MFA support”</a:t>
            </a:r>
          </a:p>
          <a:p>
            <a:pPr marL="228600" indent="-228600">
              <a:buAutoNum type="arabicPeriod"/>
            </a:pPr>
            <a:r>
              <a:rPr lang="en-US" b="0"/>
              <a:t>Specify your username, which is your Microsoft Account</a:t>
            </a:r>
          </a:p>
          <a:p>
            <a:pPr marL="228600" indent="-228600">
              <a:buAutoNum type="arabicPeriod"/>
            </a:pPr>
            <a:r>
              <a:rPr lang="en-US" b="0"/>
              <a:t>Click Connect</a:t>
            </a:r>
          </a:p>
          <a:p>
            <a:pPr marL="0" indent="0">
              <a:buNone/>
            </a:pPr>
            <a:endParaRPr lang="en-US" b="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624723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91944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Q1: </a:t>
            </a:r>
            <a:r>
              <a:rPr lang="en-US" sz="900">
                <a:solidFill>
                  <a:srgbClr val="FFFFFF"/>
                </a:solidFill>
              </a:rPr>
              <a:t>List three benefits of Azure Activity Directory Authentication.</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r>
              <a:rPr lang="en-US">
                <a:cs typeface="Segoe UI Light"/>
              </a:rPr>
              <a:t>Answer 1: </a:t>
            </a:r>
          </a:p>
          <a:p>
            <a:r>
              <a:rPr lang="en-US" b="1">
                <a:cs typeface="Segoe UI Light"/>
              </a:rPr>
              <a:t>Centrally manage user permissions</a:t>
            </a:r>
            <a:r>
              <a:rPr lang="en-US">
                <a:cs typeface="Segoe UI Light"/>
              </a:rPr>
              <a:t>, </a:t>
            </a:r>
            <a:r>
              <a:rPr lang="en-US" b="1">
                <a:cs typeface="Segoe UI Light"/>
              </a:rPr>
              <a:t>allows password rotation in single place </a:t>
            </a:r>
            <a:r>
              <a:rPr lang="en-US">
                <a:cs typeface="Segoe UI Light"/>
              </a:rPr>
              <a:t>and </a:t>
            </a:r>
            <a:r>
              <a:rPr lang="en-US" b="1">
                <a:cs typeface="Segoe UI Light"/>
              </a:rPr>
              <a:t>stops password storing by using active directory integrated authentication</a:t>
            </a:r>
            <a:r>
              <a:rPr lang="en-US">
                <a:cs typeface="Segoe UI Light"/>
              </a:rPr>
              <a:t>.</a:t>
            </a:r>
          </a:p>
          <a:p>
            <a:endParaRPr lang="en-US">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Q2: </a:t>
            </a:r>
            <a:r>
              <a:rPr lang="en-US" sz="900">
                <a:solidFill>
                  <a:srgbClr val="FFFFFF"/>
                </a:solidFill>
              </a:rPr>
              <a:t>Can we use Windows authentication for Azure SQL Database?</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US">
                <a:cs typeface="Segoe UI Light"/>
              </a:rPr>
              <a:t>Answer 2: </a:t>
            </a:r>
          </a:p>
          <a:p>
            <a:r>
              <a:rPr lang="en-US" b="1">
                <a:cs typeface="Segoe UI Light"/>
              </a:rPr>
              <a:t>No, it's not supported. Instead you need to use AAD Authentication.</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529132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nl-BE"/>
              <a:t>In this lesson we will be covering </a:t>
            </a:r>
            <a:r>
              <a:rPr lang="en-US" sz="800">
                <a:solidFill>
                  <a:schemeClr val="bg1"/>
                </a:solidFill>
              </a:rPr>
              <a:t>Management of Logins in Azure SQL Database</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a:p>
        </p:txBody>
      </p:sp>
    </p:spTree>
    <p:extLst>
      <p:ext uri="{BB962C8B-B14F-4D97-AF65-F5344CB8AC3E}">
        <p14:creationId xmlns:p14="http://schemas.microsoft.com/office/powerpoint/2010/main" val="2314936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en lessons in this modul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8399557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nl-BE"/>
              <a:t>In this lesson we will be covering </a:t>
            </a:r>
            <a:r>
              <a:rPr lang="en-US" sz="800">
                <a:solidFill>
                  <a:schemeClr val="bg1"/>
                </a:solidFill>
              </a:rPr>
              <a:t>Management of Logins in Azure SQL Database</a:t>
            </a:r>
          </a:p>
          <a:p>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a:solidFill>
                  <a:schemeClr val="tx1"/>
                </a:solidFill>
                <a:effectLst/>
                <a:latin typeface="Segoe UI Light" pitchFamily="34" charset="0"/>
                <a:ea typeface="+mn-ea"/>
                <a:cs typeface="+mn-cs"/>
              </a:rPr>
              <a:t>Server admin</a:t>
            </a:r>
            <a:br>
              <a:rPr lang="en-US" sz="800" b="0" i="0" u="none" strike="noStrike" kern="1200">
                <a:solidFill>
                  <a:schemeClr val="tx1"/>
                </a:solidFill>
                <a:effectLst/>
                <a:latin typeface="Segoe UI Light" pitchFamily="34" charset="0"/>
                <a:ea typeface="+mn-ea"/>
                <a:cs typeface="+mn-cs"/>
              </a:rPr>
            </a:br>
            <a:r>
              <a:rPr lang="en-US" sz="800" b="0" i="0" u="none" strike="noStrike" kern="1200">
                <a:solidFill>
                  <a:schemeClr val="tx1"/>
                </a:solidFill>
                <a:effectLst/>
                <a:latin typeface="Segoe UI Light" pitchFamily="34" charset="0"/>
                <a:ea typeface="+mn-ea"/>
                <a:cs typeface="+mn-cs"/>
              </a:rPr>
              <a:t>When you create an Azure SQL server, you must designate a </a:t>
            </a:r>
            <a:r>
              <a:rPr lang="en-US" sz="800" b="1" i="0" u="none" strike="noStrike" kern="1200">
                <a:solidFill>
                  <a:schemeClr val="tx1"/>
                </a:solidFill>
                <a:effectLst/>
                <a:latin typeface="Segoe UI Light" pitchFamily="34" charset="0"/>
                <a:ea typeface="+mn-ea"/>
                <a:cs typeface="+mn-cs"/>
              </a:rPr>
              <a:t>Server admin login</a:t>
            </a:r>
            <a:r>
              <a:rPr lang="en-US" sz="800" b="0" i="0" u="none" strike="noStrike" kern="1200">
                <a:solidFill>
                  <a:schemeClr val="tx1"/>
                </a:solidFill>
                <a:effectLst/>
                <a:latin typeface="Segoe UI Light" pitchFamily="34" charset="0"/>
                <a:ea typeface="+mn-ea"/>
                <a:cs typeface="+mn-cs"/>
              </a:rPr>
              <a:t>. SQL server creates that account as a login in the master database. This account connects using SQL Server authentication (user name and password). Only one of these accounts can exist. </a:t>
            </a:r>
          </a:p>
          <a:p>
            <a:r>
              <a:rPr lang="en-US" sz="800" b="1" i="0" u="none" strike="noStrike" kern="1200">
                <a:solidFill>
                  <a:schemeClr val="tx1"/>
                </a:solidFill>
                <a:effectLst/>
                <a:latin typeface="Segoe UI Light" pitchFamily="34" charset="0"/>
                <a:ea typeface="+mn-ea"/>
                <a:cs typeface="+mn-cs"/>
              </a:rPr>
              <a:t>Azure Active Directory admin</a:t>
            </a:r>
            <a:br>
              <a:rPr lang="en-US" sz="800" b="0" i="0" u="none" strike="noStrike" kern="1200">
                <a:solidFill>
                  <a:schemeClr val="tx1"/>
                </a:solidFill>
                <a:effectLst/>
                <a:latin typeface="Segoe UI Light" pitchFamily="34" charset="0"/>
                <a:ea typeface="+mn-ea"/>
                <a:cs typeface="+mn-cs"/>
              </a:rPr>
            </a:br>
            <a:r>
              <a:rPr lang="en-US" sz="800" b="0" i="0" u="none" strike="noStrike" kern="1200">
                <a:solidFill>
                  <a:schemeClr val="tx1"/>
                </a:solidFill>
                <a:effectLst/>
                <a:latin typeface="Segoe UI Light" pitchFamily="34" charset="0"/>
                <a:ea typeface="+mn-ea"/>
                <a:cs typeface="+mn-cs"/>
              </a:rPr>
              <a:t>One Azure Active Directory account, either an individual or security group account, can also be configured as an administrator. It is optional to configure an Azure AD administrator, but an Azure AD administrator must be configured if you want to use Azure AD accounts to connect to SQL Database. </a:t>
            </a:r>
          </a:p>
          <a:p>
            <a:endParaRPr lang="en-US"/>
          </a:p>
          <a:p>
            <a:r>
              <a:rPr lang="en-US" sz="800" b="0" i="0" u="none" strike="noStrike" kern="1200">
                <a:solidFill>
                  <a:schemeClr val="tx1"/>
                </a:solidFill>
                <a:effectLst/>
                <a:latin typeface="Segoe UI Light" pitchFamily="34" charset="0"/>
                <a:ea typeface="+mn-ea"/>
                <a:cs typeface="+mn-cs"/>
              </a:rPr>
              <a:t>The </a:t>
            </a:r>
            <a:r>
              <a:rPr lang="en-US" sz="800" b="1" i="0" u="none" strike="noStrike" kern="1200">
                <a:solidFill>
                  <a:schemeClr val="tx1"/>
                </a:solidFill>
                <a:effectLst/>
                <a:latin typeface="Segoe UI Light" pitchFamily="34" charset="0"/>
                <a:ea typeface="+mn-ea"/>
                <a:cs typeface="+mn-cs"/>
              </a:rPr>
              <a:t>Server admin</a:t>
            </a:r>
            <a:r>
              <a:rPr lang="en-US" sz="800" b="0" i="0" u="none" strike="noStrike" kern="1200">
                <a:solidFill>
                  <a:schemeClr val="tx1"/>
                </a:solidFill>
                <a:effectLst/>
                <a:latin typeface="Segoe UI Light" pitchFamily="34" charset="0"/>
                <a:ea typeface="+mn-ea"/>
                <a:cs typeface="+mn-cs"/>
              </a:rPr>
              <a:t> and </a:t>
            </a:r>
            <a:r>
              <a:rPr lang="en-US" sz="800" b="1" i="0" u="none" strike="noStrike" kern="1200">
                <a:solidFill>
                  <a:schemeClr val="tx1"/>
                </a:solidFill>
                <a:effectLst/>
                <a:latin typeface="Segoe UI Light" pitchFamily="34" charset="0"/>
                <a:ea typeface="+mn-ea"/>
                <a:cs typeface="+mn-cs"/>
              </a:rPr>
              <a:t>Azure AD admin</a:t>
            </a:r>
            <a:r>
              <a:rPr lang="en-US" sz="800" b="0" i="0" u="none" strike="noStrike" kern="1200">
                <a:solidFill>
                  <a:schemeClr val="tx1"/>
                </a:solidFill>
                <a:effectLst/>
                <a:latin typeface="Segoe UI Light" pitchFamily="34" charset="0"/>
                <a:ea typeface="+mn-ea"/>
                <a:cs typeface="+mn-cs"/>
              </a:rPr>
              <a:t> accounts has the following characteristics:</a:t>
            </a:r>
          </a:p>
          <a:p>
            <a:r>
              <a:rPr lang="en-US" sz="800" b="0" i="0" u="none" strike="noStrike" kern="1200">
                <a:solidFill>
                  <a:schemeClr val="tx1"/>
                </a:solidFill>
                <a:effectLst/>
                <a:latin typeface="Segoe UI Light" pitchFamily="34" charset="0"/>
                <a:ea typeface="+mn-ea"/>
                <a:cs typeface="+mn-cs"/>
              </a:rPr>
              <a:t>These are the only accounts that can automatically connect to any SQL Database on the server. (To connect to a user database, other accounts must either be the owner of the database, or have a user account in the user database.)</a:t>
            </a:r>
          </a:p>
          <a:p>
            <a:r>
              <a:rPr lang="en-US" sz="800" b="0" i="0" u="none" strike="noStrike" kern="1200">
                <a:solidFill>
                  <a:schemeClr val="tx1"/>
                </a:solidFill>
                <a:effectLst/>
                <a:latin typeface="Segoe UI Light" pitchFamily="34" charset="0"/>
                <a:ea typeface="+mn-ea"/>
                <a:cs typeface="+mn-cs"/>
              </a:rPr>
              <a:t>These accounts enter user databases as the </a:t>
            </a:r>
            <a:r>
              <a:rPr lang="en-US" sz="800" b="0" i="0" u="none" strike="noStrike" kern="1200" err="1">
                <a:solidFill>
                  <a:schemeClr val="tx1"/>
                </a:solidFill>
                <a:effectLst/>
                <a:latin typeface="Segoe UI Light" pitchFamily="34" charset="0"/>
                <a:ea typeface="+mn-ea"/>
                <a:cs typeface="+mn-cs"/>
              </a:rPr>
              <a:t>dbo</a:t>
            </a:r>
            <a:r>
              <a:rPr lang="en-US" sz="800" b="0" i="0" u="none" strike="noStrike" kern="1200">
                <a:solidFill>
                  <a:schemeClr val="tx1"/>
                </a:solidFill>
                <a:effectLst/>
                <a:latin typeface="Segoe UI Light" pitchFamily="34" charset="0"/>
                <a:ea typeface="+mn-ea"/>
                <a:cs typeface="+mn-cs"/>
              </a:rPr>
              <a:t> user and they have all the permissions in the user databases. (The owner of a user database also enters the database as the </a:t>
            </a:r>
            <a:r>
              <a:rPr lang="en-US" sz="800" b="0" i="0" u="none" strike="noStrike" kern="1200" err="1">
                <a:solidFill>
                  <a:schemeClr val="tx1"/>
                </a:solidFill>
                <a:effectLst/>
                <a:latin typeface="Segoe UI Light" pitchFamily="34" charset="0"/>
                <a:ea typeface="+mn-ea"/>
                <a:cs typeface="+mn-cs"/>
              </a:rPr>
              <a:t>dbo</a:t>
            </a:r>
            <a:r>
              <a:rPr lang="en-US" sz="800" b="0" i="0" u="none" strike="noStrike" kern="1200">
                <a:solidFill>
                  <a:schemeClr val="tx1"/>
                </a:solidFill>
                <a:effectLst/>
                <a:latin typeface="Segoe UI Light" pitchFamily="34" charset="0"/>
                <a:ea typeface="+mn-ea"/>
                <a:cs typeface="+mn-cs"/>
              </a:rPr>
              <a:t> user.) </a:t>
            </a:r>
          </a:p>
          <a:p>
            <a:r>
              <a:rPr lang="en-US" sz="800" b="0" i="0" u="none" strike="noStrike" kern="1200">
                <a:solidFill>
                  <a:schemeClr val="tx1"/>
                </a:solidFill>
                <a:effectLst/>
                <a:latin typeface="Segoe UI Light" pitchFamily="34" charset="0"/>
                <a:ea typeface="+mn-ea"/>
                <a:cs typeface="+mn-cs"/>
              </a:rPr>
              <a:t>These accounts do not enter the master database as the </a:t>
            </a:r>
            <a:r>
              <a:rPr lang="en-US" sz="800" b="0" i="0" u="none" strike="noStrike" kern="1200" err="1">
                <a:solidFill>
                  <a:schemeClr val="tx1"/>
                </a:solidFill>
                <a:effectLst/>
                <a:latin typeface="Segoe UI Light" pitchFamily="34" charset="0"/>
                <a:ea typeface="+mn-ea"/>
                <a:cs typeface="+mn-cs"/>
              </a:rPr>
              <a:t>dbo</a:t>
            </a:r>
            <a:r>
              <a:rPr lang="en-US" sz="800" b="0" i="0" u="none" strike="noStrike" kern="1200">
                <a:solidFill>
                  <a:schemeClr val="tx1"/>
                </a:solidFill>
                <a:effectLst/>
                <a:latin typeface="Segoe UI Light" pitchFamily="34" charset="0"/>
                <a:ea typeface="+mn-ea"/>
                <a:cs typeface="+mn-cs"/>
              </a:rPr>
              <a:t> user and they have limited permissions in master. </a:t>
            </a:r>
          </a:p>
          <a:p>
            <a:r>
              <a:rPr lang="en-US" sz="800" b="0" i="0" u="none" strike="noStrike" kern="1200">
                <a:solidFill>
                  <a:schemeClr val="tx1"/>
                </a:solidFill>
                <a:effectLst/>
                <a:latin typeface="Segoe UI Light" pitchFamily="34" charset="0"/>
                <a:ea typeface="+mn-ea"/>
                <a:cs typeface="+mn-cs"/>
              </a:rPr>
              <a:t>These accounts are not members of the standard SQL Server sysadmin fixed server role, which is not available in SQL database. </a:t>
            </a:r>
          </a:p>
          <a:p>
            <a:r>
              <a:rPr lang="en-US" sz="800" b="0" i="0" u="none" strike="noStrike" kern="1200">
                <a:solidFill>
                  <a:schemeClr val="tx1"/>
                </a:solidFill>
                <a:effectLst/>
                <a:latin typeface="Segoe UI Light" pitchFamily="34" charset="0"/>
                <a:ea typeface="+mn-ea"/>
                <a:cs typeface="+mn-cs"/>
              </a:rPr>
              <a:t>These accounts can create, alter, and drop databases, logins, users in master, and server-level firewall rules.</a:t>
            </a:r>
          </a:p>
          <a:p>
            <a:r>
              <a:rPr lang="en-US" sz="800" b="0" i="0" u="none" strike="noStrike" kern="1200">
                <a:solidFill>
                  <a:schemeClr val="tx1"/>
                </a:solidFill>
                <a:effectLst/>
                <a:latin typeface="Segoe UI Light" pitchFamily="34" charset="0"/>
                <a:ea typeface="+mn-ea"/>
                <a:cs typeface="+mn-cs"/>
              </a:rPr>
              <a:t>These accounts can add and remove members to the </a:t>
            </a:r>
            <a:r>
              <a:rPr lang="en-US" sz="800" b="0" i="0" u="none" strike="noStrike" kern="1200" err="1">
                <a:solidFill>
                  <a:schemeClr val="tx1"/>
                </a:solidFill>
                <a:effectLst/>
                <a:latin typeface="Segoe UI Light" pitchFamily="34" charset="0"/>
                <a:ea typeface="+mn-ea"/>
                <a:cs typeface="+mn-cs"/>
              </a:rPr>
              <a:t>dbmanager</a:t>
            </a:r>
            <a:r>
              <a:rPr lang="en-US" sz="800" b="0" i="0" u="none" strike="noStrike" kern="1200">
                <a:solidFill>
                  <a:schemeClr val="tx1"/>
                </a:solidFill>
                <a:effectLst/>
                <a:latin typeface="Segoe UI Light" pitchFamily="34" charset="0"/>
                <a:ea typeface="+mn-ea"/>
                <a:cs typeface="+mn-cs"/>
              </a:rPr>
              <a:t> and </a:t>
            </a:r>
            <a:r>
              <a:rPr lang="en-US" sz="800" b="0" i="0" u="none" strike="noStrike" kern="1200" err="1">
                <a:solidFill>
                  <a:schemeClr val="tx1"/>
                </a:solidFill>
                <a:effectLst/>
                <a:latin typeface="Segoe UI Light" pitchFamily="34" charset="0"/>
                <a:ea typeface="+mn-ea"/>
                <a:cs typeface="+mn-cs"/>
              </a:rPr>
              <a:t>loginmanager</a:t>
            </a:r>
            <a:r>
              <a:rPr lang="en-US" sz="800" b="0" i="0" u="none" strike="noStrike" kern="1200">
                <a:solidFill>
                  <a:schemeClr val="tx1"/>
                </a:solidFill>
                <a:effectLst/>
                <a:latin typeface="Segoe UI Light" pitchFamily="34" charset="0"/>
                <a:ea typeface="+mn-ea"/>
                <a:cs typeface="+mn-cs"/>
              </a:rPr>
              <a:t> roles.</a:t>
            </a:r>
          </a:p>
          <a:p>
            <a:r>
              <a:rPr lang="en-US" sz="800" b="0" i="0" u="none" strike="noStrike" kern="1200">
                <a:solidFill>
                  <a:schemeClr val="tx1"/>
                </a:solidFill>
                <a:effectLst/>
                <a:latin typeface="Segoe UI Light" pitchFamily="34" charset="0"/>
                <a:ea typeface="+mn-ea"/>
                <a:cs typeface="+mn-cs"/>
              </a:rPr>
              <a:t>These accounts can view the </a:t>
            </a:r>
            <a:r>
              <a:rPr lang="en-US" sz="800" b="0" i="0" u="none" strike="noStrike" kern="1200" err="1">
                <a:solidFill>
                  <a:schemeClr val="tx1"/>
                </a:solidFill>
                <a:effectLst/>
                <a:latin typeface="Segoe UI Light" pitchFamily="34" charset="0"/>
                <a:ea typeface="+mn-ea"/>
                <a:cs typeface="+mn-cs"/>
              </a:rPr>
              <a:t>sys.sql_logins</a:t>
            </a:r>
            <a:r>
              <a:rPr lang="en-US" sz="800" b="0" i="0" u="none" strike="noStrike" kern="1200">
                <a:solidFill>
                  <a:schemeClr val="tx1"/>
                </a:solidFill>
                <a:effectLst/>
                <a:latin typeface="Segoe UI Light" pitchFamily="34" charset="0"/>
                <a:ea typeface="+mn-ea"/>
                <a:cs typeface="+mn-cs"/>
              </a:rPr>
              <a:t> system tabl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42006855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dministrator access path</a:t>
            </a:r>
          </a:p>
          <a:p>
            <a:r>
              <a:rPr lang="en-US"/>
              <a:t>When the server-level firewall is properly configured, the </a:t>
            </a:r>
            <a:r>
              <a:rPr lang="en-US" b="1"/>
              <a:t>SQL server admin</a:t>
            </a:r>
            <a:r>
              <a:rPr lang="en-US"/>
              <a:t> and the </a:t>
            </a:r>
            <a:r>
              <a:rPr lang="en-US" b="1"/>
              <a:t>Azure Active Directory admin</a:t>
            </a:r>
            <a:r>
              <a:rPr lang="en-US"/>
              <a:t> can connect using client tools such as SQL Server Management Studio or SQL Server Data Tools. Only the latest tools provide all the features and capabilities. </a:t>
            </a:r>
          </a:p>
          <a:p>
            <a:endParaRPr lang="en-US"/>
          </a:p>
          <a:p>
            <a:r>
              <a:rPr lang="en-US"/>
              <a:t>When using an open port in the server-level firewall, administrators can connect to any SQL Databas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3</a:t>
            </a:fld>
            <a:endParaRPr lang="en-US" noProof="0"/>
          </a:p>
        </p:txBody>
      </p:sp>
    </p:spTree>
    <p:extLst>
      <p:ext uri="{BB962C8B-B14F-4D97-AF65-F5344CB8AC3E}">
        <p14:creationId xmlns:p14="http://schemas.microsoft.com/office/powerpoint/2010/main" val="17844978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mbers of this role can create new databases. To use this role, you create a user in the master database and then add the user to the </a:t>
            </a:r>
            <a:r>
              <a:rPr lang="en-US" b="1" err="1"/>
              <a:t>dbmanager</a:t>
            </a:r>
            <a:r>
              <a:rPr lang="en-US"/>
              <a:t> database role. </a:t>
            </a:r>
          </a:p>
          <a:p>
            <a:r>
              <a:rPr lang="en-US" sz="800" b="0" i="0" u="none" strike="noStrike" kern="1200">
                <a:solidFill>
                  <a:schemeClr val="tx1"/>
                </a:solidFill>
                <a:effectLst/>
                <a:latin typeface="Segoe UI Light" pitchFamily="34" charset="0"/>
                <a:ea typeface="+mn-ea"/>
                <a:cs typeface="+mn-cs"/>
              </a:rPr>
              <a:t>To use this role, you create a user in the </a:t>
            </a:r>
            <a:r>
              <a:rPr lang="en-US"/>
              <a:t>master</a:t>
            </a:r>
            <a:r>
              <a:rPr lang="en-US" sz="800" b="0" i="0" u="none" strike="noStrike" kern="1200">
                <a:solidFill>
                  <a:schemeClr val="tx1"/>
                </a:solidFill>
                <a:effectLst/>
                <a:latin typeface="Segoe UI Light" pitchFamily="34" charset="0"/>
                <a:ea typeface="+mn-ea"/>
                <a:cs typeface="+mn-cs"/>
              </a:rPr>
              <a:t> database and then add the user to the </a:t>
            </a:r>
            <a:r>
              <a:rPr lang="en-US" sz="800" b="1" i="0" u="none" strike="noStrike" kern="1200" err="1">
                <a:solidFill>
                  <a:schemeClr val="tx1"/>
                </a:solidFill>
                <a:effectLst/>
                <a:latin typeface="Segoe UI Light" pitchFamily="34" charset="0"/>
                <a:ea typeface="+mn-ea"/>
                <a:cs typeface="+mn-cs"/>
              </a:rPr>
              <a:t>dbmanager</a:t>
            </a:r>
            <a:r>
              <a:rPr lang="en-US" sz="800" b="0" i="0" u="none" strike="noStrike" kern="1200">
                <a:solidFill>
                  <a:schemeClr val="tx1"/>
                </a:solidFill>
                <a:effectLst/>
                <a:latin typeface="Segoe UI Light" pitchFamily="34" charset="0"/>
                <a:ea typeface="+mn-ea"/>
                <a:cs typeface="+mn-cs"/>
              </a:rPr>
              <a:t> database role. To create a database, the user must be a user based on a SQL Server login in the master database or contained database user based on an Azure Active Directory user.</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4</a:t>
            </a:fld>
            <a:endParaRPr lang="en-US" noProof="0"/>
          </a:p>
        </p:txBody>
      </p:sp>
    </p:spTree>
    <p:extLst>
      <p:ext uri="{BB962C8B-B14F-4D97-AF65-F5344CB8AC3E}">
        <p14:creationId xmlns:p14="http://schemas.microsoft.com/office/powerpoint/2010/main" val="2369189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ogin managers</a:t>
            </a:r>
          </a:p>
          <a:p>
            <a:r>
              <a:rPr lang="en-US"/>
              <a:t>The other administrative role is the login manager role. Members of this role can create new logins in the master database. If you wish, you can complete the same steps (create a login and user and add a user to the </a:t>
            </a:r>
            <a:r>
              <a:rPr lang="en-US" b="1" err="1"/>
              <a:t>loginmanager</a:t>
            </a:r>
            <a:r>
              <a:rPr lang="en-US"/>
              <a:t> role) to enable a user to create new logins in the master. Usually logins are not necessary as Microsoft recommends using contained database users, which authenticate at the database-level instead of using users based on logins.</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3985944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Generally, non-administrator accounts do not need access to the master database. Create contained database users at the database level using the </a:t>
            </a:r>
            <a:r>
              <a:rPr lang="en-US">
                <a:hlinkClick r:id="rId3"/>
              </a:rPr>
              <a:t>CREATE USER (Transact-SQL)</a:t>
            </a:r>
            <a:r>
              <a:rPr lang="en-US"/>
              <a:t> statement. The user can be an Azure Active Directory authentication contained database user (if you have configured your environment for Azure AD authentication), or a SQL Server authentication contained database user, or a SQL Server authentication user based on a SQL Server authentication login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799355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n-administrator access path</a:t>
            </a:r>
          </a:p>
          <a:p>
            <a:r>
              <a:rPr lang="en-US"/>
              <a:t>When the database-level firewall is properly configured, the database users can connect using client tools such as SQL Server Management Studio or SQL Server Data Tools. Only the latest tools provide all the features and capabilities. The following diagram shows a typical non-administrator access path.</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864432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fficient access management uses permissions assigned to groups and roles instead of individual users. + </a:t>
            </a:r>
          </a:p>
          <a:p>
            <a:r>
              <a:rPr lang="en-US"/>
              <a:t>When using Azure Active Directory authentication, put Azure Active Directory users into an Azure Active Directory group. Create a contained database user for the group. Place one or more database users into a </a:t>
            </a:r>
            <a:r>
              <a:rPr lang="en-US">
                <a:hlinkClick r:id="rId3"/>
              </a:rPr>
              <a:t>database role</a:t>
            </a:r>
            <a:r>
              <a:rPr lang="en-US"/>
              <a:t> and then assign </a:t>
            </a:r>
            <a:r>
              <a:rPr lang="en-US">
                <a:hlinkClick r:id="rId4"/>
              </a:rPr>
              <a:t>permissions</a:t>
            </a:r>
            <a:r>
              <a:rPr lang="en-US"/>
              <a:t> to the database role.</a:t>
            </a:r>
          </a:p>
          <a:p>
            <a:r>
              <a:rPr lang="en-US"/>
              <a:t>When using SQL Server authentication, create contained database users in the database. Place one or more database users into a </a:t>
            </a:r>
            <a:r>
              <a:rPr lang="en-US">
                <a:hlinkClick r:id="rId3"/>
              </a:rPr>
              <a:t>database role</a:t>
            </a:r>
            <a:r>
              <a:rPr lang="en-US"/>
              <a:t> and then assign </a:t>
            </a:r>
            <a:r>
              <a:rPr lang="en-US">
                <a:hlinkClick r:id="rId4"/>
              </a:rPr>
              <a:t>permissions</a:t>
            </a:r>
            <a:r>
              <a:rPr lang="en-US"/>
              <a:t> to the database role.</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3156530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The database roles can be the built-in roles such as </a:t>
            </a:r>
            <a:r>
              <a:rPr lang="en-US" b="1" err="1"/>
              <a:t>db_owner</a:t>
            </a:r>
            <a:r>
              <a:rPr lang="en-US"/>
              <a:t>, </a:t>
            </a:r>
            <a:r>
              <a:rPr lang="en-US" b="1" err="1"/>
              <a:t>db_ddladmin</a:t>
            </a:r>
            <a:r>
              <a:rPr lang="en-US"/>
              <a:t>, </a:t>
            </a:r>
            <a:r>
              <a:rPr lang="en-US" b="1" err="1"/>
              <a:t>db_datawriter</a:t>
            </a:r>
            <a:r>
              <a:rPr lang="en-US"/>
              <a:t>, </a:t>
            </a:r>
            <a:r>
              <a:rPr lang="en-US" b="1" err="1"/>
              <a:t>db_datareader</a:t>
            </a:r>
            <a:r>
              <a:rPr lang="en-US"/>
              <a:t>, </a:t>
            </a:r>
            <a:r>
              <a:rPr lang="en-US" b="1" err="1"/>
              <a:t>db_denydatawriter</a:t>
            </a:r>
            <a:r>
              <a:rPr lang="en-US"/>
              <a:t>, and </a:t>
            </a:r>
            <a:r>
              <a:rPr lang="en-US" b="1" err="1"/>
              <a:t>db_denydatareader</a:t>
            </a:r>
            <a:r>
              <a:rPr lang="en-US"/>
              <a:t>. </a:t>
            </a:r>
            <a:r>
              <a:rPr lang="en-US" b="1" err="1"/>
              <a:t>db_owner</a:t>
            </a:r>
            <a:r>
              <a:rPr lang="en-US"/>
              <a:t> is commonly used to grant full permission to only a few users. The other fixed database roles are useful for getting a simple database in development quickly, but are not recommended for most production databases. For example, the </a:t>
            </a:r>
            <a:r>
              <a:rPr lang="en-US" b="1" err="1"/>
              <a:t>db_datareader</a:t>
            </a:r>
            <a:r>
              <a:rPr lang="en-US"/>
              <a:t> fixed database role grants read access to every table in the database, which is usually more than is strictly necessary. It is far better to use the </a:t>
            </a:r>
            <a:r>
              <a:rPr lang="en-US">
                <a:hlinkClick r:id="rId3"/>
              </a:rPr>
              <a:t>CREATE ROLE</a:t>
            </a:r>
            <a:r>
              <a:rPr lang="en-US"/>
              <a:t> statement to create your own user-defined database roles and carefully grant each role the least permissions necessary for the business need. When a user is a member of multiple roles, they aggregate the permissions of them all.</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226019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a:latin typeface="Segoe UI Light" panose="020B0502040204020203" pitchFamily="34" charset="0"/>
                <a:cs typeface="Segoe UI Light" panose="020B0502040204020203" pitchFamily="34" charset="0"/>
              </a:rPr>
              <a:t>Certain user names are not allowed for security reasons. </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0</a:t>
            </a:fld>
            <a:endParaRPr lang="en-US" noProof="0"/>
          </a:p>
        </p:txBody>
      </p:sp>
    </p:spTree>
    <p:extLst>
      <p:ext uri="{BB962C8B-B14F-4D97-AF65-F5344CB8AC3E}">
        <p14:creationId xmlns:p14="http://schemas.microsoft.com/office/powerpoint/2010/main" val="390667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zure SQL Database Security.</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a:t>
            </a:fld>
            <a:endParaRPr lang="en-US" noProof="0"/>
          </a:p>
        </p:txBody>
      </p:sp>
    </p:spTree>
    <p:extLst>
      <p:ext uri="{BB962C8B-B14F-4D97-AF65-F5344CB8AC3E}">
        <p14:creationId xmlns:p14="http://schemas.microsoft.com/office/powerpoint/2010/main" val="42539900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03Demo01</a:t>
            </a:r>
          </a:p>
          <a:p>
            <a:endParaRPr lang="en-US" b="1"/>
          </a:p>
          <a:p>
            <a:r>
              <a:rPr lang="en-US" b="1"/>
              <a:t>Demo Requirements</a:t>
            </a:r>
          </a:p>
          <a:p>
            <a:r>
              <a:rPr lang="en-US" b="0"/>
              <a:t>- Use the script </a:t>
            </a:r>
            <a:r>
              <a:rPr lang="en-US" b="1"/>
              <a:t>C:\Demos\M04L03Demo01\Connect_to_Azure_SQLDB.sql</a:t>
            </a:r>
            <a:r>
              <a:rPr lang="en-US" b="0"/>
              <a:t>. </a:t>
            </a:r>
          </a:p>
          <a:p>
            <a:endParaRPr lang="en-US"/>
          </a:p>
          <a:p>
            <a:r>
              <a:rPr lang="en-US" b="1" baseline="0"/>
              <a:t>Step 1: </a:t>
            </a:r>
            <a:r>
              <a:rPr lang="en-US" sz="800" b="1" kern="1200">
                <a:solidFill>
                  <a:schemeClr val="tx1"/>
                </a:solidFill>
                <a:latin typeface="Segoe UI Light" pitchFamily="34" charset="0"/>
                <a:ea typeface="+mn-ea"/>
                <a:cs typeface="+mn-cs"/>
              </a:rPr>
              <a:t>Using SQL Login + SQL user (the most common and familiar option)</a:t>
            </a:r>
            <a:endParaRPr lang="en-US" b="1" baseline="0"/>
          </a:p>
          <a:p>
            <a:r>
              <a:rPr lang="en-US" b="0" baseline="0"/>
              <a:t>Follow the steps in the </a:t>
            </a:r>
            <a:r>
              <a:rPr lang="en-US" b="0"/>
              <a:t>Using SQL Login + SQL User - Using Contained Database </a:t>
            </a:r>
            <a:r>
              <a:rPr lang="en-US" b="0" err="1"/>
              <a:t>Users.sql</a:t>
            </a:r>
            <a:r>
              <a:rPr lang="en-US" b="0"/>
              <a:t> script</a:t>
            </a:r>
          </a:p>
          <a:p>
            <a:pPr marL="228600" indent="-228600">
              <a:buAutoNum type="arabicPeriod"/>
            </a:pPr>
            <a:r>
              <a:rPr lang="en-US" sz="800" kern="1200">
                <a:solidFill>
                  <a:schemeClr val="tx1"/>
                </a:solidFill>
                <a:latin typeface="Segoe UI Light" pitchFamily="34" charset="0"/>
                <a:ea typeface="+mn-ea"/>
                <a:cs typeface="+mn-cs"/>
              </a:rPr>
              <a:t>Create SQL Login on master database (connect with admin account to master database)</a:t>
            </a:r>
          </a:p>
          <a:p>
            <a:pPr marL="228600" indent="-228600">
              <a:buAutoNum type="arabicPeriod"/>
            </a:pPr>
            <a:r>
              <a:rPr lang="en-US" sz="800" kern="1200">
                <a:solidFill>
                  <a:schemeClr val="tx1"/>
                </a:solidFill>
                <a:latin typeface="Segoe UI Light" pitchFamily="34" charset="0"/>
                <a:ea typeface="+mn-ea"/>
                <a:cs typeface="+mn-cs"/>
              </a:rPr>
              <a:t>Create SQL user on the master database (this is necessary for login attempt to the &lt;default&gt; database, as with Azure SQL you cannot set the DEFAULT_DATABASE property of the login so it always will be [master] database.)</a:t>
            </a:r>
          </a:p>
          <a:p>
            <a:pPr marL="228600" indent="-228600">
              <a:buAutoNum type="arabicPeriod"/>
            </a:pPr>
            <a:r>
              <a:rPr lang="en-US" sz="800" kern="1200">
                <a:solidFill>
                  <a:schemeClr val="tx1"/>
                </a:solidFill>
                <a:latin typeface="Segoe UI Light" pitchFamily="34" charset="0"/>
                <a:ea typeface="+mn-ea"/>
                <a:cs typeface="+mn-cs"/>
              </a:rPr>
              <a:t>Create SQL User on the user database (connect with admin account to user database)</a:t>
            </a:r>
          </a:p>
          <a:p>
            <a:pPr marL="228600" indent="-228600">
              <a:buAutoNum type="arabicPeriod"/>
            </a:pPr>
            <a:r>
              <a:rPr lang="en-US" sz="800" kern="1200">
                <a:solidFill>
                  <a:schemeClr val="tx1"/>
                </a:solidFill>
                <a:latin typeface="Segoe UI Light" pitchFamily="34" charset="0"/>
                <a:ea typeface="+mn-ea"/>
                <a:cs typeface="+mn-cs"/>
              </a:rPr>
              <a:t>Grant permissions to the user by assign him to a database role</a:t>
            </a:r>
          </a:p>
          <a:p>
            <a:pPr marL="228600" indent="-228600">
              <a:buAutoNum type="arabicPeriod"/>
            </a:pPr>
            <a:endParaRPr lang="en-US" b="1"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1" baseline="0"/>
              <a:t>Step 2: U</a:t>
            </a:r>
            <a:r>
              <a:rPr lang="en-US" sz="800" b="1" kern="1200">
                <a:solidFill>
                  <a:schemeClr val="tx1"/>
                </a:solidFill>
                <a:latin typeface="Segoe UI Light" pitchFamily="34" charset="0"/>
                <a:ea typeface="+mn-ea"/>
                <a:cs typeface="+mn-cs"/>
              </a:rPr>
              <a:t>sing contained database user (SQL User with password, no login is involved)</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800" kern="1200">
                <a:solidFill>
                  <a:schemeClr val="tx1"/>
                </a:solidFill>
                <a:latin typeface="Segoe UI Light" pitchFamily="34" charset="0"/>
                <a:ea typeface="+mn-ea"/>
                <a:cs typeface="+mn-cs"/>
              </a:rPr>
              <a:t>Create SQL user with password on the user database (connect with admin account to user database)</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800" kern="1200">
                <a:solidFill>
                  <a:schemeClr val="tx1"/>
                </a:solidFill>
                <a:latin typeface="Segoe UI Light" pitchFamily="34" charset="0"/>
                <a:ea typeface="+mn-ea"/>
                <a:cs typeface="+mn-cs"/>
              </a:rPr>
              <a:t>Grant permissions to the user by assign him to a database role</a:t>
            </a: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r>
              <a:rPr lang="en-US" sz="800" kern="1200">
                <a:solidFill>
                  <a:schemeClr val="tx1"/>
                </a:solidFill>
                <a:effectLst/>
                <a:latin typeface="Segoe UI Light" pitchFamily="34" charset="0"/>
                <a:ea typeface="+mn-ea"/>
                <a:cs typeface="+mn-cs"/>
              </a:rPr>
              <a:t>Login with the newly created user:</a:t>
            </a:r>
            <a:endParaRPr lang="nl-BE" sz="800" kern="1200">
              <a:solidFill>
                <a:schemeClr val="tx1"/>
              </a:solidFill>
              <a:effectLst/>
              <a:latin typeface="Segoe UI Light" pitchFamily="34" charset="0"/>
              <a:ea typeface="+mn-ea"/>
              <a:cs typeface="+mn-cs"/>
            </a:endParaRPr>
          </a:p>
          <a:p>
            <a:r>
              <a:rPr lang="en-US" sz="800" kern="1200">
                <a:solidFill>
                  <a:schemeClr val="tx1"/>
                </a:solidFill>
                <a:effectLst/>
                <a:latin typeface="Segoe UI Light" pitchFamily="34" charset="0"/>
                <a:ea typeface="+mn-ea"/>
                <a:cs typeface="+mn-cs"/>
              </a:rPr>
              <a:t>	With SSMS use the newly created user, make sure to set the database name of the user database you want to connect.</a:t>
            </a:r>
            <a:endParaRPr lang="nl-BE" sz="800" kern="1200">
              <a:solidFill>
                <a:schemeClr val="tx1"/>
              </a:solidFill>
              <a:effectLst/>
              <a:latin typeface="Segoe UI Light" pitchFamily="34" charset="0"/>
              <a:ea typeface="+mn-ea"/>
              <a:cs typeface="+mn-cs"/>
            </a:endParaRPr>
          </a:p>
          <a:p>
            <a:r>
              <a:rPr lang="en-US" sz="800" kern="1200">
                <a:solidFill>
                  <a:schemeClr val="tx1"/>
                </a:solidFill>
                <a:effectLst/>
                <a:latin typeface="Segoe UI Light" pitchFamily="34" charset="0"/>
                <a:ea typeface="+mn-ea"/>
                <a:cs typeface="+mn-cs"/>
              </a:rPr>
              <a:t>	(you will not be able to connect to any other database on the same server as this user exists only on this specific database)</a:t>
            </a:r>
            <a:endParaRPr lang="nl-BE" sz="800" kern="1200">
              <a:solidFill>
                <a:schemeClr val="tx1"/>
              </a:solidFill>
              <a:effectLst/>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Tx/>
              <a:buAutoNum type="arabicPeriod"/>
              <a:tabLst/>
              <a:defRPr/>
            </a:pPr>
            <a:endParaRPr lang="en-US" b="0" baseline="0"/>
          </a:p>
          <a:p>
            <a:endParaRPr lang="en-US" baseline="0"/>
          </a:p>
          <a:p>
            <a:endParaRPr lang="en-US" baseline="0"/>
          </a:p>
          <a:p>
            <a:endParaRPr lang="en-US"/>
          </a:p>
          <a:p>
            <a:endParaRPr lang="en-US">
              <a:cs typeface="Segoe UI Light"/>
            </a:endParaRPr>
          </a:p>
          <a:p>
            <a:endParaRPr lang="en-US">
              <a:cs typeface="Segoe UI Light"/>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Question 1: </a:t>
            </a:r>
            <a:r>
              <a:rPr lang="en-US" sz="900">
                <a:solidFill>
                  <a:srgbClr val="FFFFFF"/>
                </a:solidFill>
              </a:rPr>
              <a:t>Name the two unrestricted admin accounts for Azure SQL Database?</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r>
              <a:rPr lang="en-US"/>
              <a:t>Answer 2</a:t>
            </a:r>
            <a:r>
              <a:rPr lang="en-US" b="1" baseline="0"/>
              <a:t>: </a:t>
            </a:r>
            <a:r>
              <a:rPr lang="en-US" b="1"/>
              <a:t>Server admin </a:t>
            </a:r>
            <a:r>
              <a:rPr lang="en-US" b="0"/>
              <a:t>and </a:t>
            </a:r>
            <a:r>
              <a:rPr lang="en-US" b="1"/>
              <a:t>Active Directory admin</a:t>
            </a:r>
          </a:p>
          <a:p>
            <a:endParaRPr lang="en-US" b="1"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0" baseline="0"/>
              <a:t>Question 2: </a:t>
            </a:r>
            <a:r>
              <a:rPr lang="en-US" sz="900">
                <a:solidFill>
                  <a:srgbClr val="FFFFFF"/>
                </a:solidFill>
              </a:rPr>
              <a:t>Name the Additional server-level administrative roles  for Azure SQL database</a:t>
            </a:r>
            <a:r>
              <a:rPr kumimoji="0" lang="en-US" sz="900" b="0" i="0" u="none" strike="noStrike" kern="1200" cap="none" spc="0" normalizeH="0" baseline="0" noProof="0">
                <a:ln>
                  <a:noFill/>
                </a:ln>
                <a:solidFill>
                  <a:srgbClr val="FFFFFF"/>
                </a:solidFill>
                <a:effectLst/>
                <a:uLnTx/>
                <a:uFillTx/>
                <a:latin typeface="+mn-lt"/>
                <a:ea typeface="+mn-ea"/>
                <a:cs typeface="+mn-cs"/>
              </a:rPr>
              <a:t>?</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US" baseline="0"/>
              <a:t>Answer 2: </a:t>
            </a:r>
            <a:r>
              <a:rPr lang="en-US" b="1" baseline="0"/>
              <a:t>Database Creators </a:t>
            </a:r>
            <a:r>
              <a:rPr lang="en-US" baseline="0"/>
              <a:t>(</a:t>
            </a:r>
            <a:r>
              <a:rPr lang="en-US" baseline="0" err="1"/>
              <a:t>dbmanager</a:t>
            </a:r>
            <a:r>
              <a:rPr lang="en-US" baseline="0"/>
              <a:t>) and </a:t>
            </a:r>
            <a:r>
              <a:rPr lang="en-US" b="1" baseline="0"/>
              <a:t>Login Managers</a:t>
            </a:r>
          </a:p>
          <a:p>
            <a:pPr marL="217262" lvl="1" indent="0">
              <a:buNone/>
            </a:pPr>
            <a:endParaRPr lang="en-AU"/>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3</a:t>
            </a:fld>
            <a:endParaRPr lang="en-US" noProof="0"/>
          </a:p>
        </p:txBody>
      </p:sp>
    </p:spTree>
    <p:extLst>
      <p:ext uri="{BB962C8B-B14F-4D97-AF65-F5344CB8AC3E}">
        <p14:creationId xmlns:p14="http://schemas.microsoft.com/office/powerpoint/2010/main" val="29813383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Firewall Rules and Virtual Networks</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4</a:t>
            </a:fld>
            <a:endParaRPr lang="en-US" noProof="0"/>
          </a:p>
        </p:txBody>
      </p:sp>
    </p:spTree>
    <p:extLst>
      <p:ext uri="{BB962C8B-B14F-4D97-AF65-F5344CB8AC3E}">
        <p14:creationId xmlns:p14="http://schemas.microsoft.com/office/powerpoint/2010/main" val="31584237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Firewall Rules and Virtual Networks</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Initially, all Transact-SQL access to your Azure SQL Server is blocked by the firewall. To begin using your Azure SQL Server, you must specify one or more server-level firewall rules that enable access to your Azure SQL server. Use the firewall rules to specify which IP address ranges from the Internet are allowed, and whether Azure applications can attempt to connect to your Azure SQL Server. Of course, you still need a login and password to authenticate. </a:t>
            </a:r>
          </a:p>
          <a:p>
            <a:r>
              <a:rPr lang="en-US" sz="800" b="0" i="0" u="none" strike="noStrike" kern="1200">
                <a:solidFill>
                  <a:schemeClr val="tx1"/>
                </a:solidFill>
                <a:effectLst/>
                <a:latin typeface="Segoe UI Light" pitchFamily="34" charset="0"/>
                <a:ea typeface="+mn-ea"/>
                <a:cs typeface="+mn-cs"/>
              </a:rPr>
              <a:t>To selectively grant access to just one of the databases in your Azure SQL Server, you must create a database-level rule for the required database. Specify an IP address range for the database firewall rule that is outside the IP address range specified in the server-level firewall rule, and ensure that the IP address of the client falls in the range specified in the database-level rule.</a:t>
            </a:r>
          </a:p>
          <a:p>
            <a:endParaRPr lang="en-US" sz="700" i="1">
              <a:latin typeface="Segoe UI" panose="020B0502040204020203" pitchFamily="34" charset="0"/>
              <a:cs typeface="Segoe UI" panose="020B0502040204020203" pitchFamily="34" charset="0"/>
            </a:endParaRPr>
          </a:p>
          <a:p>
            <a:r>
              <a:rPr lang="en-US" sz="800" b="1" i="0" u="none" strike="noStrike" kern="1200">
                <a:solidFill>
                  <a:schemeClr val="tx1"/>
                </a:solidFill>
                <a:effectLst/>
                <a:latin typeface="Segoe UI Light" pitchFamily="34" charset="0"/>
                <a:ea typeface="+mn-ea"/>
                <a:cs typeface="+mn-cs"/>
              </a:rPr>
              <a:t>Server-level firewall rules:</a:t>
            </a:r>
            <a:r>
              <a:rPr lang="en-US" sz="800" b="0" i="0" u="none" strike="noStrike" kern="1200">
                <a:solidFill>
                  <a:schemeClr val="tx1"/>
                </a:solidFill>
                <a:effectLst/>
                <a:latin typeface="Segoe UI Light" pitchFamily="34" charset="0"/>
                <a:ea typeface="+mn-ea"/>
                <a:cs typeface="+mn-cs"/>
              </a:rPr>
              <a:t> These rules enable clients to access your entire Azure SQL Server, that is, all the databases within the same logical server. These rules are stored in the </a:t>
            </a:r>
            <a:r>
              <a:rPr lang="en-US" sz="800" b="1" i="0" u="none" strike="noStrike" kern="1200">
                <a:solidFill>
                  <a:schemeClr val="tx1"/>
                </a:solidFill>
                <a:effectLst/>
                <a:latin typeface="Segoe UI Light" pitchFamily="34" charset="0"/>
                <a:ea typeface="+mn-ea"/>
                <a:cs typeface="+mn-cs"/>
              </a:rPr>
              <a:t>master</a:t>
            </a:r>
            <a:r>
              <a:rPr lang="en-US" sz="800" b="0" i="0" u="none" strike="noStrike" kern="1200">
                <a:solidFill>
                  <a:schemeClr val="tx1"/>
                </a:solidFill>
                <a:effectLst/>
                <a:latin typeface="Segoe UI Light" pitchFamily="34" charset="0"/>
                <a:ea typeface="+mn-ea"/>
                <a:cs typeface="+mn-cs"/>
              </a:rPr>
              <a:t> database. Server-level firewall rules can be configured by using the portal or by using Transact-SQL statements. To create server-level firewall rules using the Azure portal or PowerShell, you must be the subscription owner or a subscription contributor. To create a server-level firewall rule using Transact-SQL, you must connect to the SQL Database instance as the server-level principal login or the Azure Active Directory administrator (which means that a server-level firewall rule must first be created by a user with Azure-level permissions).</a:t>
            </a:r>
          </a:p>
          <a:p>
            <a:endParaRPr lang="en-US" sz="800" b="1" i="0" u="none" strike="noStrike" kern="1200">
              <a:solidFill>
                <a:schemeClr val="tx1"/>
              </a:solidFill>
              <a:effectLst/>
              <a:latin typeface="Segoe UI Light" pitchFamily="34" charset="0"/>
              <a:ea typeface="+mn-ea"/>
              <a:cs typeface="+mn-cs"/>
            </a:endParaRPr>
          </a:p>
          <a:p>
            <a:r>
              <a:rPr lang="en-US" sz="800" b="1" i="0" u="none" strike="noStrike" kern="1200">
                <a:solidFill>
                  <a:schemeClr val="tx1"/>
                </a:solidFill>
                <a:effectLst/>
                <a:latin typeface="Segoe UI Light" pitchFamily="34" charset="0"/>
                <a:ea typeface="+mn-ea"/>
                <a:cs typeface="+mn-cs"/>
              </a:rPr>
              <a:t>Database-level firewall rules:</a:t>
            </a:r>
            <a:r>
              <a:rPr lang="en-US" sz="800" b="0" i="0" u="none" strike="noStrike" kern="1200">
                <a:solidFill>
                  <a:schemeClr val="tx1"/>
                </a:solidFill>
                <a:effectLst/>
                <a:latin typeface="Segoe UI Light" pitchFamily="34" charset="0"/>
                <a:ea typeface="+mn-ea"/>
                <a:cs typeface="+mn-cs"/>
              </a:rPr>
              <a:t> These rules enable clients to access certain (secure) databases within the same logical server. You can create these rules for each database (including the </a:t>
            </a:r>
            <a:r>
              <a:rPr lang="en-US" sz="800" b="1" i="0" u="none" strike="noStrike" kern="1200">
                <a:solidFill>
                  <a:schemeClr val="tx1"/>
                </a:solidFill>
                <a:effectLst/>
                <a:latin typeface="Segoe UI Light" pitchFamily="34" charset="0"/>
                <a:ea typeface="+mn-ea"/>
                <a:cs typeface="+mn-cs"/>
              </a:rPr>
              <a:t>master</a:t>
            </a:r>
            <a:r>
              <a:rPr lang="en-US" sz="800" b="0" i="0" u="none" strike="noStrike" kern="1200">
                <a:solidFill>
                  <a:schemeClr val="tx1"/>
                </a:solidFill>
                <a:effectLst/>
                <a:latin typeface="Segoe UI Light" pitchFamily="34" charset="0"/>
                <a:ea typeface="+mn-ea"/>
                <a:cs typeface="+mn-cs"/>
              </a:rPr>
              <a:t> database) and they are stored in the individual databases. Database-level firewall rules for master and user databases can only be created and managed by using Transact-SQL statements and only after you have configured the first server-level firewall. If you specify an IP address range in the database-level firewall rule that is outside the range specified in the server-level firewall rule, only those clients that have IP addresses in the database-level range can access the database. You can have a maximum of 128 database-level firewall rules for a database. For more information on configuring database-level firewall rules, see </a:t>
            </a:r>
            <a:r>
              <a:rPr lang="en-US" sz="800" b="0" i="0" u="none" strike="noStrike" kern="1200" err="1">
                <a:solidFill>
                  <a:schemeClr val="tx1"/>
                </a:solidFill>
                <a:effectLst/>
                <a:latin typeface="Segoe UI Light" pitchFamily="34" charset="0"/>
                <a:ea typeface="+mn-ea"/>
                <a:cs typeface="+mn-cs"/>
                <a:hlinkClick r:id="rId3"/>
              </a:rPr>
              <a:t>sp_set_database_firewall_rule</a:t>
            </a:r>
            <a:r>
              <a:rPr lang="en-US" sz="800" b="0" i="0" u="none" strike="noStrike" kern="1200">
                <a:solidFill>
                  <a:schemeClr val="tx1"/>
                </a:solidFill>
                <a:effectLst/>
                <a:latin typeface="Segoe UI Light" pitchFamily="34" charset="0"/>
                <a:ea typeface="+mn-ea"/>
                <a:cs typeface="+mn-cs"/>
                <a:hlinkClick r:id="rId3"/>
              </a:rPr>
              <a:t> (Azure SQL Databases)</a:t>
            </a:r>
            <a:r>
              <a:rPr lang="en-US" sz="800" b="0" i="0" u="none" strike="noStrike" kern="1200">
                <a:solidFill>
                  <a:schemeClr val="tx1"/>
                </a:solidFill>
                <a:effectLst/>
                <a:latin typeface="Segoe UI Light" pitchFamily="34" charset="0"/>
                <a:ea typeface="+mn-ea"/>
                <a:cs typeface="+mn-cs"/>
              </a:rPr>
              <a:t>.</a:t>
            </a:r>
          </a:p>
          <a:p>
            <a:endParaRPr lang="en-US" sz="800" b="1" i="0" u="none" strike="noStrike" kern="1200">
              <a:solidFill>
                <a:schemeClr val="tx1"/>
              </a:solidFill>
              <a:effectLst/>
              <a:latin typeface="Segoe UI Light" pitchFamily="34" charset="0"/>
              <a:ea typeface="+mn-ea"/>
              <a:cs typeface="+mn-cs"/>
            </a:endParaRPr>
          </a:p>
          <a:p>
            <a:r>
              <a:rPr lang="en-US" sz="800" b="1" i="0" u="none" strike="noStrike" kern="1200">
                <a:solidFill>
                  <a:schemeClr val="tx1"/>
                </a:solidFill>
                <a:effectLst/>
                <a:latin typeface="Segoe UI Light" pitchFamily="34" charset="0"/>
                <a:ea typeface="+mn-ea"/>
                <a:cs typeface="+mn-cs"/>
              </a:rPr>
              <a:t>Recommendation:</a:t>
            </a:r>
            <a:r>
              <a:rPr lang="en-US" sz="800" b="0" i="0" u="none" strike="noStrike" kern="1200">
                <a:solidFill>
                  <a:schemeClr val="tx1"/>
                </a:solidFill>
                <a:effectLst/>
                <a:latin typeface="Segoe UI Light" pitchFamily="34" charset="0"/>
                <a:ea typeface="+mn-ea"/>
                <a:cs typeface="+mn-cs"/>
              </a:rPr>
              <a:t> Microsoft recommends using database-level firewall rules whenever possible to enhance security and to make your database more portable. Use server-level firewall rules for administrators and when you have many databases that have the same access requirements and you don't want to spend time configuring each database individually.</a:t>
            </a:r>
          </a:p>
          <a:p>
            <a:endParaRPr lang="en-US" sz="700" i="1">
              <a:latin typeface="Segoe UI" panose="020B0502040204020203" pitchFamily="34" charset="0"/>
              <a:cs typeface="Segoe UI" panose="020B0502040204020203" pitchFamily="34" charset="0"/>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14004287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00">
                <a:latin typeface="Segoe UI" panose="020B0502040204020203" pitchFamily="34" charset="0"/>
                <a:cs typeface="Segoe UI" panose="020B0502040204020203" pitchFamily="34" charset="0"/>
              </a:rPr>
              <a:t>The firewall restricts incoming traffic to TCP port 1433 only. In addition, by default, all external (from the Azure point of view) connections are blocked, so you need to explicitly enable them by specifying the public IP address (or IP address range) assigned to your Internet entry point.</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7350014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b="0" i="0" kern="1200">
                <a:solidFill>
                  <a:schemeClr val="tx1"/>
                </a:solidFill>
                <a:effectLst/>
                <a:latin typeface="Segoe UI" panose="020B0502040204020203" pitchFamily="34" charset="0"/>
                <a:cs typeface="Segoe UI" panose="020B0502040204020203" pitchFamily="34" charset="0"/>
              </a:rPr>
              <a:t>Azure PowerShell</a:t>
            </a:r>
          </a:p>
          <a:p>
            <a:pPr marL="628650" lvl="1" indent="-171450">
              <a:buFont typeface="Arial" panose="020B0604020202020204" pitchFamily="34" charset="0"/>
              <a:buChar char="•"/>
            </a:pPr>
            <a:r>
              <a:rPr lang="en-US" sz="1000" b="1">
                <a:latin typeface="Segoe UI" panose="020B0502040204020203" pitchFamily="34" charset="0"/>
                <a:cs typeface="Segoe UI" panose="020B0502040204020203" pitchFamily="34" charset="0"/>
              </a:rPr>
              <a:t>Get-</a:t>
            </a:r>
            <a:r>
              <a:rPr lang="en-US" sz="1000" b="1" err="1">
                <a:latin typeface="Segoe UI" panose="020B0502040204020203" pitchFamily="34" charset="0"/>
                <a:cs typeface="Segoe UI" panose="020B0502040204020203" pitchFamily="34" charset="0"/>
              </a:rPr>
              <a:t>AzSqlServerFirewallRule</a:t>
            </a:r>
            <a:r>
              <a:rPr lang="en-US" sz="1000" b="1">
                <a:latin typeface="Segoe UI" panose="020B0502040204020203" pitchFamily="34" charset="0"/>
                <a:cs typeface="Segoe UI" panose="020B0502040204020203" pitchFamily="34" charset="0"/>
              </a:rPr>
              <a:t> </a:t>
            </a:r>
            <a:r>
              <a:rPr lang="en-US" sz="1000" b="0">
                <a:latin typeface="Segoe UI" panose="020B0502040204020203" pitchFamily="34" charset="0"/>
                <a:cs typeface="Segoe UI" panose="020B0502040204020203" pitchFamily="34" charset="0"/>
              </a:rPr>
              <a:t>- Server level: Returns the current server-level firewall rules</a:t>
            </a:r>
          </a:p>
          <a:p>
            <a:pPr marL="628650" lvl="1" indent="-171450">
              <a:buFont typeface="Arial" panose="020B0604020202020204" pitchFamily="34" charset="0"/>
              <a:buChar char="•"/>
            </a:pPr>
            <a:r>
              <a:rPr lang="en-US" sz="1000" b="1">
                <a:latin typeface="Segoe UI" panose="020B0502040204020203" pitchFamily="34" charset="0"/>
                <a:cs typeface="Segoe UI" panose="020B0502040204020203" pitchFamily="34" charset="0"/>
              </a:rPr>
              <a:t>New-</a:t>
            </a:r>
            <a:r>
              <a:rPr lang="en-US" sz="1000" b="1" err="1">
                <a:latin typeface="Segoe UI" panose="020B0502040204020203" pitchFamily="34" charset="0"/>
                <a:cs typeface="Segoe UI" panose="020B0502040204020203" pitchFamily="34" charset="0"/>
              </a:rPr>
              <a:t>AzSqlServerFirewallRule</a:t>
            </a:r>
            <a:r>
              <a:rPr lang="en-US" sz="1000" b="1">
                <a:latin typeface="Segoe UI" panose="020B0502040204020203" pitchFamily="34" charset="0"/>
                <a:cs typeface="Segoe UI" panose="020B0502040204020203" pitchFamily="34" charset="0"/>
              </a:rPr>
              <a:t> </a:t>
            </a:r>
            <a:r>
              <a:rPr lang="en-US" sz="1000" b="0">
                <a:latin typeface="Segoe UI" panose="020B0502040204020203" pitchFamily="34" charset="0"/>
                <a:cs typeface="Segoe UI" panose="020B0502040204020203" pitchFamily="34" charset="0"/>
              </a:rPr>
              <a:t>- Database level: Creates a firewall rule to allow access to all SQL Databases on the server from the entered IP address range.</a:t>
            </a:r>
          </a:p>
          <a:p>
            <a:pPr marL="628650" lvl="1" indent="-171450">
              <a:buFont typeface="Arial" panose="020B0604020202020204" pitchFamily="34" charset="0"/>
              <a:buChar char="•"/>
            </a:pPr>
            <a:r>
              <a:rPr lang="en-US" sz="1000" b="1">
                <a:latin typeface="Segoe UI" panose="020B0502040204020203" pitchFamily="34" charset="0"/>
                <a:cs typeface="Segoe UI" panose="020B0502040204020203" pitchFamily="34" charset="0"/>
              </a:rPr>
              <a:t>Set-</a:t>
            </a:r>
            <a:r>
              <a:rPr lang="en-US" sz="1000" b="1" err="1">
                <a:latin typeface="Segoe UI" panose="020B0502040204020203" pitchFamily="34" charset="0"/>
                <a:cs typeface="Segoe UI" panose="020B0502040204020203" pitchFamily="34" charset="0"/>
              </a:rPr>
              <a:t>AzSqlServerFirewallRule</a:t>
            </a:r>
            <a:r>
              <a:rPr lang="en-US" sz="1000" b="1">
                <a:latin typeface="Segoe UI" panose="020B0502040204020203" pitchFamily="34" charset="0"/>
                <a:cs typeface="Segoe UI" panose="020B0502040204020203" pitchFamily="34" charset="0"/>
              </a:rPr>
              <a:t> </a:t>
            </a:r>
            <a:r>
              <a:rPr lang="en-US" sz="1000" b="0">
                <a:latin typeface="Segoe UI" panose="020B0502040204020203" pitchFamily="34" charset="0"/>
                <a:cs typeface="Segoe UI" panose="020B0502040204020203" pitchFamily="34" charset="0"/>
              </a:rPr>
              <a:t>- Server level: Updates the properties of an existing server-level firewall rule</a:t>
            </a:r>
          </a:p>
          <a:p>
            <a:pPr marL="628650" lvl="1" indent="-171450">
              <a:buFont typeface="Arial" panose="020B0604020202020204" pitchFamily="34" charset="0"/>
              <a:buChar char="•"/>
            </a:pPr>
            <a:r>
              <a:rPr lang="en-US" sz="1000" b="1">
                <a:latin typeface="Segoe UI" panose="020B0502040204020203" pitchFamily="34" charset="0"/>
                <a:cs typeface="Segoe UI" panose="020B0502040204020203" pitchFamily="34" charset="0"/>
              </a:rPr>
              <a:t>Remove-</a:t>
            </a:r>
            <a:r>
              <a:rPr lang="en-US" sz="1000" b="1" err="1">
                <a:latin typeface="Segoe UI" panose="020B0502040204020203" pitchFamily="34" charset="0"/>
                <a:cs typeface="Segoe UI" panose="020B0502040204020203" pitchFamily="34" charset="0"/>
              </a:rPr>
              <a:t>AzSqlServerFirewallRule</a:t>
            </a:r>
            <a:r>
              <a:rPr lang="en-US" sz="1000" b="1">
                <a:latin typeface="Segoe UI" panose="020B0502040204020203" pitchFamily="34" charset="0"/>
                <a:cs typeface="Segoe UI" panose="020B0502040204020203" pitchFamily="34" charset="0"/>
              </a:rPr>
              <a:t> </a:t>
            </a:r>
            <a:r>
              <a:rPr lang="en-US" sz="1000" b="0">
                <a:latin typeface="Segoe UI" panose="020B0502040204020203" pitchFamily="34" charset="0"/>
                <a:cs typeface="Segoe UI" panose="020B0502040204020203" pitchFamily="34" charset="0"/>
              </a:rPr>
              <a:t>- Server level: Removes server-level firewall rules</a:t>
            </a:r>
          </a:p>
          <a:p>
            <a:pPr marL="171450" lvl="0" indent="-171450" algn="l" defTabSz="932742" rtl="0" eaLnBrk="1" latinLnBrk="0" hangingPunct="1">
              <a:lnSpc>
                <a:spcPct val="90000"/>
              </a:lnSpc>
              <a:spcAft>
                <a:spcPts val="340"/>
              </a:spcAft>
              <a:buFont typeface="Arial" panose="020B0604020202020204" pitchFamily="34" charset="0"/>
              <a:buChar char="•"/>
            </a:pPr>
            <a:r>
              <a:rPr lang="en-US" sz="1000" b="0" i="0" kern="1200">
                <a:solidFill>
                  <a:schemeClr val="tx1"/>
                </a:solidFill>
                <a:effectLst/>
                <a:latin typeface="Segoe UI" panose="020B0502040204020203" pitchFamily="34" charset="0"/>
                <a:ea typeface="+mn-ea"/>
                <a:cs typeface="Segoe UI" panose="020B0502040204020203" pitchFamily="34" charset="0"/>
              </a:rPr>
              <a:t>Transact-SQL</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ys.firewall_rules</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Server level:	Displays the current server-level IP firewall rules</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p_set_firewall_rule</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Server level: Creates or updates server-level IP firewall rules</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p_delete_firewall_rule</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Server level: Removes server-level IP firewall rules</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ys.database_firewall_rules</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Database level: Displays the current database-level IP firewall rules</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p_set_database_firewall_rule</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Database level: Creates or updates the database-level IP firewall rules</a:t>
            </a:r>
          </a:p>
          <a:p>
            <a:pPr marL="628650" lvl="1" indent="-171450">
              <a:buFont typeface="Arial" panose="020B0604020202020204" pitchFamily="34" charset="0"/>
              <a:buChar char="•"/>
            </a:pPr>
            <a:r>
              <a:rPr lang="en-US" sz="1000" b="1" err="1">
                <a:solidFill>
                  <a:schemeClr val="tx1"/>
                </a:solidFill>
                <a:latin typeface="Segoe UI" panose="020B0502040204020203" pitchFamily="34" charset="0"/>
                <a:cs typeface="Segoe UI" panose="020B0502040204020203" pitchFamily="34" charset="0"/>
              </a:rPr>
              <a:t>sp_delete_database_firewall_rule</a:t>
            </a:r>
            <a:r>
              <a:rPr lang="en-US" sz="1000" b="1">
                <a:solidFill>
                  <a:schemeClr val="tx1"/>
                </a:solidFill>
                <a:latin typeface="Segoe UI" panose="020B0502040204020203" pitchFamily="34" charset="0"/>
                <a:cs typeface="Segoe UI" panose="020B0502040204020203" pitchFamily="34" charset="0"/>
              </a:rPr>
              <a:t> </a:t>
            </a:r>
            <a:r>
              <a:rPr lang="en-US" sz="1000" b="0">
                <a:solidFill>
                  <a:schemeClr val="tx1"/>
                </a:solidFill>
                <a:latin typeface="Segoe UI" panose="020B0502040204020203" pitchFamily="34" charset="0"/>
                <a:cs typeface="Segoe UI" panose="020B0502040204020203" pitchFamily="34" charset="0"/>
              </a:rPr>
              <a:t>- Database level: Removes database-level IP firewall rules</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9008079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1" u="none" strike="noStrike" kern="1200">
                <a:solidFill>
                  <a:schemeClr val="tx1"/>
                </a:solidFill>
                <a:effectLst/>
                <a:latin typeface="Segoe UI Light" pitchFamily="34" charset="0"/>
                <a:ea typeface="+mn-ea"/>
                <a:cs typeface="+mn-cs"/>
              </a:rPr>
              <a:t>Virtual network rules</a:t>
            </a:r>
            <a:r>
              <a:rPr lang="en-US" sz="800" b="0" i="0" u="none" strike="noStrike" kern="1200">
                <a:solidFill>
                  <a:schemeClr val="tx1"/>
                </a:solidFill>
                <a:effectLst/>
                <a:latin typeface="Segoe UI Light" pitchFamily="34" charset="0"/>
                <a:ea typeface="+mn-ea"/>
                <a:cs typeface="+mn-cs"/>
              </a:rPr>
              <a:t> are one firewall security feature that controls whether your Azure </a:t>
            </a:r>
            <a:r>
              <a:rPr lang="en-US" sz="800" b="0" i="0" u="sng" kern="1200">
                <a:solidFill>
                  <a:schemeClr val="tx1"/>
                </a:solidFill>
                <a:effectLst/>
                <a:latin typeface="Segoe UI Light" pitchFamily="34" charset="0"/>
                <a:ea typeface="+mn-ea"/>
                <a:cs typeface="+mn-cs"/>
                <a:hlinkClick r:id="rId3"/>
              </a:rPr>
              <a:t>SQL Database</a:t>
            </a:r>
            <a:r>
              <a:rPr lang="en-US" sz="800" b="0" i="0" u="none" strike="noStrike" kern="1200">
                <a:solidFill>
                  <a:schemeClr val="tx1"/>
                </a:solidFill>
                <a:effectLst/>
                <a:latin typeface="Segoe UI Light" pitchFamily="34" charset="0"/>
                <a:ea typeface="+mn-ea"/>
                <a:cs typeface="+mn-cs"/>
              </a:rPr>
              <a:t> or </a:t>
            </a:r>
            <a:r>
              <a:rPr lang="en-US" sz="800" b="0" i="0" u="sng" kern="1200">
                <a:solidFill>
                  <a:schemeClr val="tx1"/>
                </a:solidFill>
                <a:effectLst/>
                <a:latin typeface="Segoe UI Light" pitchFamily="34" charset="0"/>
                <a:ea typeface="+mn-ea"/>
                <a:cs typeface="+mn-cs"/>
                <a:hlinkClick r:id="rId4"/>
              </a:rPr>
              <a:t>SQL Data Warehouse</a:t>
            </a:r>
            <a:r>
              <a:rPr lang="en-US" sz="800" b="0" i="0" u="none" strike="noStrike" kern="1200">
                <a:solidFill>
                  <a:schemeClr val="tx1"/>
                </a:solidFill>
                <a:effectLst/>
                <a:latin typeface="Segoe UI Light" pitchFamily="34" charset="0"/>
                <a:ea typeface="+mn-ea"/>
                <a:cs typeface="+mn-cs"/>
              </a:rPr>
              <a:t> server accepts communications that are sent from particular subnets in virtual networks. </a:t>
            </a:r>
          </a:p>
          <a:p>
            <a:endParaRPr lang="en-US" sz="800" b="0" i="0" u="none" strike="noStrike" kern="1200">
              <a:solidFill>
                <a:schemeClr val="tx1"/>
              </a:solidFill>
              <a:effectLst/>
              <a:latin typeface="Segoe UI Light" pitchFamily="34" charset="0"/>
              <a:ea typeface="+mn-ea"/>
              <a:cs typeface="+mn-cs"/>
            </a:endParaRPr>
          </a:p>
          <a:p>
            <a:r>
              <a:rPr lang="en-US" sz="800" b="1" i="0" u="none" strike="noStrike" kern="1200">
                <a:solidFill>
                  <a:schemeClr val="tx1"/>
                </a:solidFill>
                <a:effectLst/>
                <a:latin typeface="Segoe UI Light" pitchFamily="34" charset="0"/>
                <a:ea typeface="+mn-ea"/>
                <a:cs typeface="+mn-cs"/>
              </a:rPr>
              <a:t>A. Allow access to Azure services</a:t>
            </a:r>
          </a:p>
          <a:p>
            <a:r>
              <a:rPr lang="en-US" sz="800" b="0" i="0" u="none" strike="noStrike" kern="1200">
                <a:solidFill>
                  <a:schemeClr val="tx1"/>
                </a:solidFill>
                <a:effectLst/>
                <a:latin typeface="Segoe UI Light" pitchFamily="34" charset="0"/>
                <a:ea typeface="+mn-ea"/>
                <a:cs typeface="+mn-cs"/>
              </a:rPr>
              <a:t>The firewall pane has an </a:t>
            </a:r>
            <a:r>
              <a:rPr lang="en-US" sz="800" b="1" i="0" u="none" strike="noStrike" kern="1200">
                <a:solidFill>
                  <a:schemeClr val="tx1"/>
                </a:solidFill>
                <a:effectLst/>
                <a:latin typeface="Segoe UI Light" pitchFamily="34" charset="0"/>
                <a:ea typeface="+mn-ea"/>
                <a:cs typeface="+mn-cs"/>
              </a:rPr>
              <a:t>ON/OFF</a:t>
            </a:r>
            <a:r>
              <a:rPr lang="en-US" sz="800" b="0" i="0" u="none" strike="noStrike" kern="1200">
                <a:solidFill>
                  <a:schemeClr val="tx1"/>
                </a:solidFill>
                <a:effectLst/>
                <a:latin typeface="Segoe UI Light" pitchFamily="34" charset="0"/>
                <a:ea typeface="+mn-ea"/>
                <a:cs typeface="+mn-cs"/>
              </a:rPr>
              <a:t> button that is labeled </a:t>
            </a:r>
            <a:r>
              <a:rPr lang="en-US" sz="800" b="1" i="0" u="none" strike="noStrike" kern="1200">
                <a:solidFill>
                  <a:schemeClr val="tx1"/>
                </a:solidFill>
                <a:effectLst/>
                <a:latin typeface="Segoe UI Light" pitchFamily="34" charset="0"/>
                <a:ea typeface="+mn-ea"/>
                <a:cs typeface="+mn-cs"/>
              </a:rPr>
              <a:t>Allow access to Azure services</a:t>
            </a:r>
            <a:r>
              <a:rPr lang="en-US" sz="800" b="0" i="0" u="none" strike="noStrike" kern="1200">
                <a:solidFill>
                  <a:schemeClr val="tx1"/>
                </a:solidFill>
                <a:effectLst/>
                <a:latin typeface="Segoe UI Light" pitchFamily="34" charset="0"/>
                <a:ea typeface="+mn-ea"/>
                <a:cs typeface="+mn-cs"/>
              </a:rPr>
              <a:t>. The </a:t>
            </a:r>
            <a:r>
              <a:rPr lang="en-US" sz="800" b="1" i="0" u="none" strike="noStrike" kern="1200">
                <a:solidFill>
                  <a:schemeClr val="tx1"/>
                </a:solidFill>
                <a:effectLst/>
                <a:latin typeface="Segoe UI Light" pitchFamily="34" charset="0"/>
                <a:ea typeface="+mn-ea"/>
                <a:cs typeface="+mn-cs"/>
              </a:rPr>
              <a:t>ON</a:t>
            </a:r>
            <a:r>
              <a:rPr lang="en-US" sz="800" b="0" i="0" u="none" strike="noStrike" kern="1200">
                <a:solidFill>
                  <a:schemeClr val="tx1"/>
                </a:solidFill>
                <a:effectLst/>
                <a:latin typeface="Segoe UI Light" pitchFamily="34" charset="0"/>
                <a:ea typeface="+mn-ea"/>
                <a:cs typeface="+mn-cs"/>
              </a:rPr>
              <a:t> setting allows communications from all Azure IP addresses and all Azure subnets. These Azure IPs or subnets might not be owned by you. This </a:t>
            </a:r>
            <a:r>
              <a:rPr lang="en-US" sz="800" b="1" i="0" u="none" strike="noStrike" kern="1200">
                <a:solidFill>
                  <a:schemeClr val="tx1"/>
                </a:solidFill>
                <a:effectLst/>
                <a:latin typeface="Segoe UI Light" pitchFamily="34" charset="0"/>
                <a:ea typeface="+mn-ea"/>
                <a:cs typeface="+mn-cs"/>
              </a:rPr>
              <a:t>ON</a:t>
            </a:r>
            <a:r>
              <a:rPr lang="en-US" sz="800" b="0" i="0" u="none" strike="noStrike" kern="1200">
                <a:solidFill>
                  <a:schemeClr val="tx1"/>
                </a:solidFill>
                <a:effectLst/>
                <a:latin typeface="Segoe UI Light" pitchFamily="34" charset="0"/>
                <a:ea typeface="+mn-ea"/>
                <a:cs typeface="+mn-cs"/>
              </a:rPr>
              <a:t> setting is probably more open than you want your SQL Database to be. The virtual network rule feature offers much finer granular control.</a:t>
            </a:r>
          </a:p>
          <a:p>
            <a:endParaRPr lang="en-US"/>
          </a:p>
          <a:p>
            <a:r>
              <a:rPr lang="en-US" sz="800" b="1" i="0" u="none" strike="noStrike" kern="1200">
                <a:solidFill>
                  <a:schemeClr val="tx1"/>
                </a:solidFill>
                <a:effectLst/>
                <a:latin typeface="Segoe UI Light" pitchFamily="34" charset="0"/>
                <a:ea typeface="+mn-ea"/>
                <a:cs typeface="+mn-cs"/>
              </a:rPr>
              <a:t>B. IP rules</a:t>
            </a:r>
          </a:p>
          <a:p>
            <a:r>
              <a:rPr lang="en-US" sz="800" b="0" i="0" u="none" strike="noStrike" kern="1200">
                <a:solidFill>
                  <a:schemeClr val="tx1"/>
                </a:solidFill>
                <a:effectLst/>
                <a:latin typeface="Segoe UI Light" pitchFamily="34" charset="0"/>
                <a:ea typeface="+mn-ea"/>
                <a:cs typeface="+mn-cs"/>
              </a:rPr>
              <a:t>The SQL Database firewall allows you to specify IP address ranges from which communications are accepted into SQL Database. This approach is fine for stable IP addresses that are outside the Azure private network. But many nodes inside the Azure private network are configured with </a:t>
            </a:r>
            <a:r>
              <a:rPr lang="en-US" sz="800" b="0" i="1" u="none" strike="noStrike" kern="1200">
                <a:solidFill>
                  <a:schemeClr val="tx1"/>
                </a:solidFill>
                <a:effectLst/>
                <a:latin typeface="Segoe UI Light" pitchFamily="34" charset="0"/>
                <a:ea typeface="+mn-ea"/>
                <a:cs typeface="+mn-cs"/>
              </a:rPr>
              <a:t>dynamic</a:t>
            </a:r>
            <a:r>
              <a:rPr lang="en-US" sz="800" b="0" i="0" u="none" strike="noStrike" kern="1200">
                <a:solidFill>
                  <a:schemeClr val="tx1"/>
                </a:solidFill>
                <a:effectLst/>
                <a:latin typeface="Segoe UI Light" pitchFamily="34" charset="0"/>
                <a:ea typeface="+mn-ea"/>
                <a:cs typeface="+mn-cs"/>
              </a:rPr>
              <a:t> IP addresses. Dynamic IP addresses might change, such as when your VM is restarted. It would be folly to specify a dynamic IP address in a firewall rule, in a production environment.</a:t>
            </a:r>
          </a:p>
          <a:p>
            <a:r>
              <a:rPr lang="en-US" sz="800" b="0" i="0" u="none" strike="noStrike" kern="1200">
                <a:solidFill>
                  <a:schemeClr val="tx1"/>
                </a:solidFill>
                <a:effectLst/>
                <a:latin typeface="Segoe UI Light" pitchFamily="34" charset="0"/>
                <a:ea typeface="+mn-ea"/>
                <a:cs typeface="+mn-cs"/>
              </a:rPr>
              <a:t>You can salvage the IP option by obtaining a </a:t>
            </a:r>
            <a:r>
              <a:rPr lang="en-US" sz="800" b="0" i="1" u="none" strike="noStrike" kern="1200">
                <a:solidFill>
                  <a:schemeClr val="tx1"/>
                </a:solidFill>
                <a:effectLst/>
                <a:latin typeface="Segoe UI Light" pitchFamily="34" charset="0"/>
                <a:ea typeface="+mn-ea"/>
                <a:cs typeface="+mn-cs"/>
              </a:rPr>
              <a:t>static</a:t>
            </a:r>
            <a:r>
              <a:rPr lang="en-US" sz="800" b="0" i="0" u="none" strike="noStrike" kern="1200">
                <a:solidFill>
                  <a:schemeClr val="tx1"/>
                </a:solidFill>
                <a:effectLst/>
                <a:latin typeface="Segoe UI Light" pitchFamily="34" charset="0"/>
                <a:ea typeface="+mn-ea"/>
                <a:cs typeface="+mn-cs"/>
              </a:rPr>
              <a:t> IP address for your VM. For details, see </a:t>
            </a:r>
            <a:r>
              <a:rPr lang="en-US" sz="800" b="0" i="0" u="sng" strike="noStrike" kern="1200">
                <a:solidFill>
                  <a:schemeClr val="tx1"/>
                </a:solidFill>
                <a:effectLst/>
                <a:latin typeface="Segoe UI Light" pitchFamily="34" charset="0"/>
                <a:ea typeface="+mn-ea"/>
                <a:cs typeface="+mn-cs"/>
                <a:hlinkClick r:id="rId5"/>
              </a:rPr>
              <a:t>Configure private IP addresses for a virtual machine by using the Azure portal</a:t>
            </a:r>
            <a:r>
              <a:rPr lang="en-US" sz="800" b="0" i="0" u="none" strike="noStrike" kern="1200">
                <a:solidFill>
                  <a:schemeClr val="tx1"/>
                </a:solidFill>
                <a:effectLst/>
                <a:latin typeface="Segoe UI Light" pitchFamily="34" charset="0"/>
                <a:ea typeface="+mn-ea"/>
                <a:cs typeface="+mn-cs"/>
              </a:rPr>
              <a:t>.</a:t>
            </a:r>
          </a:p>
          <a:p>
            <a:r>
              <a:rPr lang="en-US" sz="800" b="0" i="0" u="none" strike="noStrike" kern="1200">
                <a:solidFill>
                  <a:schemeClr val="tx1"/>
                </a:solidFill>
                <a:effectLst/>
                <a:latin typeface="Segoe UI Light" pitchFamily="34" charset="0"/>
                <a:ea typeface="+mn-ea"/>
                <a:cs typeface="+mn-cs"/>
              </a:rPr>
              <a:t>However, the static IP approach can become difficult to manage, and it is costly when done at scale. Virtual network rules are easier to establish and to manage.</a:t>
            </a:r>
          </a:p>
          <a:p>
            <a:endParaRPr lang="en-US"/>
          </a:p>
          <a:p>
            <a:r>
              <a:rPr lang="en-US" sz="800" b="1" i="0" u="none" strike="noStrike" kern="1200">
                <a:solidFill>
                  <a:schemeClr val="tx1"/>
                </a:solidFill>
                <a:effectLst/>
                <a:latin typeface="Segoe UI Light" pitchFamily="34" charset="0"/>
                <a:ea typeface="+mn-ea"/>
                <a:cs typeface="+mn-cs"/>
              </a:rPr>
              <a:t>Only one geographic region</a:t>
            </a:r>
          </a:p>
          <a:p>
            <a:r>
              <a:rPr lang="en-US" sz="800" b="0" i="0" u="none" strike="noStrike" kern="1200">
                <a:solidFill>
                  <a:schemeClr val="tx1"/>
                </a:solidFill>
                <a:effectLst/>
                <a:latin typeface="Segoe UI Light" pitchFamily="34" charset="0"/>
                <a:ea typeface="+mn-ea"/>
                <a:cs typeface="+mn-cs"/>
              </a:rPr>
              <a:t>Each Virtual Network service endpoint applies to only one Azure region. The endpoint does not enable other regions to accept communication from the subnet.</a:t>
            </a:r>
          </a:p>
          <a:p>
            <a:r>
              <a:rPr lang="en-US" sz="800" b="0" i="0" u="none" strike="noStrike" kern="1200">
                <a:solidFill>
                  <a:schemeClr val="tx1"/>
                </a:solidFill>
                <a:effectLst/>
                <a:latin typeface="Segoe UI Light" pitchFamily="34" charset="0"/>
                <a:ea typeface="+mn-ea"/>
                <a:cs typeface="+mn-cs"/>
              </a:rPr>
              <a:t>Any virtual network rule is limited to the region that its underlying endpoint applies to.</a:t>
            </a:r>
          </a:p>
          <a:p>
            <a:endParaRPr lang="en-US"/>
          </a:p>
          <a:p>
            <a:r>
              <a:rPr lang="en-US" sz="800" b="1" i="0" u="none" strike="noStrike" kern="1200">
                <a:solidFill>
                  <a:schemeClr val="tx1"/>
                </a:solidFill>
                <a:effectLst/>
                <a:latin typeface="Segoe UI Light" pitchFamily="34" charset="0"/>
                <a:ea typeface="+mn-ea"/>
                <a:cs typeface="+mn-cs"/>
              </a:rPr>
              <a:t>Server-level, not database-level</a:t>
            </a:r>
          </a:p>
          <a:p>
            <a:r>
              <a:rPr lang="en-US" sz="800" b="0" i="0" u="none" strike="noStrike" kern="1200">
                <a:solidFill>
                  <a:schemeClr val="tx1"/>
                </a:solidFill>
                <a:effectLst/>
                <a:latin typeface="Segoe UI Light" pitchFamily="34" charset="0"/>
                <a:ea typeface="+mn-ea"/>
                <a:cs typeface="+mn-cs"/>
              </a:rPr>
              <a:t>Each virtual network rule applies to your whole Azure SQL Database server, not just to one particular database on the server. In other words, virtual network rule applies at the server-level, not at the database-level.</a:t>
            </a:r>
          </a:p>
          <a:p>
            <a:r>
              <a:rPr lang="en-US" sz="800" b="0" i="0" u="none" strike="noStrike" kern="1200">
                <a:solidFill>
                  <a:schemeClr val="tx1"/>
                </a:solidFill>
                <a:effectLst/>
                <a:latin typeface="Segoe UI Light" pitchFamily="34" charset="0"/>
                <a:ea typeface="+mn-ea"/>
                <a:cs typeface="+mn-cs"/>
              </a:rPr>
              <a:t>In contrast, IP rules can apply at either level.</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36134705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a:solidFill>
                  <a:schemeClr val="tx1"/>
                </a:solidFill>
                <a:effectLst/>
                <a:latin typeface="Segoe UI Light" pitchFamily="34" charset="0"/>
                <a:ea typeface="+mn-ea"/>
                <a:cs typeface="+mn-cs"/>
              </a:rPr>
              <a:t>Private Link allows you to connect to various PaaS services in Azure via a </a:t>
            </a:r>
            <a:r>
              <a:rPr lang="en-US" sz="800" b="1" i="0" kern="1200">
                <a:solidFill>
                  <a:schemeClr val="tx1"/>
                </a:solidFill>
                <a:effectLst/>
                <a:latin typeface="Segoe UI Light" pitchFamily="34" charset="0"/>
                <a:ea typeface="+mn-ea"/>
                <a:cs typeface="+mn-cs"/>
              </a:rPr>
              <a:t>private endpoint</a:t>
            </a:r>
            <a:r>
              <a:rPr lang="en-US" sz="800" b="0" i="0" kern="1200">
                <a:solidFill>
                  <a:schemeClr val="tx1"/>
                </a:solidFill>
                <a:effectLst/>
                <a:latin typeface="Segoe UI Light" pitchFamily="34" charset="0"/>
                <a:ea typeface="+mn-ea"/>
                <a:cs typeface="+mn-cs"/>
              </a:rPr>
              <a:t>. For a list to PaaS services that support Private Link functionality, go to the </a:t>
            </a:r>
            <a:r>
              <a:rPr lang="en-US" sz="800" b="0" i="0" u="sng" kern="1200">
                <a:solidFill>
                  <a:schemeClr val="tx1"/>
                </a:solidFill>
                <a:effectLst/>
                <a:latin typeface="Segoe UI Light" pitchFamily="34" charset="0"/>
                <a:ea typeface="+mn-ea"/>
                <a:cs typeface="+mn-cs"/>
                <a:hlinkClick r:id="rId3"/>
              </a:rPr>
              <a:t>Private Link Documentation</a:t>
            </a:r>
            <a:r>
              <a:rPr lang="en-US" sz="800" b="0" i="0" kern="1200">
                <a:solidFill>
                  <a:schemeClr val="tx1"/>
                </a:solidFill>
                <a:effectLst/>
                <a:latin typeface="Segoe UI Light" pitchFamily="34" charset="0"/>
                <a:ea typeface="+mn-ea"/>
                <a:cs typeface="+mn-cs"/>
              </a:rPr>
              <a:t> page. A private endpoint is a private IP address within a specific </a:t>
            </a:r>
            <a:r>
              <a:rPr lang="en-US" sz="800" b="0" i="0" u="sng" kern="1200" err="1">
                <a:solidFill>
                  <a:schemeClr val="tx1"/>
                </a:solidFill>
                <a:effectLst/>
                <a:latin typeface="Segoe UI Light" pitchFamily="34" charset="0"/>
                <a:ea typeface="+mn-ea"/>
                <a:cs typeface="+mn-cs"/>
                <a:hlinkClick r:id="rId4"/>
              </a:rPr>
              <a:t>VNet</a:t>
            </a:r>
            <a:r>
              <a:rPr lang="en-US" sz="800" b="0" i="0" kern="1200">
                <a:solidFill>
                  <a:schemeClr val="tx1"/>
                </a:solidFill>
                <a:effectLst/>
                <a:latin typeface="Segoe UI Light" pitchFamily="34" charset="0"/>
                <a:ea typeface="+mn-ea"/>
                <a:cs typeface="+mn-cs"/>
              </a:rPr>
              <a:t> and Subnet.</a:t>
            </a:r>
          </a:p>
          <a:p>
            <a:endParaRPr lang="en-US" sz="800" b="0" i="0" kern="1200">
              <a:solidFill>
                <a:schemeClr val="tx1"/>
              </a:solidFill>
              <a:effectLst/>
              <a:latin typeface="Segoe UI Light" pitchFamily="34" charset="0"/>
              <a:ea typeface="+mn-ea"/>
              <a:cs typeface="+mn-cs"/>
            </a:endParaRPr>
          </a:p>
          <a:p>
            <a:r>
              <a:rPr lang="en-US" sz="800" b="0" i="0" kern="1200">
                <a:solidFill>
                  <a:schemeClr val="tx1"/>
                </a:solidFill>
                <a:effectLst/>
                <a:latin typeface="Segoe UI Light" pitchFamily="34" charset="0"/>
                <a:ea typeface="+mn-ea"/>
                <a:cs typeface="+mn-cs"/>
              </a:rPr>
              <a:t>With Private Link, customers can now set up network access controls like NSGs to restrict access to the private endpoint. Individual Azure PaaS resources are then mapped to specific private endpoints. A malicious insider can only access the mapped PaaS resource (for example a SQL Database) and no other resource.</a:t>
            </a:r>
          </a:p>
          <a:p>
            <a:endParaRPr lang="en-US" sz="800" b="0" i="0" kern="1200">
              <a:solidFill>
                <a:schemeClr val="tx1"/>
              </a:solidFill>
              <a:effectLst/>
              <a:latin typeface="Segoe UI Light" pitchFamily="34" charset="0"/>
              <a:ea typeface="+mn-ea"/>
              <a:cs typeface="+mn-cs"/>
            </a:endParaRPr>
          </a:p>
          <a:p>
            <a:r>
              <a:rPr lang="en-US" sz="800" b="0" i="0" kern="1200">
                <a:solidFill>
                  <a:schemeClr val="tx1"/>
                </a:solidFill>
                <a:effectLst/>
                <a:latin typeface="Segoe UI Light" pitchFamily="34" charset="0"/>
                <a:ea typeface="+mn-ea"/>
                <a:cs typeface="+mn-cs"/>
              </a:rPr>
              <a:t>With Private Link, customers can enable cross-premises access to the private endpoint using </a:t>
            </a:r>
            <a:r>
              <a:rPr lang="en-US" sz="800" b="0" i="0" u="sng" kern="1200">
                <a:solidFill>
                  <a:schemeClr val="tx1"/>
                </a:solidFill>
                <a:effectLst/>
                <a:latin typeface="Segoe UI Light" pitchFamily="34" charset="0"/>
                <a:ea typeface="+mn-ea"/>
                <a:cs typeface="+mn-cs"/>
                <a:hlinkClick r:id="rId5"/>
              </a:rPr>
              <a:t>ExpressRoute</a:t>
            </a:r>
            <a:r>
              <a:rPr lang="en-US" sz="800" b="0" i="0" kern="1200">
                <a:solidFill>
                  <a:schemeClr val="tx1"/>
                </a:solidFill>
                <a:effectLst/>
                <a:latin typeface="Segoe UI Light" pitchFamily="34" charset="0"/>
                <a:ea typeface="+mn-ea"/>
                <a:cs typeface="+mn-cs"/>
              </a:rPr>
              <a:t>, private peering, or VPN tunneling. Customers can then disable all access via the public endpoint and not use the IP-based firewall to allow any IP addresses.</a:t>
            </a:r>
          </a:p>
          <a:p>
            <a:r>
              <a:rPr lang="en-US" sz="800" b="0" i="0" kern="1200">
                <a:solidFill>
                  <a:schemeClr val="tx1"/>
                </a:solidFill>
                <a:effectLst/>
                <a:latin typeface="Segoe UI Light" pitchFamily="34" charset="0"/>
                <a:ea typeface="+mn-ea"/>
                <a:cs typeface="+mn-cs"/>
              </a:rPr>
              <a:t>With Private Link, customers can enable cross-premises access to the private endpoint using Express Route (ER) private peering or VPN </a:t>
            </a:r>
            <a:r>
              <a:rPr lang="en-US" sz="800" b="0" i="0" kern="1200" err="1">
                <a:solidFill>
                  <a:schemeClr val="tx1"/>
                </a:solidFill>
                <a:effectLst/>
                <a:latin typeface="Segoe UI Light" pitchFamily="34" charset="0"/>
                <a:ea typeface="+mn-ea"/>
                <a:cs typeface="+mn-cs"/>
              </a:rPr>
              <a:t>tunnel.They</a:t>
            </a:r>
            <a:r>
              <a:rPr lang="en-US" sz="800" b="0" i="0" kern="1200">
                <a:solidFill>
                  <a:schemeClr val="tx1"/>
                </a:solidFill>
                <a:effectLst/>
                <a:latin typeface="Segoe UI Light" pitchFamily="34" charset="0"/>
                <a:ea typeface="+mn-ea"/>
                <a:cs typeface="+mn-cs"/>
              </a:rPr>
              <a:t> can subsequently disable all access via public endpoint and not use the IP-based firewall.</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1487525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5</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19/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zure SQL Database Security.</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FFFFFF"/>
                </a:solidFill>
              </a:rPr>
              <a:t>Q1: True or False? Initially, all access to your Azure SQL Database server is blocked by the firewall?</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Answer 1: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u="none" strike="noStrike" kern="1200">
                <a:solidFill>
                  <a:schemeClr val="tx1"/>
                </a:solidFill>
                <a:effectLst/>
                <a:latin typeface="Segoe UI Light" pitchFamily="34" charset="0"/>
                <a:ea typeface="+mn-ea"/>
                <a:cs typeface="+mn-cs"/>
              </a:rPr>
              <a:t>Initially, all Transact-SQL access to your Azure SQL Server is blocked by the firewall. </a:t>
            </a:r>
            <a:r>
              <a:rPr lang="en-US" sz="900" b="0" i="0" u="none" strike="noStrike" kern="1200">
                <a:solidFill>
                  <a:schemeClr val="tx1"/>
                </a:solidFill>
                <a:effectLst/>
                <a:latin typeface="Segoe UI Light" pitchFamily="34" charset="0"/>
                <a:ea typeface="+mn-ea"/>
                <a:cs typeface="+mn-cs"/>
              </a:rPr>
              <a:t>To begin using your Azure SQL Server, you must specify one or more server-level firewall rules that enable access to your Azure SQL Server. Use the firewall rules to specify which IP address ranges from the Internet are allowed, and whether Azure applications can attempt to connect to your Azure SQL Server.</a:t>
            </a:r>
          </a:p>
          <a:p>
            <a:pPr marL="0" lvl="0" indent="0">
              <a:buFont typeface="Arial" panose="020B0604020202020204" pitchFamily="34" charset="0"/>
              <a:buNone/>
            </a:pPr>
            <a:endParaRPr lang="en-US" sz="900">
              <a:solidFill>
                <a:srgbClr val="FFFFFF"/>
              </a:solidFill>
            </a:endParaRPr>
          </a:p>
          <a:p>
            <a:pPr marL="0" lvl="0" indent="0">
              <a:buFont typeface="Arial" panose="020B0604020202020204" pitchFamily="34" charset="0"/>
              <a:buNone/>
            </a:pPr>
            <a:r>
              <a:rPr lang="en-US" sz="900">
                <a:solidFill>
                  <a:srgbClr val="FFFFFF"/>
                </a:solidFill>
              </a:rPr>
              <a:t>Q2: Can you use the Azure Portal to configure database-level firewall rules?</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US">
                <a:cs typeface="Segoe UI Light"/>
              </a:rPr>
              <a:t>Answer 2: </a:t>
            </a:r>
          </a:p>
          <a:p>
            <a:r>
              <a:rPr lang="en-US">
                <a:cs typeface="Segoe UI Light"/>
              </a:rPr>
              <a:t>No. </a:t>
            </a:r>
            <a:r>
              <a:rPr lang="en-US" sz="900" b="1" i="0" u="none" strike="noStrike" kern="1200">
                <a:solidFill>
                  <a:schemeClr val="tx1"/>
                </a:solidFill>
                <a:effectLst/>
                <a:latin typeface="Segoe UI Light" pitchFamily="34" charset="0"/>
                <a:ea typeface="+mn-ea"/>
                <a:cs typeface="+mn-cs"/>
              </a:rPr>
              <a:t>Database-level firewall rules for master and user databases can only be created and managed by using Transact-SQL statements and only after you have configured the first server-level firewall.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a:solidFill>
                <a:srgbClr val="FFFFFF"/>
              </a:soli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FFFFFF"/>
                </a:solidFill>
              </a:rPr>
              <a:t>Q3: Why should you use Virtual Network Service Endpoints?</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Answer 3: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1" u="none" strike="noStrike" kern="1200">
                <a:solidFill>
                  <a:schemeClr val="tx1"/>
                </a:solidFill>
                <a:effectLst/>
                <a:latin typeface="Segoe UI Light" pitchFamily="34" charset="0"/>
                <a:ea typeface="+mn-ea"/>
                <a:cs typeface="+mn-cs"/>
              </a:rPr>
              <a:t>Virtual network rules</a:t>
            </a:r>
            <a:r>
              <a:rPr lang="en-US" sz="900" b="1" i="0" u="none" strike="noStrike" kern="1200">
                <a:solidFill>
                  <a:schemeClr val="tx1"/>
                </a:solidFill>
                <a:effectLst/>
                <a:latin typeface="Segoe UI Light" pitchFamily="34" charset="0"/>
                <a:ea typeface="+mn-ea"/>
                <a:cs typeface="+mn-cs"/>
              </a:rPr>
              <a:t> are one firewall security feature that controls whether your Azure </a:t>
            </a:r>
            <a:r>
              <a:rPr lang="en-US" sz="900" b="1" i="0" u="sng" kern="1200">
                <a:solidFill>
                  <a:schemeClr val="tx1"/>
                </a:solidFill>
                <a:effectLst/>
                <a:latin typeface="Segoe UI Light" pitchFamily="34" charset="0"/>
                <a:ea typeface="+mn-ea"/>
                <a:cs typeface="+mn-cs"/>
                <a:hlinkClick r:id="rId3"/>
              </a:rPr>
              <a:t>SQL Database</a:t>
            </a:r>
            <a:r>
              <a:rPr lang="en-US" sz="900" b="1" i="0" u="none" strike="noStrike" kern="1200">
                <a:solidFill>
                  <a:schemeClr val="tx1"/>
                </a:solidFill>
                <a:effectLst/>
                <a:latin typeface="Segoe UI Light" pitchFamily="34" charset="0"/>
                <a:ea typeface="+mn-ea"/>
                <a:cs typeface="+mn-cs"/>
              </a:rPr>
              <a:t> or </a:t>
            </a:r>
            <a:r>
              <a:rPr lang="en-US" sz="900" b="1" i="0" u="sng" kern="1200">
                <a:solidFill>
                  <a:schemeClr val="tx1"/>
                </a:solidFill>
                <a:effectLst/>
                <a:latin typeface="Segoe UI Light" pitchFamily="34" charset="0"/>
                <a:ea typeface="+mn-ea"/>
                <a:cs typeface="+mn-cs"/>
                <a:hlinkClick r:id="rId4"/>
              </a:rPr>
              <a:t>SQL Data Warehouse</a:t>
            </a:r>
            <a:r>
              <a:rPr lang="en-US" sz="900" b="1" i="0" u="none" strike="noStrike" kern="1200">
                <a:solidFill>
                  <a:schemeClr val="tx1"/>
                </a:solidFill>
                <a:effectLst/>
                <a:latin typeface="Segoe UI Light" pitchFamily="34" charset="0"/>
                <a:ea typeface="+mn-ea"/>
                <a:cs typeface="+mn-cs"/>
              </a:rPr>
              <a:t> server accepts communications that are sent from particular subnets in virtual networks. </a:t>
            </a:r>
          </a:p>
          <a:p>
            <a:endParaRPr lang="en-US">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34302016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lumMod val="95000"/>
                  </a:schemeClr>
                </a:solidFill>
              </a:rPr>
              <a:t>Transparent Data Encryption.</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8307362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lumMod val="95000"/>
                  </a:schemeClr>
                </a:solidFill>
              </a:rPr>
              <a:t>Transparent Data Encryption.</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a:solidFill>
                  <a:schemeClr val="tx1"/>
                </a:solidFill>
                <a:effectLst/>
                <a:latin typeface="Segoe UI Light" pitchFamily="34" charset="0"/>
                <a:ea typeface="+mn-ea"/>
                <a:cs typeface="+mn-cs"/>
              </a:rPr>
              <a:t>Transparent data encryption (TDE) helps protect Azure SQL Database and Azure Data Warehouse against the threat of malicious activity. It performs real-time encryption and decryption of the database, associated backups, and transaction log files at rest without requiring changes to the application. By default, TDE is enabled for all newly deployed Azure SQL Databases. TDE cannot be used to encrypt the logical </a:t>
            </a:r>
            <a:r>
              <a:rPr lang="en-US" sz="900" b="1" i="0" u="none" strike="noStrike" kern="1200">
                <a:solidFill>
                  <a:schemeClr val="tx1"/>
                </a:solidFill>
                <a:effectLst/>
                <a:latin typeface="Segoe UI Light" pitchFamily="34" charset="0"/>
                <a:ea typeface="+mn-ea"/>
                <a:cs typeface="+mn-cs"/>
              </a:rPr>
              <a:t>master</a:t>
            </a:r>
            <a:r>
              <a:rPr lang="en-US" sz="900" b="0" i="0" u="none" strike="noStrike" kern="1200">
                <a:solidFill>
                  <a:schemeClr val="tx1"/>
                </a:solidFill>
                <a:effectLst/>
                <a:latin typeface="Segoe UI Light" pitchFamily="34" charset="0"/>
                <a:ea typeface="+mn-ea"/>
                <a:cs typeface="+mn-cs"/>
              </a:rPr>
              <a:t> database in SQL Database. The </a:t>
            </a:r>
            <a:r>
              <a:rPr lang="en-US" sz="900" b="1" i="0" u="none" strike="noStrike" kern="1200">
                <a:solidFill>
                  <a:schemeClr val="tx1"/>
                </a:solidFill>
                <a:effectLst/>
                <a:latin typeface="Segoe UI Light" pitchFamily="34" charset="0"/>
                <a:ea typeface="+mn-ea"/>
                <a:cs typeface="+mn-cs"/>
              </a:rPr>
              <a:t>master</a:t>
            </a:r>
            <a:r>
              <a:rPr lang="en-US" sz="900" b="0" i="0" u="none" strike="noStrike" kern="1200">
                <a:solidFill>
                  <a:schemeClr val="tx1"/>
                </a:solidFill>
                <a:effectLst/>
                <a:latin typeface="Segoe UI Light" pitchFamily="34" charset="0"/>
                <a:ea typeface="+mn-ea"/>
                <a:cs typeface="+mn-cs"/>
              </a:rPr>
              <a:t> database contains objects that are needed to perform the TDE operations on the user databases.</a:t>
            </a:r>
          </a:p>
          <a:p>
            <a:r>
              <a:rPr lang="en-US" sz="900" b="0" i="0" u="none" strike="noStrike" kern="1200">
                <a:solidFill>
                  <a:schemeClr val="tx1"/>
                </a:solidFill>
                <a:effectLst/>
                <a:latin typeface="Segoe UI Light" pitchFamily="34" charset="0"/>
                <a:ea typeface="+mn-ea"/>
                <a:cs typeface="+mn-cs"/>
              </a:rPr>
              <a:t>TDE will need to be manually enabled for older databases or Azure SQL Data Warehouse. </a:t>
            </a:r>
          </a:p>
          <a:p>
            <a:r>
              <a:rPr lang="en-US" sz="900" b="0" i="0" u="none" strike="noStrike" kern="1200">
                <a:solidFill>
                  <a:schemeClr val="tx1"/>
                </a:solidFill>
                <a:effectLst/>
                <a:latin typeface="Segoe UI Light" pitchFamily="34" charset="0"/>
                <a:ea typeface="+mn-ea"/>
                <a:cs typeface="+mn-cs"/>
              </a:rPr>
              <a:t>Transparent data encryption encrypts the storage of an entire database by using a symmetric key called the database encryption key. This database encryption key is protected by the transparent data encryption protector. The protector is either a service-managed certificate (service-managed transparent data encryption) or an asymmetric key stored in Azure Key Vault (Bring Your Own Key). You set the transparent data encryption protector at the server level. </a:t>
            </a:r>
          </a:p>
          <a:p>
            <a:r>
              <a:rPr lang="en-US" sz="900" b="0" i="0" u="none" strike="noStrike" kern="1200">
                <a:solidFill>
                  <a:schemeClr val="tx1"/>
                </a:solidFill>
                <a:effectLst/>
                <a:latin typeface="Segoe UI Light" pitchFamily="34" charset="0"/>
                <a:ea typeface="+mn-ea"/>
                <a:cs typeface="+mn-cs"/>
              </a:rPr>
              <a:t>On database startup, the encrypted database encryption key is decrypted and then used for decryption and re-encryption of the database files in the SQL Server Database Engine process. Transparent data encryption performs real-time I/O encryption and decryption of the data at the page level. Each page is decrypted when it's read into memory and then encrypted before being written to disk.</a:t>
            </a:r>
          </a:p>
          <a:p>
            <a:endParaRPr lang="en-US"/>
          </a:p>
          <a:p>
            <a:endParaRPr lang="en-US"/>
          </a:p>
          <a:p>
            <a:r>
              <a:rPr lang="en-US"/>
              <a:t>Key points:</a:t>
            </a:r>
          </a:p>
          <a:p>
            <a:pPr marL="630936" indent="-173736">
              <a:buFont typeface="Arial" panose="020B0604020202020204" pitchFamily="34" charset="0"/>
              <a:buChar char="•"/>
            </a:pPr>
            <a:r>
              <a:rPr lang="en-US" sz="1000" b="1">
                <a:latin typeface="Segoe UI" panose="020B0502040204020203" pitchFamily="34" charset="0"/>
                <a:cs typeface="Segoe UI" panose="020B0502040204020203" pitchFamily="34" charset="0"/>
              </a:rPr>
              <a:t>Fully managed by Azure</a:t>
            </a:r>
          </a:p>
          <a:p>
            <a:pPr marL="1085850" lvl="2"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Support for user-managed TDE using Azure Key Vault planned (strict NDA)</a:t>
            </a:r>
          </a:p>
          <a:p>
            <a:pPr marL="628650" lvl="1" indent="-171450" defTabSz="621720">
              <a:spcBef>
                <a:spcPts val="600"/>
              </a:spcBef>
              <a:spcAft>
                <a:spcPts val="600"/>
              </a:spcAft>
              <a:buFont typeface="Arial" panose="020B0604020202020204" pitchFamily="34" charset="0"/>
              <a:buChar char="•"/>
            </a:pPr>
            <a:r>
              <a:rPr lang="en-US" sz="1000" b="1" kern="1200">
                <a:solidFill>
                  <a:schemeClr val="tx1"/>
                </a:solidFill>
                <a:latin typeface="Segoe UI" panose="020B0502040204020203" pitchFamily="34" charset="0"/>
                <a:cs typeface="Segoe UI" panose="020B0502040204020203" pitchFamily="34" charset="0"/>
              </a:rPr>
              <a:t>Total Data Encryption with Always Encrypted for better performance</a:t>
            </a:r>
          </a:p>
          <a:p>
            <a:pPr marL="1085850" lvl="2" indent="-171450" defTabSz="621720">
              <a:spcBef>
                <a:spcPts val="600"/>
              </a:spcBef>
              <a:spcAft>
                <a:spcPts val="600"/>
              </a:spcAft>
              <a:buFont typeface="Arial" panose="020B0604020202020204" pitchFamily="34" charset="0"/>
              <a:buChar char="•"/>
            </a:pPr>
            <a:r>
              <a:rPr lang="en-US" sz="1000" kern="1200">
                <a:solidFill>
                  <a:schemeClr val="tx1"/>
                </a:solidFill>
                <a:latin typeface="Segoe UI" panose="020B0502040204020203" pitchFamily="34" charset="0"/>
                <a:cs typeface="Segoe UI" panose="020B0502040204020203" pitchFamily="34" charset="0"/>
              </a:rPr>
              <a:t>All cert/key management handled by Azure SQL</a:t>
            </a:r>
          </a:p>
          <a:p>
            <a:pPr marL="628650" lvl="1" indent="-171450" defTabSz="621720">
              <a:spcBef>
                <a:spcPts val="600"/>
              </a:spcBef>
              <a:spcAft>
                <a:spcPts val="600"/>
              </a:spcAft>
              <a:buFont typeface="Arial" panose="020B0604020202020204" pitchFamily="34" charset="0"/>
              <a:buChar char="•"/>
            </a:pPr>
            <a:r>
              <a:rPr lang="en-US" sz="1000" b="1" kern="1200">
                <a:solidFill>
                  <a:schemeClr val="tx1"/>
                </a:solidFill>
                <a:latin typeface="Segoe UI" panose="020B0502040204020203" pitchFamily="34" charset="0"/>
                <a:cs typeface="Segoe UI" panose="020B0502040204020203" pitchFamily="34" charset="0"/>
              </a:rPr>
              <a:t>Simple Interface</a:t>
            </a:r>
          </a:p>
          <a:p>
            <a:pPr marL="1085850" lvl="2" indent="-171450" defTabSz="621720">
              <a:spcBef>
                <a:spcPts val="600"/>
              </a:spcBef>
              <a:spcAft>
                <a:spcPts val="600"/>
              </a:spcAft>
              <a:buFont typeface="Arial" panose="020B0604020202020204" pitchFamily="34" charset="0"/>
              <a:buChar char="•"/>
            </a:pPr>
            <a:r>
              <a:rPr lang="en-US" sz="1000" kern="1200">
                <a:solidFill>
                  <a:schemeClr val="tx1"/>
                </a:solidFill>
                <a:latin typeface="Segoe UI" panose="020B0502040204020203" pitchFamily="34" charset="0"/>
                <a:cs typeface="Segoe UI" panose="020B0502040204020203" pitchFamily="34" charset="0"/>
              </a:rPr>
              <a:t>Single SQL Statement/API call to enable/disable</a:t>
            </a:r>
          </a:p>
          <a:p>
            <a:pPr marL="628650" lvl="1" indent="-171450" defTabSz="621720">
              <a:spcBef>
                <a:spcPts val="600"/>
              </a:spcBef>
              <a:spcAft>
                <a:spcPts val="600"/>
              </a:spcAft>
              <a:buFont typeface="Arial" panose="020B0604020202020204" pitchFamily="34" charset="0"/>
              <a:buChar char="•"/>
            </a:pPr>
            <a:r>
              <a:rPr lang="en-US" sz="1000" b="1">
                <a:solidFill>
                  <a:srgbClr val="000000"/>
                </a:solidFill>
                <a:latin typeface="Segoe UI" panose="020B0502040204020203" pitchFamily="34" charset="0"/>
                <a:cs typeface="Segoe UI" panose="020B0502040204020203" pitchFamily="34" charset="0"/>
              </a:rPr>
              <a:t>Predictable Encryption Performance</a:t>
            </a:r>
          </a:p>
          <a:p>
            <a:pPr marL="1085850" lvl="2" indent="-171450" defTabSz="621720">
              <a:spcBef>
                <a:spcPts val="600"/>
              </a:spcBef>
              <a:spcAft>
                <a:spcPts val="600"/>
              </a:spcAft>
              <a:buFont typeface="Arial" panose="020B0604020202020204" pitchFamily="34" charset="0"/>
              <a:buChar char="•"/>
            </a:pPr>
            <a:r>
              <a:rPr lang="en-US" sz="1000" kern="1200">
                <a:solidFill>
                  <a:schemeClr val="tx1"/>
                </a:solidFill>
                <a:latin typeface="Segoe UI" panose="020B0502040204020203" pitchFamily="34" charset="0"/>
                <a:cs typeface="Segoe UI" panose="020B0502040204020203" pitchFamily="34" charset="0"/>
              </a:rPr>
              <a:t>Uses Azure SQL Database’s editions to ensure predictable performance</a:t>
            </a:r>
          </a:p>
          <a:p>
            <a:pPr marL="628650" lvl="1" indent="-171450" defTabSz="621720">
              <a:spcBef>
                <a:spcPts val="600"/>
              </a:spcBef>
              <a:spcAft>
                <a:spcPts val="600"/>
              </a:spcAft>
              <a:buFont typeface="Arial" panose="020B0604020202020204" pitchFamily="34" charset="0"/>
              <a:buChar char="•"/>
            </a:pPr>
            <a:r>
              <a:rPr lang="en-US" sz="1000" b="1">
                <a:solidFill>
                  <a:srgbClr val="000000"/>
                </a:solidFill>
                <a:latin typeface="Segoe UI" panose="020B0502040204020203" pitchFamily="34" charset="0"/>
                <a:cs typeface="Segoe UI" panose="020B0502040204020203" pitchFamily="34" charset="0"/>
              </a:rPr>
              <a:t>AES-NI Hardware Acceleration</a:t>
            </a:r>
          </a:p>
          <a:p>
            <a:pPr marL="1085850" lvl="2" indent="-171450" defTabSz="621720">
              <a:spcBef>
                <a:spcPts val="600"/>
              </a:spcBef>
              <a:spcAft>
                <a:spcPts val="600"/>
              </a:spcAft>
              <a:buFont typeface="Arial" panose="020B0604020202020204" pitchFamily="34" charset="0"/>
              <a:buChar char="•"/>
            </a:pPr>
            <a:r>
              <a:rPr lang="en-US" sz="1000" kern="1200">
                <a:solidFill>
                  <a:schemeClr val="tx1"/>
                </a:solidFill>
                <a:latin typeface="Segoe UI" panose="020B0502040204020203" pitchFamily="34" charset="0"/>
                <a:cs typeface="Segoe UI" panose="020B0502040204020203" pitchFamily="34" charset="0"/>
              </a:rPr>
              <a:t>Intel’s AES-NI support in TDE means better performance and better value</a:t>
            </a:r>
          </a:p>
          <a:p>
            <a:pPr marL="1085850" lvl="2" indent="-171450" defTabSz="621720">
              <a:spcBef>
                <a:spcPts val="600"/>
              </a:spcBef>
              <a:spcAft>
                <a:spcPts val="600"/>
              </a:spcAft>
              <a:buFont typeface="Arial" panose="020B0604020202020204" pitchFamily="34" charset="0"/>
              <a:buChar char="•"/>
            </a:pPr>
            <a:endParaRPr lang="en-US" sz="1000" kern="1200">
              <a:solidFill>
                <a:schemeClr val="tx1"/>
              </a:solidFill>
              <a:latin typeface="Segoe UI" panose="020B0502040204020203" pitchFamily="34" charset="0"/>
              <a:cs typeface="Segoe UI" panose="020B0502040204020203" pitchFamily="34" charset="0"/>
            </a:endParaRPr>
          </a:p>
          <a:p>
            <a:pPr marL="0" lvl="0" indent="0" defTabSz="621720">
              <a:spcBef>
                <a:spcPts val="600"/>
              </a:spcBef>
              <a:spcAft>
                <a:spcPts val="600"/>
              </a:spcAft>
              <a:buFont typeface="Arial" panose="020B0604020202020204" pitchFamily="34" charset="0"/>
              <a:buNone/>
            </a:pPr>
            <a:r>
              <a:rPr lang="en-US" sz="1000" kern="1200">
                <a:solidFill>
                  <a:schemeClr val="tx1"/>
                </a:solidFill>
                <a:latin typeface="Segoe UI" panose="020B0502040204020203" pitchFamily="34" charset="0"/>
                <a:cs typeface="Segoe UI" panose="020B0502040204020203" pitchFamily="34" charset="0"/>
              </a:rPr>
              <a:t>Reference: https://docs.microsoft.com/en-us/azure/sql-database/transparent-data-encryption-byok-azure-sql?view=sql-server-2017</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380778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u="none" strike="noStrike" kern="1200">
                <a:solidFill>
                  <a:schemeClr val="tx1"/>
                </a:solidFill>
                <a:effectLst/>
                <a:latin typeface="Segoe UI Light" pitchFamily="34" charset="0"/>
                <a:ea typeface="+mn-ea"/>
                <a:cs typeface="+mn-cs"/>
              </a:rPr>
              <a:t>Service-managed transparent data encryption</a:t>
            </a:r>
          </a:p>
          <a:p>
            <a:r>
              <a:rPr lang="en-US" sz="800" b="0" i="0" u="none" strike="noStrike" kern="1200">
                <a:solidFill>
                  <a:schemeClr val="tx1"/>
                </a:solidFill>
                <a:effectLst/>
                <a:latin typeface="Segoe UI Light" pitchFamily="34" charset="0"/>
                <a:ea typeface="+mn-ea"/>
                <a:cs typeface="+mn-cs"/>
              </a:rPr>
              <a:t>In Azure, the default setting for transparent data encryption is that the database encryption key is protected by a built-in server certificate. The built-in server certificate is unique for each server. If a database is in a geo-replication relationship, both the primary and geo-secondary database are protected by the primary database's parent server key. If two databases are connected to the same server, they share the same built-in certificate. Microsoft automatically rotates these certificates at least every 90 days.</a:t>
            </a:r>
          </a:p>
          <a:p>
            <a:r>
              <a:rPr lang="en-US" sz="800" b="0" i="0" u="none" strike="noStrike" kern="1200">
                <a:solidFill>
                  <a:schemeClr val="tx1"/>
                </a:solidFill>
                <a:effectLst/>
                <a:latin typeface="Segoe UI Light" pitchFamily="34" charset="0"/>
                <a:ea typeface="+mn-ea"/>
                <a:cs typeface="+mn-cs"/>
              </a:rPr>
              <a:t>Microsoft also seamlessly moves and manages the keys as needed for geo-replication and restores. </a:t>
            </a:r>
          </a:p>
          <a:p>
            <a:endParaRPr lang="en-US"/>
          </a:p>
          <a:p>
            <a:r>
              <a:rPr lang="en-US" sz="800" b="1" i="0" u="none" strike="noStrike" kern="1200">
                <a:solidFill>
                  <a:schemeClr val="tx1"/>
                </a:solidFill>
                <a:effectLst/>
                <a:latin typeface="Segoe UI Light" pitchFamily="34" charset="0"/>
                <a:ea typeface="+mn-ea"/>
                <a:cs typeface="+mn-cs"/>
              </a:rPr>
              <a:t>Bring Your Own Key</a:t>
            </a:r>
          </a:p>
          <a:p>
            <a:r>
              <a:rPr lang="en-US" sz="800" b="0" i="0" u="none" strike="noStrike" kern="1200">
                <a:solidFill>
                  <a:schemeClr val="tx1"/>
                </a:solidFill>
                <a:effectLst/>
                <a:latin typeface="Segoe UI Light" pitchFamily="34" charset="0"/>
                <a:ea typeface="+mn-ea"/>
                <a:cs typeface="+mn-cs"/>
              </a:rPr>
              <a:t>With Bring Your Own Key support, you can take control over your transparent data encryption keys and control who can access them and when. Key Vault, which is the Azure cloud-based external key management system, is the first key management service that transparent data encryption has integrated with Bring Your Own Key support. With Bring Your Own Key support, the database encryption key is protected by an asymmetric key stored in Key Vault. The asymmetric key never leaves Key Vault. After the server has permissions to a key vault, the server sends basic key operation requests to it through Key Vault. You set the asymmetric key at the server level, and all databases under that server inherit it.</a:t>
            </a:r>
          </a:p>
          <a:p>
            <a:r>
              <a:rPr lang="en-US" sz="800" b="0" i="0" u="none" strike="noStrike" kern="1200">
                <a:solidFill>
                  <a:schemeClr val="tx1"/>
                </a:solidFill>
                <a:effectLst/>
                <a:latin typeface="Segoe UI Light" pitchFamily="34" charset="0"/>
                <a:ea typeface="+mn-ea"/>
                <a:cs typeface="+mn-cs"/>
              </a:rPr>
              <a:t>With Bring Your Own Key support, you now can control key management tasks such as key rotations and key vault permissions. You also can delete keys and enable auditing/reporting on all encryption keys. Key Vault provides central key management and uses tightly monitored hardware security modules (HSM). Key Vault promotes separation of management of keys and data to help meet regulatory complianc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6</a:t>
            </a:fld>
            <a:endParaRPr lang="en-US" noProof="0"/>
          </a:p>
        </p:txBody>
      </p:sp>
    </p:spTree>
    <p:extLst>
      <p:ext uri="{BB962C8B-B14F-4D97-AF65-F5344CB8AC3E}">
        <p14:creationId xmlns:p14="http://schemas.microsoft.com/office/powerpoint/2010/main" val="40751995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To configure TDE through the Azure portal, you must be connected as the Azure Owner, Contributor, or SQL Security Manager. </a:t>
            </a:r>
          </a:p>
          <a:p>
            <a:r>
              <a:rPr lang="en-US" sz="800" b="0" i="0" u="none" strike="noStrike" kern="1200">
                <a:solidFill>
                  <a:schemeClr val="tx1"/>
                </a:solidFill>
                <a:effectLst/>
                <a:latin typeface="Segoe UI Light" pitchFamily="34" charset="0"/>
                <a:ea typeface="+mn-ea"/>
                <a:cs typeface="+mn-cs"/>
              </a:rPr>
              <a:t>You set TDE on the database level. To enable TDE on a database, go to the </a:t>
            </a:r>
            <a:r>
              <a:rPr lang="en-US" sz="800" b="0" i="0" u="sng" strike="noStrike" kern="1200">
                <a:solidFill>
                  <a:schemeClr val="tx1"/>
                </a:solidFill>
                <a:effectLst/>
                <a:latin typeface="Segoe UI Light" pitchFamily="34" charset="0"/>
                <a:ea typeface="+mn-ea"/>
                <a:cs typeface="+mn-cs"/>
                <a:hlinkClick r:id="rId3"/>
              </a:rPr>
              <a:t>Azure portal</a:t>
            </a:r>
            <a:r>
              <a:rPr lang="en-US" sz="800" b="0" i="0" u="none" strike="noStrike" kern="1200">
                <a:solidFill>
                  <a:schemeClr val="tx1"/>
                </a:solidFill>
                <a:effectLst/>
                <a:latin typeface="Segoe UI Light" pitchFamily="34" charset="0"/>
                <a:ea typeface="+mn-ea"/>
                <a:cs typeface="+mn-cs"/>
              </a:rPr>
              <a:t> and sign in with your Azure Administrator or Contributor account. Find the TDE settings under your user database blade. By default, service-managed TDE is used. A TDE certificate is automatically generated for the server that contains the database. </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7</a:t>
            </a:fld>
            <a:endParaRPr lang="en-US" noProof="0"/>
          </a:p>
        </p:txBody>
      </p:sp>
    </p:spTree>
    <p:extLst>
      <p:ext uri="{BB962C8B-B14F-4D97-AF65-F5344CB8AC3E}">
        <p14:creationId xmlns:p14="http://schemas.microsoft.com/office/powerpoint/2010/main" val="30291588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kern="1200">
                <a:solidFill>
                  <a:schemeClr val="tx1"/>
                </a:solidFill>
                <a:effectLst/>
                <a:latin typeface="Segoe UI Light" pitchFamily="34" charset="0"/>
                <a:ea typeface="+mn-ea"/>
                <a:cs typeface="+mn-cs"/>
              </a:rPr>
              <a:t>Azure SQL </a:t>
            </a:r>
            <a:r>
              <a:rPr lang="en-US" sz="800" b="0" i="0" u="sng" kern="1200">
                <a:solidFill>
                  <a:schemeClr val="tx1"/>
                </a:solidFill>
                <a:effectLst/>
                <a:latin typeface="Segoe UI Light" pitchFamily="34" charset="0"/>
                <a:ea typeface="+mn-ea"/>
                <a:cs typeface="+mn-cs"/>
                <a:hlinkClick r:id="rId3"/>
              </a:rPr>
              <a:t>Transparent Data Encryption (TDE)</a:t>
            </a:r>
            <a:r>
              <a:rPr lang="en-US" sz="800" b="0" i="0" kern="1200">
                <a:solidFill>
                  <a:schemeClr val="tx1"/>
                </a:solidFill>
                <a:effectLst/>
                <a:latin typeface="Segoe UI Light" pitchFamily="34" charset="0"/>
                <a:ea typeface="+mn-ea"/>
                <a:cs typeface="+mn-cs"/>
              </a:rPr>
              <a:t> with customer-managed key enables Bring Your Own Key (BYOK) scenario for data protection at rest, and allows organizations to implement separation of duties in the management of keys and data. With customer-managed transparent data encryption, customer is responsible for and in a full control of a key lifecycle management (key creation, upload, rotation, deletion), key usage permissions, and auditing of operations on keys.</a:t>
            </a:r>
          </a:p>
          <a:p>
            <a:r>
              <a:rPr lang="en-US" sz="800" b="0" i="0" kern="1200">
                <a:solidFill>
                  <a:schemeClr val="tx1"/>
                </a:solidFill>
                <a:effectLst/>
                <a:latin typeface="Segoe UI Light" pitchFamily="34" charset="0"/>
                <a:ea typeface="+mn-ea"/>
                <a:cs typeface="+mn-cs"/>
              </a:rPr>
              <a:t>In this scenario, the key used for encryption of the Database Encryption Key (DEK), called TDE protector, is a customer-managed asymmetric key stored in a customer-owned and customer-managed </a:t>
            </a:r>
            <a:r>
              <a:rPr lang="en-US" sz="800" b="0" i="0" u="sng" kern="1200">
                <a:solidFill>
                  <a:schemeClr val="tx1"/>
                </a:solidFill>
                <a:effectLst/>
                <a:latin typeface="Segoe UI Light" pitchFamily="34" charset="0"/>
                <a:ea typeface="+mn-ea"/>
                <a:cs typeface="+mn-cs"/>
                <a:hlinkClick r:id="rId4"/>
              </a:rPr>
              <a:t>Azure Key Vault (AKV)</a:t>
            </a:r>
            <a:r>
              <a:rPr lang="en-US" sz="800" b="0" i="0" kern="1200">
                <a:solidFill>
                  <a:schemeClr val="tx1"/>
                </a:solidFill>
                <a:effectLst/>
                <a:latin typeface="Segoe UI Light" pitchFamily="34" charset="0"/>
                <a:ea typeface="+mn-ea"/>
                <a:cs typeface="+mn-cs"/>
              </a:rPr>
              <a:t>, a cloud-based external key management system. Key Vault is highly available and scalable secure storage for RSA cryptographic keys, optionally backed by FIPS 140-2 Level 2 validated hardware security modules (HSMs). It doesn't allow direct access to a stored key, but provides services of encryption/decryption using the key to the authorized entities. The key can be generated by the key vault, imported, or </a:t>
            </a:r>
            <a:r>
              <a:rPr lang="en-US" sz="800" b="0" i="0" u="sng" kern="1200">
                <a:solidFill>
                  <a:schemeClr val="tx1"/>
                </a:solidFill>
                <a:effectLst/>
                <a:latin typeface="Segoe UI Light" pitchFamily="34" charset="0"/>
                <a:ea typeface="+mn-ea"/>
                <a:cs typeface="+mn-cs"/>
                <a:hlinkClick r:id="rId5"/>
              </a:rPr>
              <a:t>transferred to the key vault from an on-prem HSM device</a:t>
            </a:r>
            <a:r>
              <a:rPr lang="en-US" sz="800" b="0" i="0" kern="1200">
                <a:solidFill>
                  <a:schemeClr val="tx1"/>
                </a:solidFill>
                <a:effectLst/>
                <a:latin typeface="Segoe UI Light" pitchFamily="34" charset="0"/>
                <a:ea typeface="+mn-ea"/>
                <a:cs typeface="+mn-cs"/>
              </a:rPr>
              <a:t>.</a:t>
            </a:r>
          </a:p>
          <a:p>
            <a:endParaRPr lang="en-US" sz="800" b="0" i="0" kern="1200">
              <a:solidFill>
                <a:schemeClr val="tx1"/>
              </a:solidFill>
              <a:effectLst/>
              <a:latin typeface="Segoe UI Light" pitchFamily="34" charset="0"/>
              <a:ea typeface="+mn-ea"/>
              <a:cs typeface="+mn-cs"/>
            </a:endParaRPr>
          </a:p>
          <a:p>
            <a:r>
              <a:rPr lang="en-US" sz="800" b="1" i="0" kern="1200">
                <a:solidFill>
                  <a:schemeClr val="tx1"/>
                </a:solidFill>
                <a:effectLst/>
                <a:latin typeface="Segoe UI Light" pitchFamily="34" charset="0"/>
                <a:ea typeface="+mn-ea"/>
                <a:cs typeface="+mn-cs"/>
              </a:rPr>
              <a:t>Benefits of the customer-managed TD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Customer-managed TDE provides the following benefits to the customer:</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Full and granular control over usage and management of the TDE protector;</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Transparency of the TDE protector usag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Ability to implement separation of duties in the management of keys and data within the organization;</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Key Vault administrator can revoke key access permissions to make encrypted database inaccessible;</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Central management of keys in AKV;</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Greater trust from your end customers, since AKV is designed such that Microsoft cannot see nor extract encryption keys;</a:t>
            </a:r>
          </a:p>
          <a:p>
            <a:endParaRPr lang="en-US" sz="800" b="0" i="0" kern="1200">
              <a:solidFill>
                <a:schemeClr val="tx1"/>
              </a:solidFill>
              <a:effectLst/>
              <a:latin typeface="Segoe UI Light" pitchFamily="34" charset="0"/>
              <a:ea typeface="+mn-ea"/>
              <a:cs typeface="+mn-cs"/>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8</a:t>
            </a:fld>
            <a:endParaRPr lang="en-US" noProof="0"/>
          </a:p>
        </p:txBody>
      </p:sp>
    </p:spTree>
    <p:extLst>
      <p:ext uri="{BB962C8B-B14F-4D97-AF65-F5344CB8AC3E}">
        <p14:creationId xmlns:p14="http://schemas.microsoft.com/office/powerpoint/2010/main" val="30422839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05Demo01</a:t>
            </a:r>
          </a:p>
          <a:p>
            <a:endParaRPr lang="en-US" sz="600"/>
          </a:p>
          <a:p>
            <a:r>
              <a:rPr lang="en-US" sz="600"/>
              <a:t>In this demo you will show how you can enable TDE with the Bring Your Own Key option. Since we do not have our own key, we’re going to generate a new one in Azure Key Vault.</a:t>
            </a:r>
            <a:endParaRPr lang="nl-BE" sz="600"/>
          </a:p>
          <a:p>
            <a:pPr marL="0" indent="0">
              <a:buFont typeface="Arial" panose="020B0604020202020204" pitchFamily="34" charset="0"/>
              <a:buNone/>
            </a:pPr>
            <a:r>
              <a:rPr lang="nl-BE" sz="600" b="1"/>
              <a:t>Demo Requirements</a:t>
            </a:r>
            <a:endParaRPr lang="nl-BE" sz="600" b="0"/>
          </a:p>
          <a:p>
            <a:pPr marL="171450" indent="-171450">
              <a:buFontTx/>
              <a:buChar char="-"/>
            </a:pPr>
            <a:r>
              <a:rPr lang="nl-BE" sz="600" b="0"/>
              <a:t>Your logical server that you have created in Module 1</a:t>
            </a:r>
          </a:p>
          <a:p>
            <a:pPr marL="171450" indent="-171450">
              <a:buFontTx/>
              <a:buChar char="-"/>
            </a:pPr>
            <a:r>
              <a:rPr lang="nl-BE" sz="600" b="0"/>
              <a:t>Make sure that GEO-Replication is NOT turned on for the Salesdb</a:t>
            </a:r>
          </a:p>
          <a:p>
            <a:pPr marL="0" indent="0">
              <a:buFontTx/>
              <a:buNone/>
            </a:pPr>
            <a:r>
              <a:rPr lang="nl-BE" sz="600" b="1"/>
              <a:t>Demo Steps:</a:t>
            </a:r>
            <a:endParaRPr lang="nl-BE" sz="600" b="0"/>
          </a:p>
          <a:p>
            <a:pPr marL="228600" indent="-228600">
              <a:buFontTx/>
              <a:buAutoNum type="arabicPeriod"/>
            </a:pPr>
            <a:r>
              <a:rPr lang="nl-BE" sz="600" b="0"/>
              <a:t>Open the Azure Portal, go to you logical server and select Transparent Data Encryption</a:t>
            </a:r>
          </a:p>
          <a:p>
            <a:pPr marL="228600" indent="-228600">
              <a:buFontTx/>
              <a:buAutoNum type="arabicPeriod"/>
            </a:pPr>
            <a:r>
              <a:rPr lang="nl-BE" sz="600" b="0"/>
              <a:t>Use your own key – select Yes</a:t>
            </a:r>
          </a:p>
          <a:p>
            <a:pPr marL="228600" indent="-228600">
              <a:buFontTx/>
              <a:buAutoNum type="arabicPeriod"/>
            </a:pPr>
            <a:r>
              <a:rPr lang="nl-BE" sz="600" b="0"/>
              <a:t>Click Select a key</a:t>
            </a:r>
          </a:p>
          <a:p>
            <a:pPr marL="228600" indent="-228600">
              <a:buFontTx/>
              <a:buAutoNum type="arabicPeriod"/>
            </a:pPr>
            <a:r>
              <a:rPr lang="nl-BE" sz="600" b="0"/>
              <a:t>Click on Key Vault and Create a new Vault</a:t>
            </a:r>
          </a:p>
          <a:p>
            <a:pPr marL="445862" lvl="1" indent="-228600">
              <a:buFont typeface="+mj-lt"/>
              <a:buAutoNum type="alphaLcParenR"/>
            </a:pPr>
            <a:r>
              <a:rPr lang="nl-BE" sz="600" b="0"/>
              <a:t>Name – Enter a unique for the Vault</a:t>
            </a:r>
          </a:p>
          <a:p>
            <a:pPr marL="445862" lvl="1" indent="-228600">
              <a:buFont typeface="+mj-lt"/>
              <a:buAutoNum type="alphaLcParenR"/>
            </a:pPr>
            <a:r>
              <a:rPr lang="nl-BE" sz="600" b="0"/>
              <a:t>Select your subscription</a:t>
            </a:r>
          </a:p>
          <a:p>
            <a:pPr marL="445862" lvl="1" indent="-228600">
              <a:buFont typeface="+mj-lt"/>
              <a:buAutoNum type="alphaLcParenR"/>
            </a:pPr>
            <a:r>
              <a:rPr lang="nl-BE" sz="600" b="0"/>
              <a:t>Use the existing Resource Group that you have created during Module 1</a:t>
            </a:r>
          </a:p>
          <a:p>
            <a:pPr marL="445862" lvl="1" indent="-228600">
              <a:buFont typeface="+mj-lt"/>
              <a:buAutoNum type="alphaLcParenR"/>
            </a:pPr>
            <a:r>
              <a:rPr lang="nl-BE" sz="600" b="0"/>
              <a:t>Leave the location to the default location</a:t>
            </a:r>
          </a:p>
          <a:p>
            <a:pPr marL="445862" lvl="1" indent="-228600">
              <a:buFont typeface="+mj-lt"/>
              <a:buAutoNum type="alphaLcParenR"/>
            </a:pPr>
            <a:r>
              <a:rPr lang="nl-BE" sz="600" b="0"/>
              <a:t>Pricing Tier – Standard</a:t>
            </a:r>
          </a:p>
          <a:p>
            <a:pPr marL="445770" lvl="1" indent="-228600">
              <a:buAutoNum type="alphaLcParenR"/>
            </a:pPr>
            <a:r>
              <a:rPr lang="nl-BE" sz="600">
                <a:cs typeface="Segoe UI"/>
              </a:rPr>
              <a:t>Soft-delete – Enable recovery of this vault and it's object</a:t>
            </a:r>
            <a:endParaRPr lang="nl-BE" sz="600"/>
          </a:p>
          <a:p>
            <a:pPr marL="445862" lvl="1" indent="-228600">
              <a:buFont typeface="+mj-lt"/>
              <a:buAutoNum type="alphaLcParenR"/>
            </a:pPr>
            <a:r>
              <a:rPr lang="nl-BE" sz="600" b="0"/>
              <a:t>Access Policies – Leave the default, only your user</a:t>
            </a:r>
          </a:p>
          <a:p>
            <a:pPr marL="445862" lvl="1" indent="-228600">
              <a:buFont typeface="+mj-lt"/>
              <a:buAutoNum type="alphaLcParenR"/>
            </a:pPr>
            <a:r>
              <a:rPr lang="nl-BE" sz="600" b="0"/>
              <a:t>Virtual Networks – All networks can access</a:t>
            </a:r>
          </a:p>
          <a:p>
            <a:pPr marL="445770" lvl="1" indent="-228600">
              <a:buAutoNum type="alphaLcParenR"/>
            </a:pPr>
            <a:r>
              <a:rPr lang="nl-BE" sz="600">
                <a:cs typeface="Segoe UI"/>
              </a:rPr>
              <a:t>Create Key Vault</a:t>
            </a:r>
            <a:endParaRPr lang="nl-BE" sz="600" b="0">
              <a:cs typeface="Segoe UI"/>
            </a:endParaRPr>
          </a:p>
          <a:p>
            <a:pPr marL="228600" indent="-228600">
              <a:buFont typeface="+mj-lt"/>
              <a:buAutoNum type="arabicPeriod" startAt="6"/>
            </a:pPr>
            <a:r>
              <a:rPr lang="en-US" sz="600"/>
              <a:t>Go to Key Vault just created and</a:t>
            </a:r>
            <a:r>
              <a:rPr lang="en-US" sz="600" b="0"/>
              <a:t> click Keys</a:t>
            </a:r>
            <a:endParaRPr lang="en-US" sz="600" b="0">
              <a:cs typeface="Segoe UI"/>
            </a:endParaRPr>
          </a:p>
          <a:p>
            <a:pPr marL="228600" lvl="0" indent="-228600">
              <a:buFont typeface="+mj-lt"/>
              <a:buAutoNum type="arabicPeriod" startAt="6"/>
            </a:pPr>
            <a:r>
              <a:rPr lang="en-US" sz="600" b="0"/>
              <a:t>Configure the following settings for the key</a:t>
            </a:r>
          </a:p>
          <a:p>
            <a:pPr marL="445862" lvl="1" indent="-228600">
              <a:buFont typeface="+mj-lt"/>
              <a:buAutoNum type="alphaLcParenR"/>
            </a:pPr>
            <a:r>
              <a:rPr lang="en-US" sz="600" b="0"/>
              <a:t>Options – Generate</a:t>
            </a:r>
          </a:p>
          <a:p>
            <a:pPr marL="445862" lvl="1" indent="-228600">
              <a:buFont typeface="+mj-lt"/>
              <a:buAutoNum type="alphaLcParenR"/>
            </a:pPr>
            <a:r>
              <a:rPr lang="en-US" sz="600" b="0"/>
              <a:t>Name – Provide a name for the key</a:t>
            </a:r>
          </a:p>
          <a:p>
            <a:pPr marL="445862" lvl="1" indent="-228600">
              <a:buFont typeface="+mj-lt"/>
              <a:buAutoNum type="alphaLcParenR"/>
            </a:pPr>
            <a:r>
              <a:rPr lang="en-US" sz="600" b="0"/>
              <a:t>Key Type – RSA</a:t>
            </a:r>
          </a:p>
          <a:p>
            <a:pPr marL="445862" lvl="1" indent="-228600">
              <a:buFont typeface="+mj-lt"/>
              <a:buAutoNum type="alphaLcParenR"/>
            </a:pPr>
            <a:r>
              <a:rPr lang="en-US" sz="600" b="0"/>
              <a:t>RSA Key Size – 2048</a:t>
            </a:r>
          </a:p>
          <a:p>
            <a:pPr marL="445862" lvl="1" indent="-228600">
              <a:buFont typeface="+mj-lt"/>
              <a:buAutoNum type="alphaLcParenR"/>
            </a:pPr>
            <a:r>
              <a:rPr lang="en-US" sz="600" b="0"/>
              <a:t>Do not set an activation or expiration date</a:t>
            </a:r>
          </a:p>
          <a:p>
            <a:pPr marL="445862" lvl="1" indent="-228600">
              <a:buFont typeface="+mj-lt"/>
              <a:buAutoNum type="alphaLcParenR"/>
            </a:pPr>
            <a:r>
              <a:rPr lang="en-US" sz="600" b="0"/>
              <a:t>Enabled? – Yes</a:t>
            </a:r>
          </a:p>
          <a:p>
            <a:pPr marL="228600" lvl="0" indent="-228600">
              <a:buFont typeface="+mj-lt"/>
              <a:buAutoNum type="arabicPeriod" startAt="6"/>
            </a:pPr>
            <a:r>
              <a:rPr lang="en-US" sz="600" b="0"/>
              <a:t>Once the Key vault and the key are provisioned, click save to enable TDE with your own key</a:t>
            </a:r>
          </a:p>
          <a:p>
            <a:pPr marL="445862" lvl="1" indent="-228600">
              <a:buFont typeface="+mj-lt"/>
              <a:buAutoNum type="arabicPeriod"/>
            </a:pPr>
            <a:endParaRPr lang="en-US" sz="600" b="0"/>
          </a:p>
          <a:p>
            <a:pPr marL="0" lvl="0" indent="0">
              <a:buFontTx/>
              <a:buNone/>
            </a:pPr>
            <a:endParaRPr lang="en-US" sz="600" b="0"/>
          </a:p>
          <a:p>
            <a:pPr marL="0" lvl="0" indent="0">
              <a:buFontTx/>
              <a:buNone/>
            </a:pPr>
            <a:endParaRPr lang="en-US" sz="600" b="0"/>
          </a:p>
          <a:p>
            <a:pPr marL="0" indent="0">
              <a:buFont typeface="Arial" panose="020B0604020202020204" pitchFamily="34" charset="0"/>
              <a:buNone/>
            </a:pPr>
            <a:endParaRPr lang="en-US" sz="60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As in most security solutions, Azure SQL Database supports a multi-layer security approach which includes firewall technology, encryption strategies, role-based access control and other features.</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a:p>
        </p:txBody>
      </p:sp>
    </p:spTree>
    <p:extLst>
      <p:ext uri="{BB962C8B-B14F-4D97-AF65-F5344CB8AC3E}">
        <p14:creationId xmlns:p14="http://schemas.microsoft.com/office/powerpoint/2010/main" val="4024498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Q1: </a:t>
            </a:r>
            <a:r>
              <a:rPr lang="en-US" sz="900">
                <a:solidFill>
                  <a:srgbClr val="FFFFFF"/>
                </a:solidFill>
              </a:rPr>
              <a:t>Does TDE encrypt the data in motion?</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r>
              <a:rPr lang="en-AU">
                <a:cs typeface="Segoe UI Light"/>
              </a:rPr>
              <a:t>Answer 1: </a:t>
            </a:r>
            <a:r>
              <a:rPr lang="en-AU" b="1">
                <a:cs typeface="Segoe UI Light"/>
              </a:rPr>
              <a:t>No, it encrypts data only at rest.</a:t>
            </a:r>
          </a:p>
          <a:p>
            <a:r>
              <a:rPr lang="en-US">
                <a:cs typeface="Segoe UI Light"/>
              </a:rPr>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a:cs typeface="Segoe UI Light"/>
              </a:rPr>
              <a:t>Q2: </a:t>
            </a:r>
            <a:r>
              <a:rPr lang="en-US" sz="900">
                <a:solidFill>
                  <a:srgbClr val="FFFFFF"/>
                </a:solidFill>
              </a:rPr>
              <a:t>What kind of application changes are required to use TDE?</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AU">
                <a:cs typeface="Segoe UI Light"/>
              </a:rPr>
              <a:t>Answer 2:  </a:t>
            </a:r>
            <a:r>
              <a:rPr lang="en-AU" b="1">
                <a:cs typeface="Segoe UI Light"/>
              </a:rPr>
              <a:t>There are no application changes required for this feature.</a:t>
            </a:r>
          </a:p>
          <a:p>
            <a:endParaRPr lang="en-AU">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FFFFFF"/>
                </a:solidFill>
              </a:rPr>
              <a:t>Q3: Which 2 types of Encryption Keys can be used for TDE?</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AU">
                <a:cs typeface="Segoe UI Light"/>
              </a:rPr>
              <a:t>Answer 3: </a:t>
            </a:r>
            <a:r>
              <a:rPr lang="en-AU" b="1">
                <a:cs typeface="Segoe UI Light"/>
              </a:rPr>
              <a:t>Service-managed TDE and Bring Your Own Key</a:t>
            </a:r>
          </a:p>
          <a:p>
            <a:endParaRPr lang="en-AU">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a:p>
        </p:txBody>
      </p:sp>
    </p:spTree>
    <p:extLst>
      <p:ext uri="{BB962C8B-B14F-4D97-AF65-F5344CB8AC3E}">
        <p14:creationId xmlns:p14="http://schemas.microsoft.com/office/powerpoint/2010/main" val="33648557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lumMod val="95000"/>
                  </a:schemeClr>
                </a:solidFill>
              </a:rPr>
              <a:t>Always Encrypted</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a:p>
        </p:txBody>
      </p:sp>
    </p:spTree>
    <p:extLst>
      <p:ext uri="{BB962C8B-B14F-4D97-AF65-F5344CB8AC3E}">
        <p14:creationId xmlns:p14="http://schemas.microsoft.com/office/powerpoint/2010/main" val="9286183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lumMod val="95000"/>
                  </a:schemeClr>
                </a:solidFill>
              </a:rPr>
              <a:t>Always Encrypted</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Always Encrypted provides an end-to-end encryption solution which encrypts sensitive data at rest and in motion. It enables you to protect your data from everyone, including administrators, while allowing access to data owners who need to use the sensitive data.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a:p>
        </p:txBody>
      </p:sp>
    </p:spTree>
    <p:extLst>
      <p:ext uri="{BB962C8B-B14F-4D97-AF65-F5344CB8AC3E}">
        <p14:creationId xmlns:p14="http://schemas.microsoft.com/office/powerpoint/2010/main" val="32519066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00" b="0" i="0" kern="1200">
                <a:solidFill>
                  <a:schemeClr val="tx1"/>
                </a:solidFill>
                <a:effectLst/>
                <a:latin typeface="Segoe UI" panose="020B0502040204020203" pitchFamily="34" charset="0"/>
                <a:cs typeface="Segoe UI" panose="020B0502040204020203" pitchFamily="34" charset="0"/>
              </a:rPr>
              <a:t>Always Encrypted allows clients to encrypt sensitive data inside client applications and never reveal the encryption keys to the database engine (SQL Database or SQL Server). As a result, Always Encrypted provides a separation between those who own the data (and can view it) and those who manage the data (but should have no access). By ensuring on-premises database administrators, cloud database operators, or other high-privileged, but unauthorized users, cannot access the encrypted data, Always Encrypted enables customers to confidently store sensitive data outside of their direct control. This allows organizations to encrypt data at rest and in use for storage in Azure, to enable delegation of on-premises database administration to third parties, or to reduce security clearance requirements for their own DBA staff.</a:t>
            </a:r>
          </a:p>
          <a:p>
            <a:pPr marL="171450" indent="-171450">
              <a:buFont typeface="Arial" panose="020B0604020202020204" pitchFamily="34" charset="0"/>
              <a:buChar char="•"/>
            </a:pPr>
            <a:r>
              <a:rPr lang="en-US" sz="800" b="0" i="0" kern="1200">
                <a:solidFill>
                  <a:schemeClr val="tx1"/>
                </a:solidFill>
                <a:effectLst/>
                <a:latin typeface="Segoe UI" panose="020B0502040204020203" pitchFamily="34" charset="0"/>
                <a:cs typeface="Segoe UI" panose="020B0502040204020203" pitchFamily="34" charset="0"/>
              </a:rPr>
              <a:t>Always Encrypted makes encryption transparent to applications. An Always Encrypted-enabled driver installed on the client computer achieves this by automatically encrypting and decrypting sensitive data in the client application. The driver encrypts the data in sensitive columns before passing the data to the database </a:t>
            </a:r>
            <a:r>
              <a:rPr lang="en-US" sz="800">
                <a:latin typeface="Segoe UI" panose="020B0502040204020203" pitchFamily="34" charset="0"/>
                <a:cs typeface="Segoe UI" panose="020B0502040204020203" pitchFamily="34" charset="0"/>
              </a:rPr>
              <a:t>e</a:t>
            </a:r>
            <a:r>
              <a:rPr lang="en-US" sz="800" b="0" i="0" kern="1200">
                <a:solidFill>
                  <a:schemeClr val="tx1"/>
                </a:solidFill>
                <a:effectLst/>
                <a:latin typeface="Segoe UI" panose="020B0502040204020203" pitchFamily="34" charset="0"/>
                <a:cs typeface="Segoe UI" panose="020B0502040204020203" pitchFamily="34" charset="0"/>
              </a:rPr>
              <a:t>ngine, and automatically rewrites queries so that the semantics to the application are preserved. Similarly, the driver transparently decrypts data, stored in encrypted database columns, contained in query results.</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a:p>
        </p:txBody>
      </p:sp>
    </p:spTree>
    <p:extLst>
      <p:ext uri="{BB962C8B-B14F-4D97-AF65-F5344CB8AC3E}">
        <p14:creationId xmlns:p14="http://schemas.microsoft.com/office/powerpoint/2010/main" val="17734277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The driver encrypts the data in sensitive columns before passing the data to SQL Server, and automatically rewrites queries so that the semantics to the application are preserved. Similarly, the driver transparently decrypts data, stored in encrypted database columns, contained in query results. Here are the details on how these feature works:</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Users specify individual columns of particular tables to be encrypted</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Once encrypted, the data appears as an encrypted binary blob at all stages within the SQL Server database: on disk, in memory, during computations, and over the network</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Users use a certificate store to save the encryption key. </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Both encryption and decryption are done by the </a:t>
            </a:r>
            <a:r>
              <a:rPr lang="en-US" sz="1000" kern="1200" err="1">
                <a:solidFill>
                  <a:schemeClr val="tx1"/>
                </a:solidFill>
                <a:effectLst/>
                <a:latin typeface="Segoe UI" panose="020B0502040204020203" pitchFamily="34" charset="0"/>
                <a:cs typeface="Segoe UI" panose="020B0502040204020203" pitchFamily="34" charset="0"/>
              </a:rPr>
              <a:t>ADO.Net</a:t>
            </a:r>
            <a:r>
              <a:rPr lang="en-US" sz="1000" kern="1200">
                <a:solidFill>
                  <a:schemeClr val="tx1"/>
                </a:solidFill>
                <a:effectLst/>
                <a:latin typeface="Segoe UI" panose="020B0502040204020203" pitchFamily="34" charset="0"/>
                <a:cs typeface="Segoe UI" panose="020B0502040204020203" pitchFamily="34" charset="0"/>
              </a:rPr>
              <a:t> </a:t>
            </a:r>
            <a:r>
              <a:rPr lang="en-US" sz="1000" kern="1200" err="1">
                <a:solidFill>
                  <a:schemeClr val="tx1"/>
                </a:solidFill>
                <a:effectLst/>
                <a:latin typeface="Segoe UI" panose="020B0502040204020203" pitchFamily="34" charset="0"/>
                <a:cs typeface="Segoe UI" panose="020B0502040204020203" pitchFamily="34" charset="0"/>
              </a:rPr>
              <a:t>SqlClient</a:t>
            </a:r>
            <a:r>
              <a:rPr lang="en-US" sz="1000" kern="1200">
                <a:solidFill>
                  <a:schemeClr val="tx1"/>
                </a:solidFill>
                <a:effectLst/>
                <a:latin typeface="Segoe UI" panose="020B0502040204020203" pitchFamily="34" charset="0"/>
                <a:cs typeface="Segoe UI" panose="020B0502040204020203" pitchFamily="34" charset="0"/>
              </a:rPr>
              <a:t> driver for </a:t>
            </a:r>
            <a:r>
              <a:rPr lang="en-US" sz="1000" kern="1200" err="1">
                <a:solidFill>
                  <a:schemeClr val="tx1"/>
                </a:solidFill>
                <a:effectLst/>
                <a:latin typeface="Segoe UI" panose="020B0502040204020203" pitchFamily="34" charset="0"/>
                <a:cs typeface="Segoe UI" panose="020B0502040204020203" pitchFamily="34" charset="0"/>
              </a:rPr>
              <a:t>.Net</a:t>
            </a:r>
            <a:r>
              <a:rPr lang="en-US" sz="1000" kern="1200">
                <a:solidFill>
                  <a:schemeClr val="tx1"/>
                </a:solidFill>
                <a:effectLst/>
                <a:latin typeface="Segoe UI" panose="020B0502040204020203" pitchFamily="34" charset="0"/>
                <a:cs typeface="Segoe UI" panose="020B0502040204020203" pitchFamily="34" charset="0"/>
              </a:rPr>
              <a:t> 4.6. This driver will require access to the encryption key (via the certificate store, generally) and thereafter will communicate with the SQL Server directly to effect transparent encryption. </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Specifically, when queries are parameterized, </a:t>
            </a:r>
            <a:r>
              <a:rPr lang="en-US" sz="1000" kern="1200" err="1">
                <a:solidFill>
                  <a:schemeClr val="tx1"/>
                </a:solidFill>
                <a:effectLst/>
                <a:latin typeface="Segoe UI" panose="020B0502040204020203" pitchFamily="34" charset="0"/>
                <a:cs typeface="Segoe UI" panose="020B0502040204020203" pitchFamily="34" charset="0"/>
              </a:rPr>
              <a:t>SqlClient</a:t>
            </a:r>
            <a:r>
              <a:rPr lang="en-US" sz="1000" kern="1200">
                <a:solidFill>
                  <a:schemeClr val="tx1"/>
                </a:solidFill>
                <a:effectLst/>
                <a:latin typeface="Segoe UI" panose="020B0502040204020203" pitchFamily="34" charset="0"/>
                <a:cs typeface="Segoe UI" panose="020B0502040204020203" pitchFamily="34" charset="0"/>
              </a:rPr>
              <a:t> will handshake with the SQL Server and identify which parameters are encrypted and will manage this process in both directions.</a:t>
            </a:r>
          </a:p>
          <a:p>
            <a:pPr marL="628650" lvl="1" indent="-171450">
              <a:buFont typeface="Arial" panose="020B0604020202020204" pitchFamily="34" charset="0"/>
              <a:buChar char="•"/>
            </a:pPr>
            <a:r>
              <a:rPr lang="en-US" sz="1000" kern="1200">
                <a:solidFill>
                  <a:schemeClr val="tx1"/>
                </a:solidFill>
                <a:effectLst/>
                <a:latin typeface="Segoe UI" panose="020B0502040204020203" pitchFamily="34" charset="0"/>
                <a:cs typeface="Segoe UI" panose="020B0502040204020203" pitchFamily="34" charset="0"/>
              </a:rPr>
              <a:t>Example: the client code specifies a select statement with the parameter “where SSN = @SSN” and provides the parameter value “@SSN=’123-45-6789′” and the driver itself intercepts the parameter value and properly encrypts it</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a:p>
        </p:txBody>
      </p:sp>
    </p:spTree>
    <p:extLst>
      <p:ext uri="{BB962C8B-B14F-4D97-AF65-F5344CB8AC3E}">
        <p14:creationId xmlns:p14="http://schemas.microsoft.com/office/powerpoint/2010/main" val="319354487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kern="1200">
                <a:solidFill>
                  <a:schemeClr val="tx1"/>
                </a:solidFill>
                <a:effectLst/>
                <a:latin typeface="Segoe UI Light" pitchFamily="34" charset="0"/>
                <a:ea typeface="+mn-ea"/>
                <a:cs typeface="+mn-cs"/>
              </a:rPr>
              <a:t>Randomized encryption </a:t>
            </a:r>
            <a:r>
              <a:rPr lang="en-US" sz="900" kern="1200">
                <a:solidFill>
                  <a:schemeClr val="tx1"/>
                </a:solidFill>
                <a:effectLst/>
                <a:latin typeface="Segoe UI Light" pitchFamily="34" charset="0"/>
                <a:ea typeface="+mn-ea"/>
                <a:cs typeface="+mn-cs"/>
              </a:rPr>
              <a:t>uses a method that encrypts data in a less predictable manner. Randomized encryption is more secure, but prevents equality searches, grouping, indexing, and joining on encrypted columns.</a:t>
            </a:r>
          </a:p>
          <a:p>
            <a:pPr lvl="0"/>
            <a:endParaRPr lang="en-US" sz="900" b="1" kern="1200">
              <a:solidFill>
                <a:schemeClr val="tx1"/>
              </a:solidFill>
              <a:effectLst/>
              <a:latin typeface="Segoe UI Light" pitchFamily="34" charset="0"/>
              <a:ea typeface="+mn-ea"/>
              <a:cs typeface="+mn-cs"/>
            </a:endParaRPr>
          </a:p>
          <a:p>
            <a:pPr lvl="0"/>
            <a:r>
              <a:rPr lang="en-US" sz="900" b="1" kern="1200">
                <a:solidFill>
                  <a:schemeClr val="tx1"/>
                </a:solidFill>
                <a:effectLst/>
                <a:latin typeface="Segoe UI Light" pitchFamily="34" charset="0"/>
                <a:ea typeface="+mn-ea"/>
                <a:cs typeface="+mn-cs"/>
              </a:rPr>
              <a:t>Deterministic encryption</a:t>
            </a:r>
            <a:r>
              <a:rPr lang="en-US" sz="900" kern="1200">
                <a:solidFill>
                  <a:schemeClr val="tx1"/>
                </a:solidFill>
                <a:effectLst/>
                <a:latin typeface="Segoe UI Light" pitchFamily="34" charset="0"/>
                <a:ea typeface="+mn-ea"/>
                <a:cs typeface="+mn-cs"/>
              </a:rPr>
              <a:t> uses a method that always generates the same encrypted value for any given plain text value. Using deterministic encryption allows grouping, filtering by equality, and joining tables based on encrypted values, but can also allow unauthorized users to guess information about encrypted values by examining patterns in the encrypted column. This weakness is increased when there is a small set of possible encrypted values, such as true/false, or north/south/east/west region. Deterministic encryption must use a column collation with a binary2 sort order for character columns.</a:t>
            </a:r>
          </a:p>
          <a:p>
            <a:r>
              <a:rPr lang="en-US" sz="900" kern="1200">
                <a:solidFill>
                  <a:schemeClr val="tx1"/>
                </a:solidFill>
                <a:effectLst/>
                <a:latin typeface="Segoe UI Light" pitchFamily="34" charset="0"/>
                <a:ea typeface="+mn-ea"/>
                <a:cs typeface="+mn-cs"/>
              </a:rPr>
              <a:t>Use deterministic encryption for columns that will be used as search or grouping parameters, for example, a government ID number. Use randomized encryption for data such as confidential investigation comments—which are not grouped with other records or used to join </a:t>
            </a:r>
            <a:r>
              <a:rPr lang="en-US" sz="900"/>
              <a:t>tables—from </a:t>
            </a:r>
            <a:r>
              <a:rPr lang="en-US" sz="900" kern="1200">
                <a:solidFill>
                  <a:schemeClr val="tx1"/>
                </a:solidFill>
                <a:effectLst/>
                <a:latin typeface="Segoe UI Light" pitchFamily="34" charset="0"/>
                <a:ea typeface="+mn-ea"/>
                <a:cs typeface="+mn-cs"/>
              </a:rPr>
              <a:t>the row that contains the encrypted column of interest.</a:t>
            </a:r>
          </a:p>
          <a:p>
            <a:endParaRPr lang="en-US" sz="90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a:p>
        </p:txBody>
      </p:sp>
    </p:spTree>
    <p:extLst>
      <p:ext uri="{BB962C8B-B14F-4D97-AF65-F5344CB8AC3E}">
        <p14:creationId xmlns:p14="http://schemas.microsoft.com/office/powerpoint/2010/main" val="35389357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s-ES" baseline="0" err="1"/>
              <a:t>On</a:t>
            </a:r>
            <a:r>
              <a:rPr lang="es-ES" baseline="0"/>
              <a:t> </a:t>
            </a:r>
            <a:r>
              <a:rPr lang="es-ES" baseline="0" err="1"/>
              <a:t>the</a:t>
            </a:r>
            <a:r>
              <a:rPr lang="es-ES" baseline="0"/>
              <a:t> </a:t>
            </a:r>
            <a:r>
              <a:rPr lang="es-ES" baseline="0" err="1"/>
              <a:t>Database-side</a:t>
            </a:r>
            <a:r>
              <a:rPr lang="es-ES" baseline="0"/>
              <a:t>, </a:t>
            </a:r>
            <a:r>
              <a:rPr lang="es-ES" baseline="0" err="1"/>
              <a:t>here</a:t>
            </a:r>
            <a:r>
              <a:rPr lang="es-ES" baseline="0"/>
              <a:t> are </a:t>
            </a:r>
            <a:r>
              <a:rPr lang="es-ES" baseline="0" err="1"/>
              <a:t>the</a:t>
            </a:r>
            <a:r>
              <a:rPr lang="es-ES" baseline="0"/>
              <a:t> </a:t>
            </a:r>
            <a:r>
              <a:rPr lang="es-ES" baseline="0" err="1"/>
              <a:t>steps</a:t>
            </a:r>
            <a:r>
              <a:rPr lang="es-ES" baseline="0"/>
              <a:t> </a:t>
            </a:r>
            <a:r>
              <a:rPr lang="es-ES" baseline="0" err="1"/>
              <a:t>for</a:t>
            </a:r>
            <a:r>
              <a:rPr lang="es-ES" baseline="0"/>
              <a:t> </a:t>
            </a:r>
            <a:r>
              <a:rPr lang="es-ES" baseline="0" err="1"/>
              <a:t>enabling</a:t>
            </a:r>
            <a:r>
              <a:rPr lang="es-ES" baseline="0"/>
              <a:t> </a:t>
            </a:r>
            <a:r>
              <a:rPr lang="es-ES" baseline="0" err="1"/>
              <a:t>Always</a:t>
            </a:r>
            <a:r>
              <a:rPr lang="es-ES" baseline="0"/>
              <a:t> </a:t>
            </a:r>
            <a:r>
              <a:rPr lang="es-ES" baseline="0" err="1"/>
              <a:t>Encrypted</a:t>
            </a:r>
            <a:r>
              <a:rPr lang="es-ES" baseline="0"/>
              <a:t> </a:t>
            </a:r>
            <a:r>
              <a:rPr lang="es-ES" baseline="0" err="1"/>
              <a:t>displayed</a:t>
            </a:r>
            <a:r>
              <a:rPr lang="es-ES" baseline="0"/>
              <a:t> </a:t>
            </a:r>
            <a:r>
              <a:rPr lang="es-ES" baseline="0" err="1"/>
              <a:t>on</a:t>
            </a:r>
            <a:r>
              <a:rPr lang="es-ES" baseline="0"/>
              <a:t> </a:t>
            </a:r>
            <a:r>
              <a:rPr lang="es-ES" baseline="0" err="1"/>
              <a:t>the</a:t>
            </a:r>
            <a:r>
              <a:rPr lang="es-ES" baseline="0"/>
              <a:t> </a:t>
            </a:r>
            <a:r>
              <a:rPr lang="es-ES" baseline="0" err="1"/>
              <a:t>slide</a:t>
            </a:r>
            <a:r>
              <a:rPr lang="es-ES" baseline="0"/>
              <a:t>.</a:t>
            </a:r>
            <a:endParaRPr lang="es-ES"/>
          </a:p>
          <a:p>
            <a:pPr lvl="0"/>
            <a:endParaRPr lang="nl-BE"/>
          </a:p>
          <a:p>
            <a:pPr marL="0" lvl="1" indent="0">
              <a:spcAft>
                <a:spcPts val="0"/>
              </a:spcAft>
              <a:buNone/>
            </a:pPr>
            <a:r>
              <a:rPr lang="en-US"/>
              <a:t>SQL Server Management Studio (SSMS) has an “Encrypt Columns” wizard which will perform these steps for you interactively or by generating a PowerShell script to run later.</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8</a:t>
            </a:fld>
            <a:endParaRPr lang="en-US" noProof="0"/>
          </a:p>
        </p:txBody>
      </p:sp>
    </p:spTree>
    <p:extLst>
      <p:ext uri="{BB962C8B-B14F-4D97-AF65-F5344CB8AC3E}">
        <p14:creationId xmlns:p14="http://schemas.microsoft.com/office/powerpoint/2010/main" val="2208306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s-ES" err="1"/>
              <a:t>On</a:t>
            </a:r>
            <a:r>
              <a:rPr lang="es-ES"/>
              <a:t> </a:t>
            </a:r>
            <a:r>
              <a:rPr lang="es-ES" err="1"/>
              <a:t>the</a:t>
            </a:r>
            <a:r>
              <a:rPr lang="es-ES"/>
              <a:t> Client-</a:t>
            </a:r>
            <a:r>
              <a:rPr lang="es-ES" err="1"/>
              <a:t>side</a:t>
            </a:r>
            <a:r>
              <a:rPr lang="es-ES"/>
              <a:t>, </a:t>
            </a:r>
            <a:r>
              <a:rPr lang="es-ES" err="1"/>
              <a:t>here</a:t>
            </a:r>
            <a:r>
              <a:rPr lang="es-ES"/>
              <a:t> are </a:t>
            </a:r>
            <a:r>
              <a:rPr lang="es-ES" err="1"/>
              <a:t>the</a:t>
            </a:r>
            <a:r>
              <a:rPr lang="es-ES"/>
              <a:t> </a:t>
            </a:r>
            <a:r>
              <a:rPr lang="es-ES" err="1"/>
              <a:t>steps</a:t>
            </a:r>
            <a:r>
              <a:rPr lang="es-ES"/>
              <a:t> </a:t>
            </a:r>
            <a:r>
              <a:rPr lang="es-ES" err="1"/>
              <a:t>for</a:t>
            </a:r>
            <a:r>
              <a:rPr lang="es-ES"/>
              <a:t> </a:t>
            </a:r>
            <a:r>
              <a:rPr lang="es-ES" err="1"/>
              <a:t>enabling</a:t>
            </a:r>
            <a:r>
              <a:rPr lang="es-ES"/>
              <a:t> </a:t>
            </a:r>
            <a:r>
              <a:rPr lang="es-ES" err="1"/>
              <a:t>Always</a:t>
            </a:r>
            <a:r>
              <a:rPr lang="es-ES"/>
              <a:t> </a:t>
            </a:r>
            <a:r>
              <a:rPr lang="es-ES" err="1"/>
              <a:t>Encrypted</a:t>
            </a:r>
            <a:r>
              <a:rPr lang="es-ES"/>
              <a:t> </a:t>
            </a:r>
            <a:r>
              <a:rPr lang="es-ES" err="1"/>
              <a:t>displayed</a:t>
            </a:r>
            <a:r>
              <a:rPr lang="es-ES"/>
              <a:t> </a:t>
            </a:r>
            <a:r>
              <a:rPr lang="es-ES" err="1"/>
              <a:t>on</a:t>
            </a:r>
            <a:r>
              <a:rPr lang="es-ES"/>
              <a:t> </a:t>
            </a:r>
            <a:r>
              <a:rPr lang="es-ES" err="1"/>
              <a:t>the</a:t>
            </a:r>
            <a:r>
              <a:rPr lang="es-ES"/>
              <a:t> </a:t>
            </a:r>
            <a:r>
              <a:rPr lang="es-ES" err="1"/>
              <a:t>slide</a:t>
            </a:r>
            <a:r>
              <a:rPr lang="es-ES"/>
              <a:t>.</a:t>
            </a:r>
          </a:p>
          <a:p>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a:p>
        </p:txBody>
      </p:sp>
    </p:spTree>
    <p:extLst>
      <p:ext uri="{BB962C8B-B14F-4D97-AF65-F5344CB8AC3E}">
        <p14:creationId xmlns:p14="http://schemas.microsoft.com/office/powerpoint/2010/main" val="21213748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06Demo01</a:t>
            </a:r>
          </a:p>
          <a:p>
            <a:endParaRPr lang="en-US" sz="700"/>
          </a:p>
          <a:p>
            <a:r>
              <a:rPr lang="en-US" sz="700"/>
              <a:t>In this demo, we first are going to insert a bunch of records in the Employees table of the </a:t>
            </a:r>
            <a:r>
              <a:rPr lang="en-US" sz="700" err="1"/>
              <a:t>salesdb</a:t>
            </a:r>
            <a:endParaRPr lang="en-US" sz="700"/>
          </a:p>
          <a:p>
            <a:r>
              <a:rPr lang="en-US" sz="700"/>
              <a:t>Secondly, you will enable Always Encrypted on the table Employees</a:t>
            </a:r>
          </a:p>
          <a:p>
            <a:r>
              <a:rPr lang="en-US" sz="700"/>
              <a:t>Finally, you will connect with a .NET demo tool to the database to prove that Always Encrypted is working</a:t>
            </a:r>
          </a:p>
          <a:p>
            <a:r>
              <a:rPr lang="en-US" sz="700" b="1"/>
              <a:t>Demo Requirements</a:t>
            </a:r>
          </a:p>
          <a:p>
            <a:pPr marL="171450" indent="-171450">
              <a:buFontTx/>
              <a:buChar char="-"/>
            </a:pPr>
            <a:r>
              <a:rPr lang="en-US" sz="700" b="0"/>
              <a:t>The </a:t>
            </a:r>
            <a:r>
              <a:rPr lang="en-US" sz="700" b="0" err="1"/>
              <a:t>salesdb</a:t>
            </a:r>
            <a:r>
              <a:rPr lang="en-US" sz="700" b="0"/>
              <a:t> that has been created during Module 1</a:t>
            </a:r>
          </a:p>
          <a:p>
            <a:pPr marL="171450" indent="-171450">
              <a:buFontTx/>
              <a:buChar char="-"/>
            </a:pPr>
            <a:r>
              <a:rPr lang="en-US" sz="700" b="0"/>
              <a:t>Use the file </a:t>
            </a:r>
            <a:r>
              <a:rPr lang="en-US" sz="700" b="1"/>
              <a:t>C:\Demos\M04L06Demo01\AlwaysEncryptedClient.Zip</a:t>
            </a:r>
            <a:endParaRPr lang="en-US" sz="700" b="0"/>
          </a:p>
          <a:p>
            <a:pPr marL="171450" indent="-171450">
              <a:buFontTx/>
              <a:buChar char="-"/>
            </a:pPr>
            <a:r>
              <a:rPr lang="en-US" sz="700" b="0"/>
              <a:t>Use the file </a:t>
            </a:r>
            <a:r>
              <a:rPr lang="en-US" sz="700" b="1"/>
              <a:t>C:\Demos\M04L06Demo01\Insert Employees in Employees </a:t>
            </a:r>
            <a:r>
              <a:rPr lang="en-US" sz="700" b="1" err="1"/>
              <a:t>Table.sql</a:t>
            </a:r>
            <a:endParaRPr lang="en-US" sz="700" b="0"/>
          </a:p>
          <a:p>
            <a:pPr marL="0" indent="0">
              <a:buFontTx/>
              <a:buNone/>
            </a:pPr>
            <a:r>
              <a:rPr lang="en-US" sz="700" b="1"/>
              <a:t>Demo 1 – Insert records in Employees table</a:t>
            </a:r>
            <a:endParaRPr lang="en-US" sz="700" b="0"/>
          </a:p>
          <a:p>
            <a:pPr marL="228600" indent="-228600">
              <a:buFontTx/>
              <a:buAutoNum type="arabicPeriod"/>
            </a:pPr>
            <a:r>
              <a:rPr lang="en-US" sz="700" b="0"/>
              <a:t>Open the SSMS and connect to your </a:t>
            </a:r>
            <a:r>
              <a:rPr lang="en-US" sz="700" b="0" err="1"/>
              <a:t>salesdb</a:t>
            </a:r>
            <a:r>
              <a:rPr lang="en-US" sz="700" b="0"/>
              <a:t>.</a:t>
            </a:r>
          </a:p>
          <a:p>
            <a:pPr marL="228600" indent="-228600">
              <a:buFontTx/>
              <a:buAutoNum type="arabicPeriod"/>
            </a:pPr>
            <a:r>
              <a:rPr lang="en-US" sz="700" b="0"/>
              <a:t>Execute the script “Insert Employees in Employees Table”</a:t>
            </a:r>
          </a:p>
          <a:p>
            <a:pPr marL="0" indent="0">
              <a:buFontTx/>
              <a:buNone/>
            </a:pPr>
            <a:r>
              <a:rPr lang="en-US" sz="700" b="1"/>
              <a:t>Demo 2 – Enable Always Encrypted</a:t>
            </a:r>
          </a:p>
          <a:p>
            <a:pPr marL="228600" indent="-228600">
              <a:buFont typeface="+mj-lt"/>
              <a:buAutoNum type="arabicPeriod"/>
            </a:pPr>
            <a:r>
              <a:rPr lang="en-US" sz="700" b="0"/>
              <a:t>In the SSMS, go to you database </a:t>
            </a:r>
            <a:r>
              <a:rPr lang="en-US" sz="700" b="0" err="1"/>
              <a:t>salesdb</a:t>
            </a:r>
            <a:r>
              <a:rPr lang="en-US" sz="700" b="0"/>
              <a:t> </a:t>
            </a:r>
            <a:r>
              <a:rPr lang="en-US" sz="700" b="0">
                <a:sym typeface="Wingdings" panose="05000000000000000000" pitchFamily="2" charset="2"/>
              </a:rPr>
              <a:t> Security  Always Encrypted</a:t>
            </a:r>
          </a:p>
          <a:p>
            <a:pPr marL="228600" indent="-228600">
              <a:buFont typeface="+mj-lt"/>
              <a:buAutoNum type="arabicPeriod"/>
            </a:pPr>
            <a:r>
              <a:rPr lang="en-US" sz="700" b="0">
                <a:sym typeface="Wingdings" panose="05000000000000000000" pitchFamily="2" charset="2"/>
              </a:rPr>
              <a:t>Right click Column Master Key and select “New Column Master Key”</a:t>
            </a:r>
          </a:p>
          <a:p>
            <a:pPr marL="228600" indent="-228600">
              <a:buFont typeface="+mj-lt"/>
              <a:buAutoNum type="arabicPeriod"/>
            </a:pPr>
            <a:r>
              <a:rPr lang="en-US" sz="700" b="0">
                <a:sym typeface="Wingdings" panose="05000000000000000000" pitchFamily="2" charset="2"/>
              </a:rPr>
              <a:t>Click the button “Generate Certificate” and give the CMK. Click O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t>In the SSMS, go to you database </a:t>
            </a:r>
            <a:r>
              <a:rPr lang="en-US" sz="700" b="0" err="1"/>
              <a:t>salesdb</a:t>
            </a:r>
            <a:r>
              <a:rPr lang="en-US" sz="700" b="0"/>
              <a:t> </a:t>
            </a:r>
            <a:r>
              <a:rPr lang="en-US" sz="700" b="0">
                <a:sym typeface="Wingdings" panose="05000000000000000000" pitchFamily="2" charset="2"/>
              </a:rPr>
              <a:t> Security  Always Encrypt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Right click Column Encryption Key and select “New Column Encryption Key”</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Specify the name CEK and select the CMK that you have just creat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Go to your database </a:t>
            </a:r>
            <a:r>
              <a:rPr lang="en-US" sz="700" b="0" err="1">
                <a:sym typeface="Wingdings" panose="05000000000000000000" pitchFamily="2" charset="2"/>
              </a:rPr>
              <a:t>salesdb</a:t>
            </a:r>
            <a:r>
              <a:rPr lang="en-US" sz="700" b="0">
                <a:sym typeface="Wingdings" panose="05000000000000000000" pitchFamily="2" charset="2"/>
              </a:rPr>
              <a:t>  Table Employees, right click on the table and select Encrypt Columns</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Select the column </a:t>
            </a:r>
            <a:r>
              <a:rPr lang="en-US" sz="700" b="0" err="1">
                <a:sym typeface="Wingdings" panose="05000000000000000000" pitchFamily="2" charset="2"/>
              </a:rPr>
              <a:t>LastName</a:t>
            </a:r>
            <a:r>
              <a:rPr lang="en-US" sz="700" b="0">
                <a:sym typeface="Wingdings" panose="05000000000000000000" pitchFamily="2" charset="2"/>
              </a:rPr>
              <a:t> and choose the encryption Type Deterministic. Notice that the Encryption Key is already filled in with CEK</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Click next and proceed to Finish now. Wait until the encryption is finished… (I have noticed that it can take a few minutes to encryp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Execute the following statement so proof to the students that the columns are encrypted</a:t>
            </a:r>
          </a:p>
          <a:p>
            <a:pPr lvl="0">
              <a:defRPr/>
            </a:pPr>
            <a:r>
              <a:rPr lang="en-US" sz="700">
                <a:sym typeface="Wingdings" panose="05000000000000000000" pitchFamily="2" charset="2"/>
              </a:rPr>
              <a:t>SELECT TOP (1000) [</a:t>
            </a:r>
            <a:r>
              <a:rPr lang="en-US" sz="700" err="1">
                <a:sym typeface="Wingdings" panose="05000000000000000000" pitchFamily="2" charset="2"/>
              </a:rPr>
              <a:t>EmployeeID</a:t>
            </a:r>
            <a:r>
              <a:rPr lang="en-US" sz="700">
                <a:sym typeface="Wingdings" panose="05000000000000000000" pitchFamily="2" charset="2"/>
              </a:rPr>
              <a:t>]  ,[FirstName]  ,[</a:t>
            </a:r>
            <a:r>
              <a:rPr lang="en-US" sz="700" err="1">
                <a:sym typeface="Wingdings" panose="05000000000000000000" pitchFamily="2" charset="2"/>
              </a:rPr>
              <a:t>MiddleInitial</a:t>
            </a:r>
            <a:r>
              <a:rPr lang="en-US" sz="700">
                <a:sym typeface="Wingdings" panose="05000000000000000000" pitchFamily="2" charset="2"/>
              </a:rPr>
              <a:t>]   ,[</a:t>
            </a:r>
            <a:r>
              <a:rPr lang="en-US" sz="700" err="1">
                <a:sym typeface="Wingdings" panose="05000000000000000000" pitchFamily="2" charset="2"/>
              </a:rPr>
              <a:t>LastName</a:t>
            </a:r>
            <a:r>
              <a:rPr lang="en-US" sz="700">
                <a:sym typeface="Wingdings" panose="05000000000000000000" pitchFamily="2" charset="2"/>
              </a:rPr>
              <a:t>]   FROM [</a:t>
            </a:r>
            <a:r>
              <a:rPr lang="en-US" sz="700" err="1">
                <a:sym typeface="Wingdings" panose="05000000000000000000" pitchFamily="2" charset="2"/>
              </a:rPr>
              <a:t>dbo</a:t>
            </a:r>
            <a:r>
              <a:rPr lang="en-US" sz="700">
                <a:sym typeface="Wingdings" panose="05000000000000000000" pitchFamily="2" charset="2"/>
              </a:rPr>
              <a:t>].[Employees]</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700" b="1">
                <a:sym typeface="Wingdings" panose="05000000000000000000" pitchFamily="2" charset="2"/>
              </a:rPr>
              <a:t>Demo 3 – Use the tool so that you can show the decrypted column</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Open the tool Always Encrypted Demo Clien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Change the connection string so that the tool connects to your logical server, the </a:t>
            </a:r>
            <a:r>
              <a:rPr lang="en-US" sz="700" b="0" err="1">
                <a:sym typeface="Wingdings" panose="05000000000000000000" pitchFamily="2" charset="2"/>
              </a:rPr>
              <a:t>salesdb</a:t>
            </a:r>
            <a:r>
              <a:rPr lang="en-US" sz="700" b="0">
                <a:sym typeface="Wingdings" panose="05000000000000000000" pitchFamily="2" charset="2"/>
              </a:rPr>
              <a:t>, … Make sure you use the parameter Column Encryption Setting=Enabled in your connection string</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700" b="0">
                <a:sym typeface="Wingdings" panose="05000000000000000000" pitchFamily="2" charset="2"/>
              </a:rPr>
              <a:t>Execute the following query in the tool</a:t>
            </a: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700" b="0">
                <a:sym typeface="Wingdings" panose="05000000000000000000" pitchFamily="2" charset="2"/>
              </a:rPr>
              <a:t>SELECT TOP (1000) [</a:t>
            </a:r>
            <a:r>
              <a:rPr lang="en-US" sz="700" b="0" err="1">
                <a:sym typeface="Wingdings" panose="05000000000000000000" pitchFamily="2" charset="2"/>
              </a:rPr>
              <a:t>EmployeeID</a:t>
            </a:r>
            <a:r>
              <a:rPr lang="en-US" sz="700" b="0">
                <a:sym typeface="Wingdings" panose="05000000000000000000" pitchFamily="2" charset="2"/>
              </a:rPr>
              <a:t>]  ,[FirstName]  ,[</a:t>
            </a:r>
            <a:r>
              <a:rPr lang="en-US" sz="700" b="0" err="1">
                <a:sym typeface="Wingdings" panose="05000000000000000000" pitchFamily="2" charset="2"/>
              </a:rPr>
              <a:t>MiddleInitial</a:t>
            </a:r>
            <a:r>
              <a:rPr lang="en-US" sz="700" b="0">
                <a:sym typeface="Wingdings" panose="05000000000000000000" pitchFamily="2" charset="2"/>
              </a:rPr>
              <a:t>]   ,[</a:t>
            </a:r>
            <a:r>
              <a:rPr lang="en-US" sz="700" b="0" err="1">
                <a:sym typeface="Wingdings" panose="05000000000000000000" pitchFamily="2" charset="2"/>
              </a:rPr>
              <a:t>LastName</a:t>
            </a:r>
            <a:r>
              <a:rPr lang="en-US" sz="700" b="0">
                <a:sym typeface="Wingdings" panose="05000000000000000000" pitchFamily="2" charset="2"/>
              </a:rPr>
              <a:t>]   FROM [</a:t>
            </a:r>
            <a:r>
              <a:rPr lang="en-US" sz="700" b="0" err="1">
                <a:sym typeface="Wingdings" panose="05000000000000000000" pitchFamily="2" charset="2"/>
              </a:rPr>
              <a:t>dbo</a:t>
            </a:r>
            <a:r>
              <a:rPr lang="en-US" sz="700" b="0">
                <a:sym typeface="Wingdings" panose="05000000000000000000" pitchFamily="2" charset="2"/>
              </a:rPr>
              <a:t>].[Employees]</a:t>
            </a:r>
          </a:p>
          <a:p>
            <a:pPr marL="627496" marR="0" lvl="4" indent="0" algn="l" defTabSz="932742" rtl="0" eaLnBrk="1" fontAlgn="auto" latinLnBrk="0" hangingPunct="1">
              <a:lnSpc>
                <a:spcPct val="90000"/>
              </a:lnSpc>
              <a:spcBef>
                <a:spcPts val="0"/>
              </a:spcBef>
              <a:spcAft>
                <a:spcPts val="340"/>
              </a:spcAft>
              <a:buClrTx/>
              <a:buSzTx/>
              <a:buFont typeface="+mj-lt"/>
              <a:buNone/>
              <a:tabLst/>
              <a:defRPr/>
            </a:pPr>
            <a:endParaRPr lang="en-US" sz="700" b="0">
              <a:sym typeface="Wingdings" panose="05000000000000000000" pitchFamily="2" charset="2"/>
            </a:endParaRP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sz="700" b="0">
                <a:sym typeface="Wingdings" panose="05000000000000000000" pitchFamily="2" charset="2"/>
              </a:rPr>
              <a:t>Notice that the column </a:t>
            </a:r>
            <a:r>
              <a:rPr lang="en-US" sz="700" b="0" err="1">
                <a:sym typeface="Wingdings" panose="05000000000000000000" pitchFamily="2" charset="2"/>
              </a:rPr>
              <a:t>lastname</a:t>
            </a:r>
            <a:r>
              <a:rPr lang="en-US" sz="700" b="0">
                <a:sym typeface="Wingdings" panose="05000000000000000000" pitchFamily="2" charset="2"/>
              </a:rPr>
              <a:t> is not encrypte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sz="700" b="0">
              <a:sym typeface="Wingdings" panose="05000000000000000000" pitchFamily="2" charset="2"/>
            </a:endParaRPr>
          </a:p>
          <a:p>
            <a:pPr marL="228600" indent="-228600">
              <a:buFont typeface="+mj-lt"/>
              <a:buAutoNum type="arabicPeriod"/>
            </a:pPr>
            <a:endParaRPr lang="en-US" sz="700" b="0">
              <a:sym typeface="Wingdings" panose="05000000000000000000" pitchFamily="2" charset="2"/>
            </a:endParaRPr>
          </a:p>
          <a:p>
            <a:pPr marL="228600" indent="-228600">
              <a:buFont typeface="+mj-lt"/>
              <a:buAutoNum type="arabicPeriod"/>
            </a:pPr>
            <a:endParaRPr lang="en-US" sz="700" b="0">
              <a:sym typeface="Wingdings" panose="05000000000000000000" pitchFamily="2" charset="2"/>
            </a:endParaRPr>
          </a:p>
          <a:p>
            <a:pPr marL="228600" indent="-228600">
              <a:buFont typeface="+mj-lt"/>
              <a:buAutoNum type="arabicPeriod"/>
            </a:pPr>
            <a:endParaRPr lang="en-US" sz="700" b="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Additional special security features are available in Azure SQL Database which include Azure Active Directory security, Transparent Data Encryption (TDE), Always Encrypted, Row-level security, Dynamic data masking, SQL Auditing and common Threat Detection. We will be covering each of these features in later lessons.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a:t>
            </a:fld>
            <a:endParaRPr lang="en-US" noProof="0"/>
          </a:p>
        </p:txBody>
      </p:sp>
    </p:spTree>
    <p:extLst>
      <p:ext uri="{BB962C8B-B14F-4D97-AF65-F5344CB8AC3E}">
        <p14:creationId xmlns:p14="http://schemas.microsoft.com/office/powerpoint/2010/main" val="154875071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a:solidFill>
                  <a:srgbClr val="000000"/>
                </a:solidFill>
                <a:latin typeface="Consolas" panose="020B0609020204030204" pitchFamily="49" charset="0"/>
              </a:rPr>
              <a:t>M04L06Lab01</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AU">
                <a:cs typeface="Segoe UI Light"/>
              </a:rPr>
              <a:t>Q1: </a:t>
            </a:r>
            <a:r>
              <a:rPr lang="en-US" sz="900">
                <a:solidFill>
                  <a:srgbClr val="FFFFFF"/>
                </a:solidFill>
              </a:rPr>
              <a:t>Can a DBA see Always Encrypted data?</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pPr marL="0" lvl="0" indent="0">
              <a:buNone/>
            </a:pPr>
            <a:r>
              <a:rPr lang="en-AU">
                <a:cs typeface="Segoe UI Light"/>
              </a:rPr>
              <a:t>Answer 1: </a:t>
            </a:r>
            <a:r>
              <a:rPr lang="en-AU" b="1">
                <a:cs typeface="Segoe UI Light"/>
              </a:rPr>
              <a:t>No, the data will be stored in the database as encrypted format. </a:t>
            </a:r>
            <a:r>
              <a:rPr lang="en-AU">
                <a:cs typeface="Segoe UI Light"/>
              </a:rPr>
              <a:t>The decrypted data will only be visible from the application. Unless the DBA has the certificate installed on his/her client PC</a:t>
            </a:r>
          </a:p>
          <a:p>
            <a:pPr marL="217262" lvl="1" indent="0">
              <a:buNone/>
            </a:pPr>
            <a:endParaRPr lang="en-AU">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a:cs typeface="Segoe UI Light"/>
              </a:rPr>
              <a:t>Q2: </a:t>
            </a:r>
            <a:r>
              <a:rPr lang="en-US" sz="900">
                <a:solidFill>
                  <a:srgbClr val="FFFFFF"/>
                </a:solidFill>
              </a:rPr>
              <a:t>What are the 4 steps that you need to perform to enable Always Encrypted?</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lvl="0"/>
            <a:r>
              <a:rPr lang="en-AU">
                <a:cs typeface="Segoe UI Light"/>
              </a:rPr>
              <a:t>Answer 2:</a:t>
            </a:r>
          </a:p>
          <a:p>
            <a:pPr marL="228600" lvl="0" indent="-228600">
              <a:buAutoNum type="arabicPeriod"/>
            </a:pPr>
            <a:r>
              <a:rPr lang="en-US" b="1" baseline="0"/>
              <a:t>Create a local, self-signed certificate on the development machine, which will act as a Column Master Key (CMK). </a:t>
            </a:r>
          </a:p>
          <a:p>
            <a:pPr marL="228600" lvl="0" indent="-228600">
              <a:buAutoNum type="arabicPeriod"/>
            </a:pPr>
            <a:r>
              <a:rPr lang="en-US" b="1" baseline="0"/>
              <a:t>Create a CMK store definition object in the database</a:t>
            </a:r>
          </a:p>
          <a:p>
            <a:pPr marL="228600" lvl="0" indent="-228600">
              <a:buAutoNum type="arabicPeriod"/>
            </a:pPr>
            <a:r>
              <a:rPr lang="nl-BE" b="1"/>
              <a:t>Create a Column Encryption Key (CEK). </a:t>
            </a:r>
          </a:p>
          <a:p>
            <a:pPr marL="228600" lvl="0" indent="-228600">
              <a:buAutoNum type="arabicPeriod"/>
            </a:pPr>
            <a:r>
              <a:rPr lang="en-US" b="1" baseline="0"/>
              <a:t>Create a table with encrypted columns.</a:t>
            </a:r>
            <a:endParaRPr lang="nl-BE" b="1"/>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AU" baseline="0">
              <a:solidFill>
                <a:schemeClr val="tx1"/>
              </a:solidFill>
              <a:cs typeface="Segoe UI Light"/>
            </a:endParaRP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endParaRPr lang="en-AU" baseline="0">
              <a:solidFill>
                <a:schemeClr val="tx1"/>
              </a:solidFill>
              <a:cs typeface="Segoe UI Light"/>
            </a:endParaRPr>
          </a:p>
          <a:p>
            <a:pPr marL="217262"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baseline="0">
                <a:solidFill>
                  <a:schemeClr val="bg1">
                    <a:lumMod val="95000"/>
                  </a:schemeClr>
                </a:solidFill>
              </a:rPr>
              <a:t>Column Master Key (CMK). The CMK will be used to protect Column Encryption Keys (CEK)</a:t>
            </a:r>
            <a:endParaRPr lang="en-US"/>
          </a:p>
          <a:p>
            <a:pPr lvl="1" indent="0">
              <a:buNone/>
            </a:pPr>
            <a:endParaRPr lang="en-AU">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a:p>
        </p:txBody>
      </p:sp>
    </p:spTree>
    <p:extLst>
      <p:ext uri="{BB962C8B-B14F-4D97-AF65-F5344CB8AC3E}">
        <p14:creationId xmlns:p14="http://schemas.microsoft.com/office/powerpoint/2010/main" val="38543948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Row Level Security</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a:p>
        </p:txBody>
      </p:sp>
    </p:spTree>
    <p:extLst>
      <p:ext uri="{BB962C8B-B14F-4D97-AF65-F5344CB8AC3E}">
        <p14:creationId xmlns:p14="http://schemas.microsoft.com/office/powerpoint/2010/main" val="37750248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Row Level Security</a:t>
            </a:r>
            <a:endParaRPr lang="nl-BE"/>
          </a:p>
          <a:p>
            <a:endParaRPr lang="en-US" b="1"/>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Row Level Security is a feature of SQL Server 2016 and above and included in Azure SQL Database V12.0. It allows you to set up security policies to control access to rows within a table based on the user accessing the data.</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a:p>
        </p:txBody>
      </p:sp>
    </p:spTree>
    <p:extLst>
      <p:ext uri="{BB962C8B-B14F-4D97-AF65-F5344CB8AC3E}">
        <p14:creationId xmlns:p14="http://schemas.microsoft.com/office/powerpoint/2010/main" val="18780539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LS enables customers to control access to rows in a database table based on the characteristics of the user executing a query (e.g., group membership or execution context). </a:t>
            </a:r>
          </a:p>
          <a:p>
            <a:r>
              <a:rPr lang="en-US"/>
              <a:t>RLS simplifies the design and coding of security in your application. RLS enables you to implement restrictions on data row access. For example ensuring that workers can access only those data rows that are pertinent to their department, or restricting a customer's data access to only the data relevant to their company. </a:t>
            </a:r>
          </a:p>
          <a:p>
            <a:r>
              <a:rPr lang="en-US"/>
              <a:t>The access restriction logic is located in the database tier rather than away from the data in another application tier. The database system applies the access restrictions every time that data access is attempted from any tier. This makes your security system more reliable and robust by reducing the surface area of your security system.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a:p>
        </p:txBody>
      </p:sp>
    </p:spTree>
    <p:extLst>
      <p:ext uri="{BB962C8B-B14F-4D97-AF65-F5344CB8AC3E}">
        <p14:creationId xmlns:p14="http://schemas.microsoft.com/office/powerpoint/2010/main" val="24095983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Segoe UI Light" pitchFamily="34" charset="0"/>
                <a:ea typeface="+mn-ea"/>
                <a:cs typeface="+mn-cs"/>
              </a:rPr>
              <a:t>Three core concepts are used in Row-Level Security: predicate function,</a:t>
            </a:r>
            <a:r>
              <a:rPr lang="en-US" sz="800" kern="1200" baseline="0">
                <a:solidFill>
                  <a:schemeClr val="tx1"/>
                </a:solidFill>
                <a:effectLst/>
                <a:latin typeface="Segoe UI Light" pitchFamily="34" charset="0"/>
                <a:ea typeface="+mn-ea"/>
                <a:cs typeface="+mn-cs"/>
              </a:rPr>
              <a:t> security predicate, and security policy.</a:t>
            </a:r>
            <a:endParaRPr lang="en-US" sz="800" kern="120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800" b="1" kern="1200">
                <a:solidFill>
                  <a:schemeClr val="tx1"/>
                </a:solidFill>
                <a:effectLst/>
                <a:latin typeface="Segoe UI Light" pitchFamily="34" charset="0"/>
                <a:ea typeface="+mn-ea"/>
                <a:cs typeface="+mn-cs"/>
              </a:rPr>
              <a:t>Predicate function</a:t>
            </a:r>
            <a:r>
              <a:rPr lang="en-US" sz="800" b="0" kern="1200">
                <a:solidFill>
                  <a:schemeClr val="tx1"/>
                </a:solidFill>
                <a:effectLst/>
                <a:latin typeface="Segoe UI Light" pitchFamily="34" charset="0"/>
                <a:ea typeface="+mn-ea"/>
                <a:cs typeface="+mn-cs"/>
              </a:rPr>
              <a:t>:</a:t>
            </a:r>
            <a:r>
              <a:rPr lang="en-US" sz="800" kern="1200">
                <a:solidFill>
                  <a:schemeClr val="tx1"/>
                </a:solidFill>
                <a:effectLst/>
                <a:latin typeface="Segoe UI Light" pitchFamily="34" charset="0"/>
                <a:ea typeface="+mn-ea"/>
                <a:cs typeface="+mn-cs"/>
              </a:rPr>
              <a:t> Row-level filtering of data selected from a table is enacted through a security predicate filter defined as a</a:t>
            </a:r>
            <a:r>
              <a:rPr lang="en-US" sz="800" kern="1200" baseline="0">
                <a:solidFill>
                  <a:schemeClr val="tx1"/>
                </a:solidFill>
                <a:effectLst/>
                <a:latin typeface="Segoe UI Light" pitchFamily="34" charset="0"/>
                <a:ea typeface="+mn-ea"/>
                <a:cs typeface="+mn-cs"/>
              </a:rPr>
              <a:t> u</a:t>
            </a:r>
            <a:r>
              <a:rPr lang="en-US" sz="800" kern="1200">
                <a:solidFill>
                  <a:schemeClr val="tx1"/>
                </a:solidFill>
                <a:effectLst/>
                <a:latin typeface="Segoe UI Light" pitchFamily="34" charset="0"/>
                <a:ea typeface="+mn-ea"/>
                <a:cs typeface="+mn-cs"/>
              </a:rPr>
              <a:t>ser-defined, inline table-valued function (</a:t>
            </a:r>
            <a:r>
              <a:rPr lang="en-US" sz="800" kern="1200" err="1">
                <a:solidFill>
                  <a:schemeClr val="tx1"/>
                </a:solidFill>
                <a:effectLst/>
                <a:latin typeface="Segoe UI Light" pitchFamily="34" charset="0"/>
                <a:ea typeface="+mn-ea"/>
                <a:cs typeface="+mn-cs"/>
              </a:rPr>
              <a:t>iTVF</a:t>
            </a:r>
            <a:r>
              <a:rPr lang="en-US" sz="800" kern="1200">
                <a:solidFill>
                  <a:schemeClr val="tx1"/>
                </a:solidFill>
                <a:effectLst/>
                <a:latin typeface="Segoe UI Light" pitchFamily="34" charset="0"/>
                <a:ea typeface="+mn-ea"/>
                <a:cs typeface="+mn-cs"/>
              </a:rPr>
              <a:t>) implementing security logic (for example, returning a row or not, depending on the principal</a:t>
            </a:r>
            <a:r>
              <a:rPr lang="en-US" sz="800" kern="1200" baseline="0">
                <a:solidFill>
                  <a:schemeClr val="tx1"/>
                </a:solidFill>
                <a:effectLst/>
                <a:latin typeface="Segoe UI Light" pitchFamily="34" charset="0"/>
                <a:ea typeface="+mn-ea"/>
                <a:cs typeface="+mn-cs"/>
              </a:rPr>
              <a:t> </a:t>
            </a:r>
            <a:r>
              <a:rPr lang="en-US" sz="800" kern="1200">
                <a:solidFill>
                  <a:schemeClr val="tx1"/>
                </a:solidFill>
                <a:effectLst/>
                <a:latin typeface="Segoe UI Light" pitchFamily="34" charset="0"/>
                <a:ea typeface="+mn-ea"/>
                <a:cs typeface="+mn-cs"/>
              </a:rPr>
              <a:t>name, role, or other attributes of the calling user). </a:t>
            </a:r>
          </a:p>
          <a:p>
            <a:pPr marL="171450" indent="-171450">
              <a:buFont typeface="Arial" panose="020B0604020202020204" pitchFamily="34" charset="0"/>
              <a:buChar char="•"/>
            </a:pPr>
            <a:r>
              <a:rPr lang="en-US" sz="800" b="1" kern="1200">
                <a:solidFill>
                  <a:schemeClr val="tx1"/>
                </a:solidFill>
                <a:effectLst/>
                <a:latin typeface="Segoe UI Light" pitchFamily="34" charset="0"/>
                <a:ea typeface="+mn-ea"/>
                <a:cs typeface="+mn-cs"/>
              </a:rPr>
              <a:t>Security predicate</a:t>
            </a:r>
            <a:r>
              <a:rPr lang="en-US" sz="800" b="0" kern="1200">
                <a:solidFill>
                  <a:schemeClr val="tx1"/>
                </a:solidFill>
                <a:effectLst/>
                <a:latin typeface="Segoe UI Light" pitchFamily="34" charset="0"/>
                <a:ea typeface="+mn-ea"/>
                <a:cs typeface="+mn-cs"/>
              </a:rPr>
              <a:t>:</a:t>
            </a:r>
            <a:r>
              <a:rPr lang="en-US" sz="800" kern="1200">
                <a:solidFill>
                  <a:schemeClr val="tx1"/>
                </a:solidFill>
                <a:effectLst/>
                <a:latin typeface="Segoe UI Light" pitchFamily="34" charset="0"/>
                <a:ea typeface="+mn-ea"/>
                <a:cs typeface="+mn-cs"/>
              </a:rPr>
              <a:t> Binds a predicate function to a particular table, applying it for all queries (for example, applying a function that checks for the rep name or rep manager role to an Accounts table). RLS supports two types of security predicates:</a:t>
            </a:r>
            <a:r>
              <a:rPr lang="en-US" sz="800" kern="1200" baseline="0">
                <a:solidFill>
                  <a:schemeClr val="tx1"/>
                </a:solidFill>
                <a:effectLst/>
                <a:latin typeface="Segoe UI Light" pitchFamily="34" charset="0"/>
                <a:ea typeface="+mn-ea"/>
                <a:cs typeface="+mn-cs"/>
              </a:rPr>
              <a:t> filter predicates and block predicates.</a:t>
            </a:r>
            <a:endParaRPr lang="en-US" sz="800" kern="1200">
              <a:solidFill>
                <a:schemeClr val="tx1"/>
              </a:solidFill>
              <a:effectLst/>
              <a:latin typeface="Segoe UI Light" pitchFamily="34" charset="0"/>
              <a:ea typeface="+mn-ea"/>
              <a:cs typeface="+mn-cs"/>
            </a:endParaRPr>
          </a:p>
          <a:p>
            <a:pPr marL="388712" lvl="1"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Filter predicates silently filter the rows available to read operations (SELECT, UPDATE, and DELETE).</a:t>
            </a:r>
          </a:p>
          <a:p>
            <a:pPr marL="388712" lvl="1"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Block predicates explicitly block write operations (AFTER INSERT, AFTER UPDATE, BEFORE UPDATE, BEFORE DELETE) that violate the predicate.</a:t>
            </a:r>
          </a:p>
          <a:p>
            <a:pPr marL="171450" indent="-171450">
              <a:buFont typeface="Arial" panose="020B0604020202020204" pitchFamily="34" charset="0"/>
              <a:buChar char="•"/>
            </a:pPr>
            <a:r>
              <a:rPr lang="en-US" sz="800" b="1" kern="1200">
                <a:solidFill>
                  <a:schemeClr val="tx1"/>
                </a:solidFill>
                <a:effectLst/>
                <a:latin typeface="Segoe UI Light" pitchFamily="34" charset="0"/>
                <a:ea typeface="+mn-ea"/>
                <a:cs typeface="+mn-cs"/>
              </a:rPr>
              <a:t>Security policy</a:t>
            </a:r>
            <a:r>
              <a:rPr lang="en-US" sz="800" b="0" kern="1200">
                <a:solidFill>
                  <a:schemeClr val="tx1"/>
                </a:solidFill>
                <a:effectLst/>
                <a:latin typeface="Segoe UI Light" pitchFamily="34" charset="0"/>
                <a:ea typeface="+mn-ea"/>
                <a:cs typeface="+mn-cs"/>
              </a:rPr>
              <a:t>:</a:t>
            </a:r>
            <a:r>
              <a:rPr lang="en-US" sz="800" b="0" kern="1200" baseline="0">
                <a:solidFill>
                  <a:schemeClr val="tx1"/>
                </a:solidFill>
                <a:effectLst/>
                <a:latin typeface="Segoe UI Light" pitchFamily="34" charset="0"/>
                <a:ea typeface="+mn-ea"/>
                <a:cs typeface="+mn-cs"/>
              </a:rPr>
              <a:t> This is a</a:t>
            </a:r>
            <a:r>
              <a:rPr lang="en-US" sz="800" kern="1200">
                <a:solidFill>
                  <a:schemeClr val="tx1"/>
                </a:solidFill>
                <a:effectLst/>
                <a:latin typeface="Segoe UI Light" pitchFamily="34" charset="0"/>
                <a:ea typeface="+mn-ea"/>
                <a:cs typeface="+mn-cs"/>
              </a:rPr>
              <a:t> collection of security predicates for managing security across multiple tables. (For example, you might have an Account policy that applies multiple security predicates to Account-related tables, and an HR policy that applies several security predicates to various HR tables.)</a:t>
            </a:r>
          </a:p>
          <a:p>
            <a:pPr marL="17145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Access to row-level data in a table is restricted by a security predicate defined as an inline table-valued function. The function is then invoked and enforced by a security policy. </a:t>
            </a:r>
          </a:p>
          <a:p>
            <a:pPr marL="17145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For filter predicates, there is no indication to the application that rows have been filtered from the result set; if all rows are filtered, a null set will be returned. For block predicates, any operations that violate the predicate will fail with an error.</a:t>
            </a:r>
          </a:p>
          <a:p>
            <a:pPr marL="17145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Filter predicates are applied while reading data from the base table, and this</a:t>
            </a:r>
            <a:r>
              <a:rPr lang="en-US" sz="800" kern="1200" baseline="0">
                <a:solidFill>
                  <a:schemeClr val="tx1"/>
                </a:solidFill>
                <a:effectLst/>
                <a:latin typeface="Segoe UI Light" pitchFamily="34" charset="0"/>
                <a:ea typeface="+mn-ea"/>
                <a:cs typeface="+mn-cs"/>
              </a:rPr>
              <a:t> </a:t>
            </a:r>
            <a:r>
              <a:rPr lang="en-US" sz="800" kern="1200">
                <a:solidFill>
                  <a:schemeClr val="tx1"/>
                </a:solidFill>
                <a:effectLst/>
                <a:latin typeface="Segoe UI Light" pitchFamily="34" charset="0"/>
                <a:ea typeface="+mn-ea"/>
                <a:cs typeface="+mn-cs"/>
              </a:rPr>
              <a:t>affects all get operations: </a:t>
            </a:r>
            <a:r>
              <a:rPr lang="en-US" sz="800" b="1" kern="1200">
                <a:solidFill>
                  <a:schemeClr val="tx1"/>
                </a:solidFill>
                <a:effectLst/>
                <a:latin typeface="Segoe UI Light" pitchFamily="34" charset="0"/>
                <a:ea typeface="+mn-ea"/>
                <a:cs typeface="+mn-cs"/>
              </a:rPr>
              <a:t>SELECT</a:t>
            </a:r>
            <a:r>
              <a:rPr lang="en-US" sz="800" kern="1200">
                <a:solidFill>
                  <a:schemeClr val="tx1"/>
                </a:solidFill>
                <a:effectLst/>
                <a:latin typeface="Segoe UI Light" pitchFamily="34" charset="0"/>
                <a:ea typeface="+mn-ea"/>
                <a:cs typeface="+mn-cs"/>
              </a:rPr>
              <a:t>, </a:t>
            </a:r>
            <a:r>
              <a:rPr lang="en-US" sz="800" b="1" kern="1200">
                <a:solidFill>
                  <a:schemeClr val="tx1"/>
                </a:solidFill>
                <a:effectLst/>
                <a:latin typeface="Segoe UI Light" pitchFamily="34" charset="0"/>
                <a:ea typeface="+mn-ea"/>
                <a:cs typeface="+mn-cs"/>
              </a:rPr>
              <a:t>DELETE</a:t>
            </a:r>
            <a:r>
              <a:rPr lang="en-US" sz="800" kern="1200">
                <a:solidFill>
                  <a:schemeClr val="tx1"/>
                </a:solidFill>
                <a:effectLst/>
                <a:latin typeface="Segoe UI Light" pitchFamily="34" charset="0"/>
                <a:ea typeface="+mn-ea"/>
                <a:cs typeface="+mn-cs"/>
              </a:rPr>
              <a:t> (that</a:t>
            </a:r>
            <a:r>
              <a:rPr lang="en-US" sz="800" kern="1200" baseline="0">
                <a:solidFill>
                  <a:schemeClr val="tx1"/>
                </a:solidFill>
                <a:effectLst/>
                <a:latin typeface="Segoe UI Light" pitchFamily="34" charset="0"/>
                <a:ea typeface="+mn-ea"/>
                <a:cs typeface="+mn-cs"/>
              </a:rPr>
              <a:t> is, </a:t>
            </a:r>
            <a:r>
              <a:rPr lang="en-US" sz="800" kern="1200">
                <a:solidFill>
                  <a:schemeClr val="tx1"/>
                </a:solidFill>
                <a:effectLst/>
                <a:latin typeface="Segoe UI Light" pitchFamily="34" charset="0"/>
                <a:ea typeface="+mn-ea"/>
                <a:cs typeface="+mn-cs"/>
              </a:rPr>
              <a:t>user cannot delete rows that are filtered), and </a:t>
            </a:r>
            <a:r>
              <a:rPr lang="en-US" sz="800" b="1" kern="1200">
                <a:solidFill>
                  <a:schemeClr val="tx1"/>
                </a:solidFill>
                <a:effectLst/>
                <a:latin typeface="Segoe UI Light" pitchFamily="34" charset="0"/>
                <a:ea typeface="+mn-ea"/>
                <a:cs typeface="+mn-cs"/>
              </a:rPr>
              <a:t>UPDATE</a:t>
            </a:r>
            <a:r>
              <a:rPr lang="en-US" sz="800" kern="1200">
                <a:solidFill>
                  <a:schemeClr val="tx1"/>
                </a:solidFill>
                <a:effectLst/>
                <a:latin typeface="Segoe UI Light" pitchFamily="34" charset="0"/>
                <a:ea typeface="+mn-ea"/>
                <a:cs typeface="+mn-cs"/>
              </a:rPr>
              <a:t> (that</a:t>
            </a:r>
            <a:r>
              <a:rPr lang="en-US" sz="800" kern="1200" baseline="0">
                <a:solidFill>
                  <a:schemeClr val="tx1"/>
                </a:solidFill>
                <a:effectLst/>
                <a:latin typeface="Segoe UI Light" pitchFamily="34" charset="0"/>
                <a:ea typeface="+mn-ea"/>
                <a:cs typeface="+mn-cs"/>
              </a:rPr>
              <a:t> is, </a:t>
            </a:r>
            <a:r>
              <a:rPr lang="en-US" sz="800" kern="1200">
                <a:solidFill>
                  <a:schemeClr val="tx1"/>
                </a:solidFill>
                <a:effectLst/>
                <a:latin typeface="Segoe UI Light" pitchFamily="34" charset="0"/>
                <a:ea typeface="+mn-ea"/>
                <a:cs typeface="+mn-cs"/>
              </a:rPr>
              <a:t>user cannot update rows that are filtered, although it is possible to update rows in such a way that they will be subsequently filtered). </a:t>
            </a:r>
          </a:p>
          <a:p>
            <a:pPr marL="17145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Block predicates affect all write operations.</a:t>
            </a:r>
          </a:p>
          <a:p>
            <a:pPr marL="388712" lvl="1"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AFTER INSERT and AFTER UPDATE predicates can prevent users from updating rows to values that violate the predicate.</a:t>
            </a:r>
          </a:p>
          <a:p>
            <a:pPr marL="388712" lvl="1"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BEFORE UPDATE predicates can prevent users from updating rows that currently violate the predicate.</a:t>
            </a:r>
          </a:p>
          <a:p>
            <a:pPr marL="388712" lvl="1"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BEFORE DELETE predicates can block delete operations.</a:t>
            </a:r>
          </a:p>
          <a:p>
            <a:pPr marL="171450" indent="-171450">
              <a:buFont typeface="Arial" panose="020B0604020202020204" pitchFamily="34" charset="0"/>
              <a:buChar char="•"/>
            </a:pPr>
            <a:r>
              <a:rPr lang="en-US" sz="800" kern="1200">
                <a:solidFill>
                  <a:schemeClr val="tx1"/>
                </a:solidFill>
                <a:effectLst/>
                <a:latin typeface="Segoe UI Light" pitchFamily="34" charset="0"/>
                <a:ea typeface="+mn-ea"/>
                <a:cs typeface="+mn-cs"/>
              </a:rPr>
              <a:t>The function is then invoked and enforced by a security policy. The policy can restrict the rows that may be viewed (a filter predicate), but does not restrict the rows that can be inserted or updated from a table (a blocking predicate). There is no indication to the application that rows have been filtered from the result set; if all rows are filtered, a null set will be returned.</a:t>
            </a:r>
          </a:p>
          <a:p>
            <a:pPr rtl="0"/>
            <a:r>
              <a:rPr lang="en-US" sz="800">
                <a:effectLst/>
              </a:rPr>
              <a:t>Even </a:t>
            </a:r>
            <a:r>
              <a:rPr lang="en-US" sz="800" err="1">
                <a:effectLst/>
              </a:rPr>
              <a:t>dbo</a:t>
            </a:r>
            <a:r>
              <a:rPr lang="en-US" sz="800">
                <a:effectLst/>
              </a:rPr>
              <a:t>/</a:t>
            </a:r>
            <a:r>
              <a:rPr lang="en-US" sz="800" err="1">
                <a:effectLst/>
              </a:rPr>
              <a:t>db_owner</a:t>
            </a:r>
            <a:r>
              <a:rPr lang="en-US" sz="800">
                <a:effectLst/>
              </a:rPr>
              <a:t>/table owner queries against a table that has a security policy defined and enabled has rows filtered/restricted as appropriate.</a:t>
            </a:r>
          </a:p>
          <a:p>
            <a:pPr rtl="0"/>
            <a:r>
              <a:rPr lang="en-US" sz="800">
                <a:effectLst/>
              </a:rPr>
              <a:t>Any attempt to modify the table schema or the function that is used as the filter predicate within an active policy enabled will result in error.</a:t>
            </a:r>
          </a:p>
          <a:p>
            <a:endParaRPr lang="en-US" sz="80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69</a:t>
            </a:fld>
            <a:endParaRPr lang="en-US" noProof="0"/>
          </a:p>
        </p:txBody>
      </p:sp>
    </p:spTree>
    <p:extLst>
      <p:ext uri="{BB962C8B-B14F-4D97-AF65-F5344CB8AC3E}">
        <p14:creationId xmlns:p14="http://schemas.microsoft.com/office/powerpoint/2010/main" val="29991101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a:solidFill>
                  <a:srgbClr val="000000"/>
                </a:solidFill>
                <a:latin typeface="Consolas" panose="020B0609020204030204" pitchFamily="49" charset="0"/>
              </a:rPr>
              <a:t>M04L07Demo01</a:t>
            </a:r>
          </a:p>
          <a:p>
            <a:pPr marL="0" indent="0">
              <a:buFont typeface="Arial" panose="020B0604020202020204" pitchFamily="34" charset="0"/>
              <a:buNone/>
            </a:pPr>
            <a:endParaRPr lang="en-US" b="1"/>
          </a:p>
          <a:p>
            <a:pPr marL="0" indent="0">
              <a:buFont typeface="Arial" panose="020B0604020202020204" pitchFamily="34" charset="0"/>
              <a:buNone/>
            </a:pPr>
            <a:r>
              <a:rPr lang="en-US" b="1"/>
              <a:t>Demo Requirements</a:t>
            </a:r>
          </a:p>
          <a:p>
            <a:pPr marL="171450" indent="-171450">
              <a:buFontTx/>
              <a:buChar char="-"/>
            </a:pPr>
            <a:r>
              <a:rPr lang="en-US" b="0"/>
              <a:t>Make sure you have the </a:t>
            </a:r>
            <a:r>
              <a:rPr lang="en-US" b="0" err="1"/>
              <a:t>salesdb</a:t>
            </a:r>
            <a:r>
              <a:rPr lang="en-US" b="0"/>
              <a:t> that was created in Module 1</a:t>
            </a:r>
          </a:p>
          <a:p>
            <a:pPr marL="171450" indent="-171450">
              <a:buFontTx/>
              <a:buChar char="-"/>
            </a:pPr>
            <a:r>
              <a:rPr lang="en-US" b="0"/>
              <a:t>Use the </a:t>
            </a:r>
            <a:r>
              <a:rPr lang="en-US" b="1"/>
              <a:t>C:\Demos\M04L07Demo01\</a:t>
            </a:r>
            <a:r>
              <a:rPr lang="en-US" b="1" u="none"/>
              <a:t>Row Level </a:t>
            </a:r>
            <a:r>
              <a:rPr lang="en-US" b="1" u="none" err="1"/>
              <a:t>Security.sql</a:t>
            </a:r>
            <a:r>
              <a:rPr lang="en-US" b="0" u="none"/>
              <a:t> file</a:t>
            </a:r>
            <a:r>
              <a:rPr lang="en-US" b="0"/>
              <a:t>. </a:t>
            </a:r>
          </a:p>
          <a:p>
            <a:pPr marL="171450" indent="-171450">
              <a:buFontTx/>
              <a:buChar char="-"/>
            </a:pPr>
            <a:endParaRPr lang="en-US" b="0"/>
          </a:p>
          <a:p>
            <a:pPr marL="0" indent="0">
              <a:buFontTx/>
              <a:buNone/>
            </a:pPr>
            <a:r>
              <a:rPr lang="en-US" b="1"/>
              <a:t>Demo – Follow the steps in the Row Level </a:t>
            </a:r>
            <a:r>
              <a:rPr lang="en-US" b="1" err="1"/>
              <a:t>Security.sql</a:t>
            </a:r>
            <a:r>
              <a:rPr lang="en-US" b="1"/>
              <a:t> script</a:t>
            </a:r>
          </a:p>
          <a:p>
            <a:pPr marL="228600" indent="-228600">
              <a:buFontTx/>
              <a:buAutoNum type="arabicPeriod"/>
            </a:pPr>
            <a:r>
              <a:rPr lang="en-US" b="0"/>
              <a:t>Create Table</a:t>
            </a:r>
          </a:p>
          <a:p>
            <a:pPr marL="228600" indent="-228600">
              <a:buFontTx/>
              <a:buAutoNum type="arabicPeriod"/>
            </a:pPr>
            <a:r>
              <a:rPr lang="en-US" b="0"/>
              <a:t>Insert Data into the table</a:t>
            </a:r>
          </a:p>
          <a:p>
            <a:pPr marL="228600" indent="-228600">
              <a:buFontTx/>
              <a:buAutoNum type="arabicPeriod"/>
            </a:pPr>
            <a:r>
              <a:rPr lang="en-US" b="0"/>
              <a:t>Create Users</a:t>
            </a:r>
          </a:p>
          <a:p>
            <a:pPr marL="228600" indent="-228600">
              <a:buFontTx/>
              <a:buAutoNum type="arabicPeriod"/>
            </a:pPr>
            <a:r>
              <a:rPr lang="en-US" b="0"/>
              <a:t>Grant permissions to the users</a:t>
            </a:r>
          </a:p>
          <a:p>
            <a:pPr marL="228600" indent="-228600">
              <a:buFontTx/>
              <a:buAutoNum type="arabicPeriod"/>
            </a:pPr>
            <a:r>
              <a:rPr lang="en-US" b="0"/>
              <a:t>Create the predicate function</a:t>
            </a:r>
          </a:p>
          <a:p>
            <a:pPr marL="228600" indent="-228600">
              <a:buFontTx/>
              <a:buAutoNum type="arabicPeriod"/>
            </a:pPr>
            <a:r>
              <a:rPr lang="en-US" b="0"/>
              <a:t>Create the security policy</a:t>
            </a:r>
          </a:p>
          <a:p>
            <a:pPr marL="228600" indent="-228600">
              <a:buFontTx/>
              <a:buAutoNum type="arabicPeriod"/>
            </a:pPr>
            <a:r>
              <a:rPr lang="en-US" b="0"/>
              <a:t>Verify data with Sales1 user</a:t>
            </a:r>
          </a:p>
          <a:p>
            <a:pPr marL="228600" indent="-228600">
              <a:buFontTx/>
              <a:buAutoNum type="arabicPeriod"/>
            </a:pPr>
            <a:r>
              <a:rPr lang="en-US" b="0"/>
              <a:t>Verify data with Sales2 user</a:t>
            </a:r>
          </a:p>
          <a:p>
            <a:pPr marL="228600" indent="-228600">
              <a:buFontTx/>
              <a:buAutoNum type="arabicPeriod"/>
            </a:pPr>
            <a:r>
              <a:rPr lang="en-US" b="0"/>
              <a:t>Verify data with Manager user</a:t>
            </a:r>
          </a:p>
          <a:p>
            <a:pPr marL="228600" indent="-228600">
              <a:buFontTx/>
              <a:buAutoNum type="arabicPeriod"/>
            </a:pPr>
            <a:endParaRPr lang="en-US" b="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800">
                <a:solidFill>
                  <a:srgbClr val="000000"/>
                </a:solidFill>
                <a:latin typeface="Consolas" panose="020B0609020204030204" pitchFamily="49" charset="0"/>
              </a:rPr>
              <a:t>M04L07Lab01</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996599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a:effectLst/>
                <a:latin typeface="Segoe UI" panose="020B0502040204020203" pitchFamily="34" charset="0"/>
                <a:cs typeface="Segoe UI" panose="020B0502040204020203" pitchFamily="34" charset="0"/>
              </a:rPr>
              <a:t>Objective: </a:t>
            </a:r>
            <a:r>
              <a:rPr lang="en-US" sz="1000" baseline="0">
                <a:latin typeface="Segoe UI" panose="020B0502040204020203" pitchFamily="34" charset="0"/>
                <a:cs typeface="Segoe UI" panose="020B0502040204020203" pitchFamily="34" charset="0"/>
              </a:rPr>
              <a:t>Azure SQL includes a number of additional security measures for data. This slide provides an overview of SQL encryption in transit, at rest, and end-to-end.</a:t>
            </a:r>
          </a:p>
          <a:p>
            <a:endParaRPr lang="en-US" sz="1000" baseline="0">
              <a:latin typeface="Segoe UI" panose="020B0502040204020203" pitchFamily="34" charset="0"/>
              <a:cs typeface="Segoe UI" panose="020B0502040204020203" pitchFamily="34" charset="0"/>
            </a:endParaRPr>
          </a:p>
          <a:p>
            <a:pPr marL="0" lvl="1" defTabSz="921738" fontAlgn="base">
              <a:lnSpc>
                <a:spcPct val="90000"/>
              </a:lnSpc>
              <a:spcBef>
                <a:spcPct val="0"/>
              </a:spcBef>
              <a:spcAft>
                <a:spcPts val="606"/>
              </a:spcAft>
            </a:pPr>
            <a:r>
              <a:rPr lang="en-US" sz="1000" b="1">
                <a:effectLst/>
                <a:latin typeface="Segoe UI" panose="020B0502040204020203" pitchFamily="34" charset="0"/>
                <a:cs typeface="Segoe UI" panose="020B0502040204020203" pitchFamily="34" charset="0"/>
              </a:rPr>
              <a:t>Talking Points:</a:t>
            </a:r>
            <a:endParaRPr lang="en-US" sz="1000" b="1">
              <a:solidFill>
                <a:srgbClr val="247BC2"/>
              </a:solidFill>
              <a:latin typeface="Segoe UI" panose="020B0502040204020203" pitchFamily="34" charset="0"/>
              <a:cs typeface="Segoe UI" panose="020B0502040204020203" pitchFamily="34" charset="0"/>
            </a:endParaRPr>
          </a:p>
          <a:p>
            <a:pPr marL="173038" lvl="1" indent="-173038" defTabSz="921738" fontAlgn="base">
              <a:lnSpc>
                <a:spcPct val="90000"/>
              </a:lnSpc>
              <a:spcBef>
                <a:spcPct val="0"/>
              </a:spcBef>
              <a:spcAft>
                <a:spcPts val="606"/>
              </a:spcAft>
              <a:buFont typeface="Arial" panose="020B0604020202020204" pitchFamily="34" charset="0"/>
              <a:buChar char="•"/>
            </a:pPr>
            <a:r>
              <a:rPr lang="en-US" sz="1000" b="0">
                <a:latin typeface="Segoe UI" panose="020B0502040204020203" pitchFamily="34" charset="0"/>
                <a:cs typeface="Segoe UI" panose="020B0502040204020203" pitchFamily="34" charset="0"/>
              </a:rPr>
              <a:t>Key takeaway: Encrypted </a:t>
            </a:r>
            <a:r>
              <a:rPr lang="en-US" sz="1000">
                <a:latin typeface="Segoe UI" panose="020B0502040204020203" pitchFamily="34" charset="0"/>
                <a:cs typeface="Segoe UI" panose="020B0502040204020203" pitchFamily="34" charset="0"/>
              </a:rPr>
              <a:t>sensitive data and its corresponding keys are never seen in plain text in SQL Server</a:t>
            </a:r>
          </a:p>
          <a:p>
            <a:pPr marL="173038" lvl="1" indent="-173038" defTabSz="921738" fontAlgn="base">
              <a:lnSpc>
                <a:spcPct val="90000"/>
              </a:lnSpc>
              <a:spcBef>
                <a:spcPct val="0"/>
              </a:spcBef>
              <a:spcAft>
                <a:spcPts val="606"/>
              </a:spcAft>
              <a:buFont typeface="Arial" panose="020B0604020202020204" pitchFamily="34" charset="0"/>
              <a:buChar char="•"/>
            </a:pPr>
            <a:r>
              <a:rPr lang="en-US" sz="1000">
                <a:latin typeface="Segoe UI" panose="020B0502040204020203" pitchFamily="34" charset="0"/>
                <a:cs typeface="Segoe UI" panose="020B0502040204020203" pitchFamily="34" charset="0"/>
              </a:rPr>
              <a:t>The customer will need</a:t>
            </a:r>
            <a:r>
              <a:rPr lang="en-US" sz="1000" b="1">
                <a:latin typeface="Segoe UI" panose="020B0502040204020203" pitchFamily="34" charset="0"/>
                <a:cs typeface="Segoe UI" panose="020B0502040204020203" pitchFamily="34" charset="0"/>
              </a:rPr>
              <a:t> </a:t>
            </a:r>
            <a:r>
              <a:rPr lang="en-US" sz="1000">
                <a:latin typeface="Segoe UI" panose="020B0502040204020203" pitchFamily="34" charset="0"/>
                <a:cs typeface="Segoe UI" panose="020B0502040204020203" pitchFamily="34" charset="0"/>
              </a:rPr>
              <a:t>to verify in the Azure Portal that the database is encrypted via PowerShell/T-SQL</a:t>
            </a:r>
          </a:p>
          <a:p>
            <a:pPr marL="171450" indent="-171450" rtl="0" eaLnBrk="1" fontAlgn="t" latinLnBrk="0" hangingPunct="1">
              <a:buFont typeface="Arial" panose="020B0604020202020204" pitchFamily="34" charset="0"/>
              <a:buChar char="•"/>
            </a:pPr>
            <a:r>
              <a:rPr lang="en-US" sz="1000">
                <a:latin typeface="Segoe UI" panose="020B0502040204020203" pitchFamily="34" charset="0"/>
                <a:cs typeface="Segoe UI" panose="020B0502040204020203" pitchFamily="34" charset="0"/>
              </a:rPr>
              <a:t>Encryption-In-Transit technologies:</a:t>
            </a:r>
          </a:p>
          <a:p>
            <a:pPr marL="628650" lvl="1" indent="-171450" rtl="0" eaLnBrk="1" fontAlgn="t" latinLnBrk="0" hangingPunct="1">
              <a:buFont typeface="Arial" panose="020B0604020202020204" pitchFamily="34" charset="0"/>
              <a:buChar char="•"/>
            </a:pPr>
            <a:r>
              <a:rPr lang="en-US" sz="1000">
                <a:latin typeface="Segoe UI" panose="020B0502040204020203" pitchFamily="34" charset="0"/>
                <a:cs typeface="Segoe UI" panose="020B0502040204020203" pitchFamily="34" charset="0"/>
              </a:rPr>
              <a:t>TLS from Client to Server</a:t>
            </a:r>
          </a:p>
          <a:p>
            <a:pPr marL="628650" lvl="1" indent="-171450" rtl="0" eaLnBrk="1" fontAlgn="t" latinLnBrk="0" hangingPunct="1">
              <a:buFont typeface="Arial" panose="020B0604020202020204" pitchFamily="34" charset="0"/>
              <a:buChar char="•"/>
            </a:pPr>
            <a:r>
              <a:rPr lang="en-US" sz="1000">
                <a:latin typeface="Segoe UI" panose="020B0502040204020203" pitchFamily="34" charset="0"/>
                <a:cs typeface="Segoe UI" panose="020B0502040204020203" pitchFamily="34" charset="0"/>
              </a:rPr>
              <a:t>TLS = Transport Layer Security</a:t>
            </a:r>
          </a:p>
          <a:p>
            <a:pPr marL="171450"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Encryption at rest technologies: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TDE for SQL Database. On by default for newly deployed Azure SQL Databases. Note: </a:t>
            </a:r>
            <a:r>
              <a:rPr lang="en-US" sz="1200" b="0" i="0" u="none" strike="noStrike" kern="1200">
                <a:solidFill>
                  <a:schemeClr val="tx1"/>
                </a:solidFill>
                <a:effectLst/>
                <a:ea typeface="+mn-ea"/>
                <a:cs typeface="+mn-cs"/>
              </a:rPr>
              <a:t>TDE needs to be manually enabled for Azure SQL Managed Instance, older databases of Azure SQL Database, or Azure SQL Data Warehouse</a:t>
            </a:r>
            <a:r>
              <a:rPr lang="en-US" sz="1000">
                <a:latin typeface="Segoe UI" panose="020B0502040204020203" pitchFamily="34" charset="0"/>
                <a:cs typeface="Segoe UI" panose="020B0502040204020203" pitchFamily="34" charset="0"/>
              </a:rPr>
              <a:t> </a:t>
            </a:r>
          </a:p>
          <a:p>
            <a:pPr marL="628650" lvl="1" indent="-171450">
              <a:buFont typeface="Arial" panose="020B0604020202020204" pitchFamily="34" charset="0"/>
              <a:buChar char="•"/>
            </a:pPr>
            <a:r>
              <a:rPr lang="en-US" sz="1000">
                <a:latin typeface="Segoe UI" panose="020B0502040204020203" pitchFamily="34" charset="0"/>
                <a:cs typeface="Segoe UI" panose="020B0502040204020203" pitchFamily="34" charset="0"/>
              </a:rPr>
              <a:t>TDE = Transparent Data Encryption</a:t>
            </a:r>
          </a:p>
          <a:p>
            <a:pPr marL="171450" indent="-171450" rtl="0" eaLnBrk="1" fontAlgn="t" latinLnBrk="0" hangingPunct="1">
              <a:buFont typeface="Arial" panose="020B0604020202020204" pitchFamily="34" charset="0"/>
              <a:buChar char="•"/>
            </a:pPr>
            <a:r>
              <a:rPr lang="en-US" sz="1000">
                <a:latin typeface="Segoe UI" panose="020B0502040204020203" pitchFamily="34" charset="0"/>
                <a:cs typeface="Segoe UI" panose="020B0502040204020203" pitchFamily="34" charset="0"/>
              </a:rPr>
              <a:t>End-To-End encryption technologies:</a:t>
            </a:r>
          </a:p>
          <a:p>
            <a:pPr marL="628650" lvl="1" indent="-171450" rtl="0" eaLnBrk="1" fontAlgn="auto" latinLnBrk="0" hangingPunct="1">
              <a:buFont typeface="Arial" panose="020B0604020202020204" pitchFamily="34" charset="0"/>
              <a:buChar char="•"/>
            </a:pPr>
            <a:r>
              <a:rPr lang="en-US" sz="1000">
                <a:latin typeface="Segoe UI" panose="020B0502040204020203" pitchFamily="34" charset="0"/>
                <a:cs typeface="Segoe UI" panose="020B0502040204020203" pitchFamily="34" charset="0"/>
              </a:rPr>
              <a:t>Client-side column encryption for SQL Database (library available for download)</a:t>
            </a:r>
          </a:p>
          <a:p>
            <a:endParaRPr lang="en-US"/>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a:p>
        </p:txBody>
      </p:sp>
    </p:spTree>
    <p:extLst>
      <p:ext uri="{BB962C8B-B14F-4D97-AF65-F5344CB8AC3E}">
        <p14:creationId xmlns:p14="http://schemas.microsoft.com/office/powerpoint/2010/main" val="365751601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32742" rtl="0" eaLnBrk="1" fontAlgn="auto" latinLnBrk="0" hangingPunct="1">
              <a:lnSpc>
                <a:spcPct val="90000"/>
              </a:lnSpc>
              <a:spcBef>
                <a:spcPts val="0"/>
              </a:spcBef>
              <a:spcAft>
                <a:spcPts val="340"/>
              </a:spcAft>
              <a:buClrTx/>
              <a:buSzTx/>
              <a:buFontTx/>
              <a:buNone/>
              <a:tabLst/>
              <a:defRPr/>
            </a:pPr>
            <a:r>
              <a:rPr lang="en-US">
                <a:latin typeface="Segoe UI Light"/>
                <a:cs typeface="Segoe UI Light"/>
              </a:rPr>
              <a:t>Q1: </a:t>
            </a:r>
            <a:r>
              <a:rPr lang="en-US" sz="900">
                <a:solidFill>
                  <a:srgbClr val="FFFFFF"/>
                </a:solidFill>
              </a:rPr>
              <a:t>What is the purpose of the predicate function?</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pPr marL="171450" indent="-171450"/>
            <a:r>
              <a:rPr lang="en-US">
                <a:latin typeface="Segoe UI Light"/>
                <a:cs typeface="Segoe UI Light"/>
              </a:rPr>
              <a:t>Answer 1: It's a user defined inline TVF implementing security logic.</a:t>
            </a:r>
          </a:p>
          <a:p>
            <a:pPr marL="171450" indent="-171450"/>
            <a:endParaRPr lang="en-US">
              <a:latin typeface="Segoe UI Light"/>
              <a:cs typeface="Segoe UI Light"/>
            </a:endParaRPr>
          </a:p>
          <a:p>
            <a:pPr marL="171450" marR="0" lvl="0" indent="-171450" algn="l" defTabSz="932742" rtl="0" eaLnBrk="1" fontAlgn="auto" latinLnBrk="0" hangingPunct="1">
              <a:lnSpc>
                <a:spcPct val="90000"/>
              </a:lnSpc>
              <a:spcBef>
                <a:spcPts val="0"/>
              </a:spcBef>
              <a:spcAft>
                <a:spcPts val="340"/>
              </a:spcAft>
              <a:buClrTx/>
              <a:buSzTx/>
              <a:buFontTx/>
              <a:buNone/>
              <a:tabLst/>
              <a:defRPr/>
            </a:pPr>
            <a:r>
              <a:rPr lang="en-US">
                <a:latin typeface="Segoe UI Light"/>
                <a:cs typeface="Segoe UI Light"/>
              </a:rPr>
              <a:t>Q2: </a:t>
            </a:r>
            <a:r>
              <a:rPr lang="en-US" sz="900">
                <a:solidFill>
                  <a:srgbClr val="FFFFFF"/>
                </a:solidFill>
              </a:rPr>
              <a:t>Why do we need row level security (RLS)?</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US">
                <a:latin typeface="Segoe UI Light"/>
                <a:cs typeface="Segoe UI Light"/>
              </a:rPr>
              <a:t>Answer 2: It helps to prevent unauthorized access to the data when multiple users access the same set of tables. </a:t>
            </a:r>
          </a:p>
          <a:p>
            <a:pPr indent="-107956"/>
            <a:endParaRPr lang="en-US">
              <a:latin typeface="Segoe UI Light"/>
              <a:cs typeface="Segoe UI Light"/>
            </a:endParaRPr>
          </a:p>
          <a:p>
            <a:pPr marL="280756" lvl="1" indent="-171450"/>
            <a:endParaRPr lang="en-AU">
              <a:latin typeface="Segoe UI Light"/>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a:p>
        </p:txBody>
      </p:sp>
    </p:spTree>
    <p:extLst>
      <p:ext uri="{BB962C8B-B14F-4D97-AF65-F5344CB8AC3E}">
        <p14:creationId xmlns:p14="http://schemas.microsoft.com/office/powerpoint/2010/main" val="184528345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Dynamic Data Masking</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4</a:t>
            </a:fld>
            <a:endParaRPr lang="en-US" noProof="0"/>
          </a:p>
        </p:txBody>
      </p:sp>
    </p:spTree>
    <p:extLst>
      <p:ext uri="{BB962C8B-B14F-4D97-AF65-F5344CB8AC3E}">
        <p14:creationId xmlns:p14="http://schemas.microsoft.com/office/powerpoint/2010/main" val="310247167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Dynamic Data Masking</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Dynamic Data Masking enables you to hide parts of data fields upon display in an application. It will allow you to mask certain data columns based on built-in or custom policies.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6</a:t>
            </a:fld>
            <a:endParaRPr lang="en-US" noProof="0"/>
          </a:p>
        </p:txBody>
      </p:sp>
    </p:spTree>
    <p:extLst>
      <p:ext uri="{BB962C8B-B14F-4D97-AF65-F5344CB8AC3E}">
        <p14:creationId xmlns:p14="http://schemas.microsoft.com/office/powerpoint/2010/main" val="326526371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effectLst/>
                <a:latin typeface="Segoe UI" panose="020B0502040204020203" pitchFamily="34" charset="0"/>
                <a:cs typeface="Segoe UI" panose="020B0502040204020203" pitchFamily="34" charset="0"/>
              </a:rPr>
              <a:t>Dynamic data masking limits sensitive data exposure by masking it to non-privileged users. Dynamic data masking helps prevent unauthorized access to sensitive data by enabling administrators to designate how much of the sensitive data to reveal with minimal impact on the application layer. It’s a policy-based security feature that hides the sensitive data in the result set of a query over designated database fields, while the data in the database is not changed. Dynamic data masking is easy to use with existing applications, since masking rules are applied in the query results, and there is no need to modify existing queries.</a:t>
            </a:r>
          </a:p>
          <a:p>
            <a:pPr marL="171450" indent="-171450">
              <a:buFont typeface="Arial" panose="020B0604020202020204" pitchFamily="34" charset="0"/>
              <a:buChar char="•"/>
            </a:pPr>
            <a:endParaRPr lang="en-US" sz="800">
              <a:effectLst/>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800">
                <a:effectLst/>
                <a:latin typeface="Segoe UI" panose="020B0502040204020203" pitchFamily="34" charset="0"/>
                <a:cs typeface="Segoe UI" panose="020B0502040204020203" pitchFamily="34" charset="0"/>
              </a:rPr>
              <a:t>For example, a call center support person may identify callers by several digits of their social security number or credit card number, but those data items should not be fully exposed to the support person. A developer can define a masking rule to be applied to each query result that masks all but the last four digits of any social security number or credit card number in the result set. For another example, by using the appropriate data mask to protect personally identifiable information (PII) data, a developer can query production environments for troubleshooting purposes without violating compliance regulations.</a:t>
            </a:r>
          </a:p>
          <a:p>
            <a:pPr marL="171450" indent="-171450">
              <a:buFont typeface="Arial" panose="020B0604020202020204" pitchFamily="34" charset="0"/>
              <a:buChar char="•"/>
            </a:pPr>
            <a:r>
              <a:rPr lang="en-US" sz="800">
                <a:effectLst/>
                <a:latin typeface="Segoe UI" panose="020B0502040204020203" pitchFamily="34" charset="0"/>
                <a:cs typeface="Segoe UI" panose="020B0502040204020203" pitchFamily="34" charset="0"/>
              </a:rPr>
              <a:t>Dynamic data masking limits the exposure of sensitive data and prevents accidental viewing by engineers that </a:t>
            </a:r>
            <a:r>
              <a:rPr lang="en-US">
                <a:latin typeface="Segoe UI" panose="020B0502040204020203" pitchFamily="34" charset="0"/>
                <a:cs typeface="Segoe UI" panose="020B0502040204020203" pitchFamily="34" charset="0"/>
              </a:rPr>
              <a:t>access databases directly for </a:t>
            </a:r>
            <a:r>
              <a:rPr lang="en-US" sz="800">
                <a:effectLst/>
                <a:latin typeface="Segoe UI" panose="020B0502040204020203" pitchFamily="34" charset="0"/>
                <a:cs typeface="Segoe UI" panose="020B0502040204020203" pitchFamily="34" charset="0"/>
              </a:rPr>
              <a:t>troubleshooting purposes. Dynamic data masking doesn’t aim to prevent privileged database users from connecting directly to the database and running exhaustive queries that expose pieces of the sensitive data. Dynamic data masking is complimentary to other SQL Server security features (auditing, encryption, row level security…) and it is highly recommended to enable them in addition in order to protect the sensitive data in the databas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7</a:t>
            </a:fld>
            <a:endParaRPr lang="en-US" noProof="0"/>
          </a:p>
        </p:txBody>
      </p:sp>
    </p:spTree>
    <p:extLst>
      <p:ext uri="{BB962C8B-B14F-4D97-AF65-F5344CB8AC3E}">
        <p14:creationId xmlns:p14="http://schemas.microsoft.com/office/powerpoint/2010/main" val="251573822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a:cs typeface="Segoe UI Light"/>
              </a:rPr>
              <a:t>There are 5 types of masks available</a:t>
            </a:r>
          </a:p>
          <a:p>
            <a:r>
              <a:rPr lang="en-US">
                <a:latin typeface="Segoe UI Light"/>
                <a:cs typeface="Segoe UI Light"/>
              </a:rPr>
              <a:t>1.  Default -&gt;</a:t>
            </a:r>
            <a:r>
              <a:rPr lang="en-US" sz="800" b="1" i="0" u="none" strike="noStrike" kern="1200">
                <a:solidFill>
                  <a:schemeClr val="tx1"/>
                </a:solidFill>
                <a:effectLst/>
                <a:latin typeface="Segoe UI Light" pitchFamily="34" charset="0"/>
                <a:ea typeface="+mn-ea"/>
                <a:cs typeface="+mn-cs"/>
              </a:rPr>
              <a:t>Full masking according to the data types of the designated fields:</a:t>
            </a:r>
            <a:br>
              <a:rPr lang="en-US"/>
            </a:br>
            <a:br>
              <a:rPr lang="en-US"/>
            </a:br>
            <a:r>
              <a:rPr lang="en-US" sz="800" b="0" i="0" u="none" strike="noStrike" kern="1200">
                <a:solidFill>
                  <a:schemeClr val="tx1"/>
                </a:solidFill>
                <a:effectLst/>
                <a:latin typeface="Segoe UI Light" pitchFamily="34" charset="0"/>
                <a:ea typeface="+mn-ea"/>
                <a:cs typeface="+mn-cs"/>
              </a:rPr>
              <a:t>• Use XXXX or fewer </a:t>
            </a:r>
            <a:r>
              <a:rPr lang="en-US" sz="800" b="0" i="0" u="none" strike="noStrike" kern="1200" err="1">
                <a:solidFill>
                  <a:schemeClr val="tx1"/>
                </a:solidFill>
                <a:effectLst/>
                <a:latin typeface="Segoe UI Light" pitchFamily="34" charset="0"/>
                <a:ea typeface="+mn-ea"/>
                <a:cs typeface="+mn-cs"/>
              </a:rPr>
              <a:t>Xs</a:t>
            </a:r>
            <a:r>
              <a:rPr lang="en-US" sz="800" b="0" i="0" u="none" strike="noStrike" kern="1200">
                <a:solidFill>
                  <a:schemeClr val="tx1"/>
                </a:solidFill>
                <a:effectLst/>
                <a:latin typeface="Segoe UI Light" pitchFamily="34" charset="0"/>
                <a:ea typeface="+mn-ea"/>
                <a:cs typeface="+mn-cs"/>
              </a:rPr>
              <a:t> if the size of the field is less than 4 characters for string data types (</a:t>
            </a:r>
            <a:r>
              <a:rPr lang="en-US" sz="800" b="0" i="0" u="none" strike="noStrike" kern="1200" err="1">
                <a:solidFill>
                  <a:schemeClr val="tx1"/>
                </a:solidFill>
                <a:effectLst/>
                <a:latin typeface="Segoe UI Light" pitchFamily="34" charset="0"/>
                <a:ea typeface="+mn-ea"/>
                <a:cs typeface="+mn-cs"/>
              </a:rPr>
              <a:t>nchar</a:t>
            </a:r>
            <a:r>
              <a:rPr lang="en-US" sz="800" b="0" i="0" u="none" strike="noStrike" kern="1200">
                <a:solidFill>
                  <a:schemeClr val="tx1"/>
                </a:solidFill>
                <a:effectLst/>
                <a:latin typeface="Segoe UI Light" pitchFamily="34" charset="0"/>
                <a:ea typeface="+mn-ea"/>
                <a:cs typeface="+mn-cs"/>
              </a:rPr>
              <a:t>, </a:t>
            </a:r>
            <a:r>
              <a:rPr lang="en-US" sz="800" b="0" i="0" u="none" strike="noStrike" kern="1200" err="1">
                <a:solidFill>
                  <a:schemeClr val="tx1"/>
                </a:solidFill>
                <a:effectLst/>
                <a:latin typeface="Segoe UI Light" pitchFamily="34" charset="0"/>
                <a:ea typeface="+mn-ea"/>
                <a:cs typeface="+mn-cs"/>
              </a:rPr>
              <a:t>ntext</a:t>
            </a:r>
            <a:r>
              <a:rPr lang="en-US" sz="800" b="0" i="0" u="none" strike="noStrike" kern="1200">
                <a:solidFill>
                  <a:schemeClr val="tx1"/>
                </a:solidFill>
                <a:effectLst/>
                <a:latin typeface="Segoe UI Light" pitchFamily="34" charset="0"/>
                <a:ea typeface="+mn-ea"/>
                <a:cs typeface="+mn-cs"/>
              </a:rPr>
              <a:t>, </a:t>
            </a:r>
            <a:r>
              <a:rPr lang="en-US" sz="800" b="0" i="0" u="none" strike="noStrike" kern="1200" err="1">
                <a:solidFill>
                  <a:schemeClr val="tx1"/>
                </a:solidFill>
                <a:effectLst/>
                <a:latin typeface="Segoe UI Light" pitchFamily="34" charset="0"/>
                <a:ea typeface="+mn-ea"/>
                <a:cs typeface="+mn-cs"/>
              </a:rPr>
              <a:t>nvarchar</a:t>
            </a:r>
            <a:r>
              <a:rPr lang="en-US" sz="800" b="0" i="0" u="none" strike="noStrike" kern="1200">
                <a:solidFill>
                  <a:schemeClr val="tx1"/>
                </a:solidFill>
                <a:effectLst/>
                <a:latin typeface="Segoe UI Light" pitchFamily="34" charset="0"/>
                <a:ea typeface="+mn-ea"/>
                <a:cs typeface="+mn-cs"/>
              </a:rPr>
              <a:t>).</a:t>
            </a:r>
            <a:br>
              <a:rPr lang="en-US"/>
            </a:br>
            <a:r>
              <a:rPr lang="en-US" sz="800" b="0" i="0" u="none" strike="noStrike" kern="1200">
                <a:solidFill>
                  <a:schemeClr val="tx1"/>
                </a:solidFill>
                <a:effectLst/>
                <a:latin typeface="Segoe UI Light" pitchFamily="34" charset="0"/>
                <a:ea typeface="+mn-ea"/>
                <a:cs typeface="+mn-cs"/>
              </a:rPr>
              <a:t>• Use a zero value for numeric data types (</a:t>
            </a:r>
            <a:r>
              <a:rPr lang="en-US" sz="800" b="0" i="0" u="none" strike="noStrike" kern="1200" err="1">
                <a:solidFill>
                  <a:schemeClr val="tx1"/>
                </a:solidFill>
                <a:effectLst/>
                <a:latin typeface="Segoe UI Light" pitchFamily="34" charset="0"/>
                <a:ea typeface="+mn-ea"/>
                <a:cs typeface="+mn-cs"/>
              </a:rPr>
              <a:t>bigint</a:t>
            </a:r>
            <a:r>
              <a:rPr lang="en-US" sz="800" b="0" i="0" u="none" strike="noStrike" kern="1200">
                <a:solidFill>
                  <a:schemeClr val="tx1"/>
                </a:solidFill>
                <a:effectLst/>
                <a:latin typeface="Segoe UI Light" pitchFamily="34" charset="0"/>
                <a:ea typeface="+mn-ea"/>
                <a:cs typeface="+mn-cs"/>
              </a:rPr>
              <a:t>, bit, decimal, int, money, numeric, </a:t>
            </a:r>
            <a:r>
              <a:rPr lang="en-US" sz="800" b="0" i="0" u="none" strike="noStrike" kern="1200" err="1">
                <a:solidFill>
                  <a:schemeClr val="tx1"/>
                </a:solidFill>
                <a:effectLst/>
                <a:latin typeface="Segoe UI Light" pitchFamily="34" charset="0"/>
                <a:ea typeface="+mn-ea"/>
                <a:cs typeface="+mn-cs"/>
              </a:rPr>
              <a:t>smallint</a:t>
            </a:r>
            <a:r>
              <a:rPr lang="en-US" sz="800" b="0" i="0" u="none" strike="noStrike" kern="1200">
                <a:solidFill>
                  <a:schemeClr val="tx1"/>
                </a:solidFill>
                <a:effectLst/>
                <a:latin typeface="Segoe UI Light" pitchFamily="34" charset="0"/>
                <a:ea typeface="+mn-ea"/>
                <a:cs typeface="+mn-cs"/>
              </a:rPr>
              <a:t>, </a:t>
            </a:r>
            <a:r>
              <a:rPr lang="en-US" sz="800" b="0" i="0" u="none" strike="noStrike" kern="1200" err="1">
                <a:solidFill>
                  <a:schemeClr val="tx1"/>
                </a:solidFill>
                <a:effectLst/>
                <a:latin typeface="Segoe UI Light" pitchFamily="34" charset="0"/>
                <a:ea typeface="+mn-ea"/>
                <a:cs typeface="+mn-cs"/>
              </a:rPr>
              <a:t>smallmoney</a:t>
            </a:r>
            <a:r>
              <a:rPr lang="en-US" sz="800" b="0" i="0" u="none" strike="noStrike" kern="1200">
                <a:solidFill>
                  <a:schemeClr val="tx1"/>
                </a:solidFill>
                <a:effectLst/>
                <a:latin typeface="Segoe UI Light" pitchFamily="34" charset="0"/>
                <a:ea typeface="+mn-ea"/>
                <a:cs typeface="+mn-cs"/>
              </a:rPr>
              <a:t>, </a:t>
            </a:r>
            <a:r>
              <a:rPr lang="en-US" sz="800" b="0" i="0" u="none" strike="noStrike" kern="1200" err="1">
                <a:solidFill>
                  <a:schemeClr val="tx1"/>
                </a:solidFill>
                <a:effectLst/>
                <a:latin typeface="Segoe UI Light" pitchFamily="34" charset="0"/>
                <a:ea typeface="+mn-ea"/>
                <a:cs typeface="+mn-cs"/>
              </a:rPr>
              <a:t>tinyint</a:t>
            </a:r>
            <a:r>
              <a:rPr lang="en-US" sz="800" b="0" i="0" u="none" strike="noStrike" kern="1200">
                <a:solidFill>
                  <a:schemeClr val="tx1"/>
                </a:solidFill>
                <a:effectLst/>
                <a:latin typeface="Segoe UI Light" pitchFamily="34" charset="0"/>
                <a:ea typeface="+mn-ea"/>
                <a:cs typeface="+mn-cs"/>
              </a:rPr>
              <a:t>, float, real).</a:t>
            </a:r>
            <a:br>
              <a:rPr lang="en-US"/>
            </a:br>
            <a:r>
              <a:rPr lang="en-US" sz="800" b="0" i="0" u="none" strike="noStrike" kern="1200">
                <a:solidFill>
                  <a:schemeClr val="tx1"/>
                </a:solidFill>
                <a:effectLst/>
                <a:latin typeface="Segoe UI Light" pitchFamily="34" charset="0"/>
                <a:ea typeface="+mn-ea"/>
                <a:cs typeface="+mn-cs"/>
              </a:rPr>
              <a:t>• Use 01-01-1900 for date/time data types (date, datetime2, datetime, </a:t>
            </a:r>
            <a:r>
              <a:rPr lang="en-US" sz="800" b="0" i="0" u="none" strike="noStrike" kern="1200" err="1">
                <a:solidFill>
                  <a:schemeClr val="tx1"/>
                </a:solidFill>
                <a:effectLst/>
                <a:latin typeface="Segoe UI Light" pitchFamily="34" charset="0"/>
                <a:ea typeface="+mn-ea"/>
                <a:cs typeface="+mn-cs"/>
              </a:rPr>
              <a:t>datetimeoffset</a:t>
            </a:r>
            <a:r>
              <a:rPr lang="en-US" sz="800" b="0" i="0" u="none" strike="noStrike" kern="1200">
                <a:solidFill>
                  <a:schemeClr val="tx1"/>
                </a:solidFill>
                <a:effectLst/>
                <a:latin typeface="Segoe UI Light" pitchFamily="34" charset="0"/>
                <a:ea typeface="+mn-ea"/>
                <a:cs typeface="+mn-cs"/>
              </a:rPr>
              <a:t>, </a:t>
            </a:r>
            <a:r>
              <a:rPr lang="en-US" sz="800" b="0" i="0" u="none" strike="noStrike" kern="1200" err="1">
                <a:solidFill>
                  <a:schemeClr val="tx1"/>
                </a:solidFill>
                <a:effectLst/>
                <a:latin typeface="Segoe UI Light" pitchFamily="34" charset="0"/>
                <a:ea typeface="+mn-ea"/>
                <a:cs typeface="+mn-cs"/>
              </a:rPr>
              <a:t>smalldatetime</a:t>
            </a:r>
            <a:r>
              <a:rPr lang="en-US" sz="800" b="0" i="0" u="none" strike="noStrike" kern="1200">
                <a:solidFill>
                  <a:schemeClr val="tx1"/>
                </a:solidFill>
                <a:effectLst/>
                <a:latin typeface="Segoe UI Light" pitchFamily="34" charset="0"/>
                <a:ea typeface="+mn-ea"/>
                <a:cs typeface="+mn-cs"/>
              </a:rPr>
              <a:t>, time).</a:t>
            </a:r>
            <a:br>
              <a:rPr lang="en-US"/>
            </a:br>
            <a:r>
              <a:rPr lang="en-US" sz="800" b="0" i="0" u="none" strike="noStrike" kern="1200">
                <a:solidFill>
                  <a:schemeClr val="tx1"/>
                </a:solidFill>
                <a:effectLst/>
                <a:latin typeface="Segoe UI Light" pitchFamily="34" charset="0"/>
                <a:ea typeface="+mn-ea"/>
                <a:cs typeface="+mn-cs"/>
              </a:rPr>
              <a:t>• For SQL variant, the default value of the current type is used.</a:t>
            </a:r>
            <a:br>
              <a:rPr lang="en-US"/>
            </a:br>
            <a:r>
              <a:rPr lang="en-US" sz="800" b="0" i="0" u="none" strike="noStrike" kern="1200">
                <a:solidFill>
                  <a:schemeClr val="tx1"/>
                </a:solidFill>
                <a:effectLst/>
                <a:latin typeface="Segoe UI Light" pitchFamily="34" charset="0"/>
                <a:ea typeface="+mn-ea"/>
                <a:cs typeface="+mn-cs"/>
              </a:rPr>
              <a:t>• For XML the document is used.</a:t>
            </a:r>
            <a:br>
              <a:rPr lang="en-US"/>
            </a:br>
            <a:r>
              <a:rPr lang="en-US" sz="800" b="0" i="0" u="none" strike="noStrike" kern="1200">
                <a:solidFill>
                  <a:schemeClr val="tx1"/>
                </a:solidFill>
                <a:effectLst/>
                <a:latin typeface="Segoe UI Light" pitchFamily="34" charset="0"/>
                <a:ea typeface="+mn-ea"/>
                <a:cs typeface="+mn-cs"/>
              </a:rPr>
              <a:t>• Use an empty value for special data types (timestamp table, </a:t>
            </a:r>
            <a:r>
              <a:rPr lang="en-US" sz="800" b="0" i="0" u="none" strike="noStrike" kern="1200" err="1">
                <a:solidFill>
                  <a:schemeClr val="tx1"/>
                </a:solidFill>
                <a:effectLst/>
                <a:latin typeface="Segoe UI Light" pitchFamily="34" charset="0"/>
                <a:ea typeface="+mn-ea"/>
                <a:cs typeface="+mn-cs"/>
              </a:rPr>
              <a:t>hierarchyid</a:t>
            </a:r>
            <a:r>
              <a:rPr lang="en-US" sz="800" b="0" i="0" u="none" strike="noStrike" kern="1200">
                <a:solidFill>
                  <a:schemeClr val="tx1"/>
                </a:solidFill>
                <a:effectLst/>
                <a:latin typeface="Segoe UI Light" pitchFamily="34" charset="0"/>
                <a:ea typeface="+mn-ea"/>
                <a:cs typeface="+mn-cs"/>
              </a:rPr>
              <a:t>, GUID, binary, image, </a:t>
            </a:r>
            <a:r>
              <a:rPr lang="en-US" sz="800" b="0" i="0" u="none" strike="noStrike" kern="1200" err="1">
                <a:solidFill>
                  <a:schemeClr val="tx1"/>
                </a:solidFill>
                <a:effectLst/>
                <a:latin typeface="Segoe UI Light" pitchFamily="34" charset="0"/>
                <a:ea typeface="+mn-ea"/>
                <a:cs typeface="+mn-cs"/>
              </a:rPr>
              <a:t>varbinary</a:t>
            </a:r>
            <a:r>
              <a:rPr lang="en-US" sz="800" b="0" i="0" u="none" strike="noStrike" kern="1200">
                <a:solidFill>
                  <a:schemeClr val="tx1"/>
                </a:solidFill>
                <a:effectLst/>
                <a:latin typeface="Segoe UI Light" pitchFamily="34" charset="0"/>
                <a:ea typeface="+mn-ea"/>
                <a:cs typeface="+mn-cs"/>
              </a:rPr>
              <a:t> spatial types).</a:t>
            </a:r>
          </a:p>
          <a:p>
            <a:endParaRPr lang="en-US" sz="800" b="0" i="0" u="none" strike="noStrike" kern="1200">
              <a:solidFill>
                <a:schemeClr val="tx1"/>
              </a:solidFill>
              <a:effectLst/>
              <a:latin typeface="Segoe UI Light" pitchFamily="34" charset="0"/>
              <a:ea typeface="+mn-ea"/>
              <a:cs typeface="+mn-cs"/>
            </a:endParaRPr>
          </a:p>
          <a:p>
            <a:r>
              <a:rPr lang="en-US" sz="800" b="0" i="0" u="none" strike="noStrike" kern="1200">
                <a:solidFill>
                  <a:schemeClr val="tx1"/>
                </a:solidFill>
                <a:effectLst/>
                <a:latin typeface="Segoe UI Light" pitchFamily="34" charset="0"/>
                <a:ea typeface="+mn-ea"/>
                <a:cs typeface="+mn-cs"/>
              </a:rPr>
              <a:t>2. Credit Card </a:t>
            </a:r>
            <a:r>
              <a:rPr lang="en-US" sz="800" b="0" i="0" u="none" strike="noStrike" kern="1200">
                <a:solidFill>
                  <a:schemeClr val="tx1"/>
                </a:solidFill>
                <a:effectLst/>
                <a:latin typeface="Segoe UI Light" pitchFamily="34" charset="0"/>
                <a:ea typeface="+mn-ea"/>
                <a:cs typeface="+mn-cs"/>
                <a:sym typeface="Wingdings" panose="05000000000000000000" pitchFamily="2" charset="2"/>
              </a:rPr>
              <a:t> </a:t>
            </a:r>
            <a:r>
              <a:rPr lang="en-US" sz="800" b="1" i="0" u="none" strike="noStrike" kern="1200">
                <a:solidFill>
                  <a:schemeClr val="tx1"/>
                </a:solidFill>
                <a:effectLst/>
                <a:latin typeface="Segoe UI Light" pitchFamily="34" charset="0"/>
                <a:ea typeface="+mn-ea"/>
                <a:cs typeface="+mn-cs"/>
              </a:rPr>
              <a:t>Masking method, which exposes the last four digits of the designated fields</a:t>
            </a:r>
            <a:r>
              <a:rPr lang="en-US" sz="800" b="0" i="0" u="none" strike="noStrike" kern="1200">
                <a:solidFill>
                  <a:schemeClr val="tx1"/>
                </a:solidFill>
                <a:effectLst/>
                <a:latin typeface="Segoe UI Light" pitchFamily="34" charset="0"/>
                <a:ea typeface="+mn-ea"/>
                <a:cs typeface="+mn-cs"/>
              </a:rPr>
              <a:t> and adds a constant string as a prefix in the form of a credit card.</a:t>
            </a:r>
            <a:br>
              <a:rPr lang="en-US"/>
            </a:br>
            <a:br>
              <a:rPr lang="en-US"/>
            </a:br>
            <a:r>
              <a:rPr lang="en-US" sz="800" b="0" i="0" u="none" strike="noStrike" kern="1200">
                <a:solidFill>
                  <a:schemeClr val="tx1"/>
                </a:solidFill>
                <a:effectLst/>
                <a:latin typeface="Segoe UI Light" pitchFamily="34" charset="0"/>
                <a:ea typeface="+mn-ea"/>
                <a:cs typeface="+mn-cs"/>
              </a:rPr>
              <a:t>XXXX-XXXX-XXXX-1234</a:t>
            </a:r>
          </a:p>
          <a:p>
            <a:endParaRPr lang="en-US" sz="800" b="0" i="0" u="none" strike="noStrike" kern="1200">
              <a:solidFill>
                <a:schemeClr val="tx1"/>
              </a:solidFill>
              <a:effectLst/>
              <a:latin typeface="Segoe UI Light" pitchFamily="34" charset="0"/>
              <a:ea typeface="+mn-ea"/>
              <a:cs typeface="+mn-cs"/>
            </a:endParaRPr>
          </a:p>
          <a:p>
            <a:r>
              <a:rPr lang="en-US">
                <a:latin typeface="Segoe UI Light"/>
                <a:cs typeface="Segoe UI Light"/>
              </a:rPr>
              <a:t>3. Email </a:t>
            </a:r>
            <a:r>
              <a:rPr lang="en-US">
                <a:latin typeface="Segoe UI Light"/>
                <a:cs typeface="Segoe UI Light"/>
                <a:sym typeface="Wingdings" panose="05000000000000000000" pitchFamily="2" charset="2"/>
              </a:rPr>
              <a:t> </a:t>
            </a:r>
            <a:r>
              <a:rPr lang="en-US">
                <a:latin typeface="Segoe UI Light"/>
                <a:cs typeface="Segoe UI Light"/>
              </a:rPr>
              <a:t>Masking method which exposes the first letter of an email address and the constant suffix ".com", in the form of an email address. . aXXX@XXXX.com.</a:t>
            </a:r>
          </a:p>
          <a:p>
            <a:endParaRPr lang="en-US">
              <a:latin typeface="Segoe UI Light"/>
              <a:cs typeface="Segoe UI Light"/>
            </a:endParaRPr>
          </a:p>
          <a:p>
            <a:r>
              <a:rPr lang="en-US">
                <a:latin typeface="Segoe UI Light"/>
                <a:cs typeface="Segoe UI Light"/>
              </a:rPr>
              <a:t>4. Random </a:t>
            </a:r>
            <a:r>
              <a:rPr lang="en-US">
                <a:latin typeface="Segoe UI Light"/>
                <a:cs typeface="Segoe UI Light"/>
                <a:sym typeface="Wingdings" panose="05000000000000000000" pitchFamily="2" charset="2"/>
              </a:rPr>
              <a:t> </a:t>
            </a:r>
            <a:r>
              <a:rPr lang="en-US">
                <a:latin typeface="Segoe UI Light"/>
                <a:cs typeface="Segoe UI Light"/>
              </a:rPr>
              <a:t>A random masking function for use on any numeric type to mask the original value with a random value within a specified range.</a:t>
            </a:r>
          </a:p>
          <a:p>
            <a:endParaRPr lang="en-US">
              <a:latin typeface="Segoe UI Light"/>
              <a:cs typeface="Segoe UI Light"/>
            </a:endParaRPr>
          </a:p>
          <a:p>
            <a:r>
              <a:rPr lang="en-US">
                <a:latin typeface="Segoe UI Light"/>
                <a:cs typeface="Segoe UI Light"/>
              </a:rPr>
              <a:t>5. Custom String </a:t>
            </a:r>
            <a:r>
              <a:rPr lang="en-US">
                <a:latin typeface="Segoe UI Light"/>
                <a:cs typeface="Segoe UI Light"/>
                <a:sym typeface="Wingdings" panose="05000000000000000000" pitchFamily="2" charset="2"/>
              </a:rPr>
              <a:t></a:t>
            </a:r>
            <a:r>
              <a:rPr lang="en-US">
                <a:latin typeface="Segoe UI Light"/>
                <a:cs typeface="Segoe UI Light"/>
              </a:rPr>
              <a:t> Masking method which exposes the first and last letters and adds a custom padding string in the middle. prefix,[padding],suffix </a:t>
            </a:r>
          </a:p>
          <a:p>
            <a:r>
              <a:rPr lang="en-US">
                <a:latin typeface="Segoe UI Light"/>
                <a:cs typeface="Segoe UI Light"/>
              </a:rPr>
              <a:t>Note: If the original value is too short to complete the entire mask, part of the prefix or suffix will not be exposed.</a:t>
            </a:r>
          </a:p>
          <a:p>
            <a:endParaRPr lang="en-US">
              <a:latin typeface="Segoe UI Light"/>
              <a:cs typeface="Segoe UI Light"/>
            </a:endParaRPr>
          </a:p>
          <a:p>
            <a:r>
              <a:rPr lang="en-US">
                <a:latin typeface="Segoe UI Light"/>
                <a:cs typeface="Segoe UI Light"/>
              </a:rPr>
              <a:t>Note: When you use the portal, you will get recommendations on mask type. Therefore, sometimes can be easier to set up the masking using the portal instead of T-SQL.</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78</a:t>
            </a:fld>
            <a:endParaRPr lang="en-US" noProof="0"/>
          </a:p>
        </p:txBody>
      </p:sp>
    </p:spTree>
    <p:extLst>
      <p:ext uri="{BB962C8B-B14F-4D97-AF65-F5344CB8AC3E}">
        <p14:creationId xmlns:p14="http://schemas.microsoft.com/office/powerpoint/2010/main" val="38436310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0" indent="0">
              <a:buFont typeface="Arial" panose="020B0604020202020204" pitchFamily="34" charset="0"/>
              <a:buNone/>
            </a:pPr>
            <a:r>
              <a:rPr lang="en-US" sz="1800">
                <a:solidFill>
                  <a:srgbClr val="000000"/>
                </a:solidFill>
                <a:latin typeface="Consolas" panose="020B0609020204030204" pitchFamily="49" charset="0"/>
              </a:rPr>
              <a:t>M04L08Demo01</a:t>
            </a:r>
          </a:p>
          <a:p>
            <a:pPr marL="0" indent="0">
              <a:buFont typeface="Arial" panose="020B0604020202020204" pitchFamily="34" charset="0"/>
              <a:buNone/>
            </a:pPr>
            <a:endParaRPr lang="en-US" b="1"/>
          </a:p>
          <a:p>
            <a:pPr marL="0" indent="0">
              <a:buFont typeface="Arial" panose="020B0604020202020204" pitchFamily="34" charset="0"/>
              <a:buNone/>
            </a:pPr>
            <a:r>
              <a:rPr lang="en-US" b="1"/>
              <a:t>Demo Requirements</a:t>
            </a:r>
          </a:p>
          <a:p>
            <a:pPr marL="171450" indent="-171450">
              <a:buFontTx/>
              <a:buChar char="-"/>
            </a:pPr>
            <a:r>
              <a:rPr lang="en-US" b="0"/>
              <a:t>Make sure you have the </a:t>
            </a:r>
            <a:r>
              <a:rPr lang="en-US" b="0" err="1"/>
              <a:t>salesdb</a:t>
            </a:r>
            <a:r>
              <a:rPr lang="en-US" b="0"/>
              <a:t> that was created in Module 1</a:t>
            </a:r>
          </a:p>
          <a:p>
            <a:pPr marL="171450" indent="-171450">
              <a:buFontTx/>
              <a:buChar char="-"/>
            </a:pPr>
            <a:r>
              <a:rPr lang="en-US" b="0"/>
              <a:t>Use </a:t>
            </a:r>
            <a:r>
              <a:rPr lang="en-US" b="1"/>
              <a:t>C:\Demos\M04L08Demo01\</a:t>
            </a:r>
            <a:r>
              <a:rPr lang="en-US" b="1" u="none"/>
              <a:t>Dynamic Data </a:t>
            </a:r>
            <a:r>
              <a:rPr lang="en-US" b="1" u="none" err="1"/>
              <a:t>Masking.sql</a:t>
            </a:r>
            <a:r>
              <a:rPr lang="en-US" b="0" u="none"/>
              <a:t> file</a:t>
            </a:r>
            <a:r>
              <a:rPr lang="en-US" b="0"/>
              <a:t>. </a:t>
            </a:r>
          </a:p>
          <a:p>
            <a:pPr marL="171450" indent="-171450">
              <a:buFontTx/>
              <a:buChar char="-"/>
            </a:pPr>
            <a:endParaRPr lang="en-US" b="0"/>
          </a:p>
          <a:p>
            <a:pPr marL="0" indent="0">
              <a:buFontTx/>
              <a:buNone/>
            </a:pPr>
            <a:r>
              <a:rPr lang="en-US" b="1"/>
              <a:t>Demo – Follow the steps in the Dynamic Data </a:t>
            </a:r>
            <a:r>
              <a:rPr lang="en-US" b="1" err="1"/>
              <a:t>Masking.sql</a:t>
            </a:r>
            <a:r>
              <a:rPr lang="en-US" b="1"/>
              <a:t> script</a:t>
            </a:r>
          </a:p>
          <a:p>
            <a:pPr marL="228600" indent="-228600">
              <a:buFontTx/>
              <a:buAutoNum type="arabicPeriod"/>
            </a:pPr>
            <a:r>
              <a:rPr lang="en-US" b="0"/>
              <a:t>Create Table</a:t>
            </a:r>
          </a:p>
          <a:p>
            <a:pPr marL="228600" indent="-228600">
              <a:buFontTx/>
              <a:buAutoNum type="arabicPeriod"/>
            </a:pPr>
            <a:r>
              <a:rPr lang="en-US" b="0"/>
              <a:t>Insert Data into the table</a:t>
            </a:r>
          </a:p>
          <a:p>
            <a:pPr marL="228600" indent="-228600">
              <a:buFontTx/>
              <a:buAutoNum type="arabicPeriod"/>
            </a:pPr>
            <a:r>
              <a:rPr lang="en-US" b="0"/>
              <a:t>Create Users</a:t>
            </a:r>
          </a:p>
          <a:p>
            <a:pPr marL="228600" indent="-228600">
              <a:buFontTx/>
              <a:buAutoNum type="arabicPeriod"/>
            </a:pPr>
            <a:r>
              <a:rPr lang="en-US" b="0"/>
              <a:t>Grant permissions to the users</a:t>
            </a:r>
          </a:p>
          <a:p>
            <a:pPr marL="228600" indent="-228600">
              <a:buFontTx/>
              <a:buAutoNum type="arabicPeriod"/>
            </a:pPr>
            <a:r>
              <a:rPr lang="en-US" b="0"/>
              <a:t>Execute a select statement as the test user</a:t>
            </a:r>
          </a:p>
          <a:p>
            <a:pPr marL="228600" indent="-228600">
              <a:buFontTx/>
              <a:buAutoNum type="arabicPeriod"/>
            </a:pPr>
            <a:r>
              <a:rPr lang="en-US" b="0"/>
              <a:t>Modify a column with another masking function</a:t>
            </a:r>
          </a:p>
          <a:p>
            <a:pPr marL="228600" indent="-228600">
              <a:buFontTx/>
              <a:buAutoNum type="arabicPeriod"/>
            </a:pPr>
            <a:r>
              <a:rPr lang="en-US" b="0"/>
              <a:t>Rerun the select statement as the test user.</a:t>
            </a:r>
          </a:p>
          <a:p>
            <a:pPr marL="0" indent="0">
              <a:buFont typeface="Arial" panose="020B0604020202020204" pitchFamily="34" charset="0"/>
              <a:buNone/>
            </a:pPr>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Light"/>
                <a:cs typeface="Segoe UI Light"/>
              </a:rPr>
              <a:t>Answer 1: Dynamic Data Masking is a policy-based security feature that helps to limit the exposure of data in a database by returning masked data to non-privileged users who run queries over designated database fields.</a:t>
            </a:r>
            <a:r>
              <a:rPr lang="es-ES">
                <a:latin typeface="Segoe UI Light"/>
                <a:cs typeface="Segoe UI Light"/>
              </a:rPr>
              <a:t> </a:t>
            </a:r>
          </a:p>
          <a:p>
            <a:r>
              <a:rPr lang="en-US">
                <a:latin typeface="Segoe UI Light"/>
                <a:cs typeface="Segoe UI Light"/>
              </a:rPr>
              <a:t> </a:t>
            </a:r>
          </a:p>
          <a:p>
            <a:r>
              <a:rPr lang="en-US">
                <a:latin typeface="Segoe UI Light"/>
                <a:cs typeface="Segoe UI Light"/>
              </a:rPr>
              <a:t>Answer 2: Any two of: Email, Default, Custom Text, Random, Credit Card</a:t>
            </a:r>
          </a:p>
          <a:p>
            <a:endParaRPr lang="en-US">
              <a:latin typeface="Segoe UI Light"/>
              <a:cs typeface="Segoe UI Light"/>
            </a:endParaRP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1</a:t>
            </a:fld>
            <a:endParaRPr lang="en-US" noProof="0"/>
          </a:p>
        </p:txBody>
      </p:sp>
    </p:spTree>
    <p:extLst>
      <p:ext uri="{BB962C8B-B14F-4D97-AF65-F5344CB8AC3E}">
        <p14:creationId xmlns:p14="http://schemas.microsoft.com/office/powerpoint/2010/main" val="776268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9</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19/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uditing for Azure SQL Database</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2</a:t>
            </a:fld>
            <a:endParaRPr lang="en-US" noProof="0"/>
          </a:p>
        </p:txBody>
      </p:sp>
    </p:spTree>
    <p:extLst>
      <p:ext uri="{BB962C8B-B14F-4D97-AF65-F5344CB8AC3E}">
        <p14:creationId xmlns:p14="http://schemas.microsoft.com/office/powerpoint/2010/main" val="31148741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uditing for Azure SQL Database</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Azure SQL Database Auditing tracks database events and writes them to an audit log in your Azure Storage account.</a:t>
            </a:r>
          </a:p>
          <a:p>
            <a:pPr rtl="0"/>
            <a:r>
              <a:rPr lang="en-US"/>
              <a:t>Auditing can help you maintain regulatory compliance, understand database activity, and gain insight into discrepancies and anomalies that could indicate business concerns or suspected security violations.</a:t>
            </a:r>
          </a:p>
          <a:p>
            <a:pPr rtl="0"/>
            <a:r>
              <a:rPr lang="en-US"/>
              <a:t>SQL Database Auditing allows you to:</a:t>
            </a:r>
          </a:p>
          <a:p>
            <a:pPr marL="171450" indent="-171450" rtl="0">
              <a:buFont typeface="Arial" panose="020B0604020202020204" pitchFamily="34" charset="0"/>
              <a:buChar char="•"/>
            </a:pPr>
            <a:r>
              <a:rPr lang="en-US" b="1"/>
              <a:t>Retain</a:t>
            </a:r>
            <a:r>
              <a:rPr lang="en-US"/>
              <a:t> an audit trail of selected events. You can define categories of database actions to be audited.</a:t>
            </a:r>
          </a:p>
          <a:p>
            <a:pPr marL="171450" indent="-171450" rtl="0">
              <a:buFont typeface="Arial" panose="020B0604020202020204" pitchFamily="34" charset="0"/>
              <a:buChar char="•"/>
            </a:pPr>
            <a:r>
              <a:rPr lang="en-US" b="1"/>
              <a:t>Report</a:t>
            </a:r>
            <a:r>
              <a:rPr lang="en-US"/>
              <a:t> on database activity. You can use preconfigured reports and a dashboard to get started quickly with activity and event reporting.</a:t>
            </a:r>
          </a:p>
          <a:p>
            <a:pPr marL="171450" indent="-171450" rtl="0">
              <a:buFont typeface="Arial" panose="020B0604020202020204" pitchFamily="34" charset="0"/>
              <a:buChar char="•"/>
            </a:pPr>
            <a:r>
              <a:rPr lang="en-US" b="1"/>
              <a:t>Analyze</a:t>
            </a:r>
            <a:r>
              <a:rPr lang="en-US"/>
              <a:t> reports. You can find suspicious events, unusual activity, and trends.</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4</a:t>
            </a:fld>
            <a:endParaRPr lang="en-US" noProof="0"/>
          </a:p>
        </p:txBody>
      </p:sp>
    </p:spTree>
    <p:extLst>
      <p:ext uri="{BB962C8B-B14F-4D97-AF65-F5344CB8AC3E}">
        <p14:creationId xmlns:p14="http://schemas.microsoft.com/office/powerpoint/2010/main" val="20936138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a:p>
            <a:r>
              <a:rPr lang="en-US" sz="800" b="0" i="0" kern="1200">
                <a:solidFill>
                  <a:schemeClr val="tx1"/>
                </a:solidFill>
                <a:effectLst/>
                <a:latin typeface="Segoe UI Light" pitchFamily="34" charset="0"/>
                <a:ea typeface="+mn-ea"/>
                <a:cs typeface="+mn-cs"/>
              </a:rPr>
              <a:t>You now have multiple options for configuring where audit logs will be written. You can write logs to:</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Azure storage account, </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Log Analytics workspace for consumption by Azure Monitor logs, </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event hub for consumption using event hub. </a:t>
            </a:r>
          </a:p>
          <a:p>
            <a:r>
              <a:rPr lang="en-US" sz="800" b="0" i="0" kern="1200">
                <a:solidFill>
                  <a:schemeClr val="tx1"/>
                </a:solidFill>
                <a:effectLst/>
                <a:latin typeface="Segoe UI Light" pitchFamily="34" charset="0"/>
                <a:ea typeface="+mn-ea"/>
                <a:cs typeface="+mn-cs"/>
              </a:rPr>
              <a:t>You can configure any combination of these options, and audit logs will be written to each.</a:t>
            </a:r>
          </a:p>
          <a:p>
            <a:r>
              <a:rPr lang="en-US" sz="800" b="1" i="0" kern="1200">
                <a:solidFill>
                  <a:schemeClr val="tx1"/>
                </a:solidFill>
                <a:effectLst/>
                <a:latin typeface="Segoe UI Light" pitchFamily="34" charset="0"/>
                <a:ea typeface="+mn-ea"/>
                <a:cs typeface="+mn-cs"/>
              </a:rPr>
              <a:t> Warning</a:t>
            </a:r>
          </a:p>
          <a:p>
            <a:r>
              <a:rPr lang="en-US" sz="800" b="0" i="0" kern="1200">
                <a:solidFill>
                  <a:schemeClr val="tx1"/>
                </a:solidFill>
                <a:effectLst/>
                <a:latin typeface="Segoe UI Light" pitchFamily="34" charset="0"/>
                <a:ea typeface="+mn-ea"/>
                <a:cs typeface="+mn-cs"/>
              </a:rPr>
              <a:t>Enabling auditing to Log Analytics will incur cost based on ingestion rates. Please be aware of the associated cost with using this </a:t>
            </a:r>
            <a:r>
              <a:rPr lang="en-US" sz="800" b="1" i="0" u="sng" kern="1200">
                <a:solidFill>
                  <a:schemeClr val="tx1"/>
                </a:solidFill>
                <a:effectLst/>
                <a:latin typeface="Segoe UI Light" pitchFamily="34" charset="0"/>
                <a:ea typeface="+mn-ea"/>
                <a:cs typeface="+mn-cs"/>
                <a:hlinkClick r:id="rId3"/>
              </a:rPr>
              <a:t>option</a:t>
            </a:r>
            <a:r>
              <a:rPr lang="en-US" sz="800" b="0" i="0" kern="1200">
                <a:solidFill>
                  <a:schemeClr val="tx1"/>
                </a:solidFill>
                <a:effectLst/>
                <a:latin typeface="Segoe UI Light" pitchFamily="34" charset="0"/>
                <a:ea typeface="+mn-ea"/>
                <a:cs typeface="+mn-cs"/>
              </a:rPr>
              <a:t>, or consider storing the audit logs in an Azure storage account.</a:t>
            </a:r>
          </a:p>
          <a:p>
            <a:pPr rtl="0"/>
            <a:endParaRPr lang="en-US" b="1"/>
          </a:p>
          <a:p>
            <a:pPr rtl="0"/>
            <a:r>
              <a:rPr lang="en-US" sz="800" b="0" i="0" kern="1200">
                <a:solidFill>
                  <a:schemeClr val="tx1"/>
                </a:solidFill>
                <a:effectLst/>
                <a:latin typeface="Segoe UI Light" pitchFamily="34" charset="0"/>
                <a:ea typeface="+mn-ea"/>
                <a:cs typeface="+mn-cs"/>
              </a:rPr>
              <a:t>When audit logs are written to </a:t>
            </a:r>
            <a:r>
              <a:rPr lang="en-US" sz="800" b="1" i="0" kern="1200">
                <a:solidFill>
                  <a:schemeClr val="tx1"/>
                </a:solidFill>
                <a:effectLst/>
                <a:latin typeface="Segoe UI Light" pitchFamily="34" charset="0"/>
                <a:ea typeface="+mn-ea"/>
                <a:cs typeface="+mn-cs"/>
              </a:rPr>
              <a:t>Append Blobs</a:t>
            </a:r>
            <a:r>
              <a:rPr lang="en-US" sz="800" b="0" i="0" kern="1200">
                <a:solidFill>
                  <a:schemeClr val="tx1"/>
                </a:solidFill>
                <a:effectLst/>
                <a:latin typeface="Segoe UI Light" pitchFamily="34" charset="0"/>
                <a:ea typeface="+mn-ea"/>
                <a:cs typeface="+mn-cs"/>
              </a:rPr>
              <a:t> in Azure Blob storage on your Azure subscription.</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All storage kinds (v1, v2, blob) are supported.</a:t>
            </a:r>
          </a:p>
          <a:p>
            <a:pPr marL="171450" indent="-171450">
              <a:buFont typeface="Arial" panose="020B0604020202020204" pitchFamily="34" charset="0"/>
              <a:buChar char="•"/>
            </a:pPr>
            <a:r>
              <a:rPr lang="en-US" sz="800" b="0" i="0" kern="1200">
                <a:solidFill>
                  <a:schemeClr val="tx1"/>
                </a:solidFill>
                <a:effectLst/>
                <a:latin typeface="Segoe UI Light" pitchFamily="34" charset="0"/>
                <a:ea typeface="+mn-ea"/>
                <a:cs typeface="+mn-cs"/>
              </a:rPr>
              <a:t>All storage replication configurations are supported.</a:t>
            </a:r>
          </a:p>
          <a:p>
            <a:pPr marL="171450" indent="-171450">
              <a:buFont typeface="Arial" panose="020B0604020202020204" pitchFamily="34" charset="0"/>
              <a:buChar char="•"/>
            </a:pPr>
            <a:r>
              <a:rPr lang="en-US" sz="800" b="1" i="0" kern="1200">
                <a:solidFill>
                  <a:schemeClr val="tx1"/>
                </a:solidFill>
                <a:effectLst/>
                <a:latin typeface="Segoe UI Light" pitchFamily="34" charset="0"/>
                <a:ea typeface="+mn-ea"/>
                <a:cs typeface="+mn-cs"/>
              </a:rPr>
              <a:t>Premium storage</a:t>
            </a:r>
            <a:r>
              <a:rPr lang="en-US" sz="800" b="0" i="0" kern="1200">
                <a:solidFill>
                  <a:schemeClr val="tx1"/>
                </a:solidFill>
                <a:effectLst/>
                <a:latin typeface="Segoe UI Light" pitchFamily="34" charset="0"/>
                <a:ea typeface="+mn-ea"/>
                <a:cs typeface="+mn-cs"/>
              </a:rPr>
              <a:t> is currently </a:t>
            </a:r>
            <a:r>
              <a:rPr lang="en-US" sz="800" b="1" i="0" kern="1200">
                <a:solidFill>
                  <a:schemeClr val="tx1"/>
                </a:solidFill>
                <a:effectLst/>
                <a:latin typeface="Segoe UI Light" pitchFamily="34" charset="0"/>
                <a:ea typeface="+mn-ea"/>
                <a:cs typeface="+mn-cs"/>
              </a:rPr>
              <a:t>not supported</a:t>
            </a:r>
            <a:r>
              <a:rPr lang="en-US" sz="800" b="0" i="0" kern="120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a:solidFill>
                  <a:schemeClr val="tx1"/>
                </a:solidFill>
                <a:effectLst/>
                <a:latin typeface="Segoe UI Light" pitchFamily="34" charset="0"/>
                <a:ea typeface="+mn-ea"/>
                <a:cs typeface="+mn-cs"/>
              </a:rPr>
              <a:t>Storage in </a:t>
            </a:r>
            <a:r>
              <a:rPr lang="en-US" sz="800" b="1" i="0" kern="1200" err="1">
                <a:solidFill>
                  <a:schemeClr val="tx1"/>
                </a:solidFill>
                <a:effectLst/>
                <a:latin typeface="Segoe UI Light" pitchFamily="34" charset="0"/>
                <a:ea typeface="+mn-ea"/>
                <a:cs typeface="+mn-cs"/>
              </a:rPr>
              <a:t>VNet</a:t>
            </a:r>
            <a:r>
              <a:rPr lang="en-US" sz="800" b="0" i="0" kern="1200">
                <a:solidFill>
                  <a:schemeClr val="tx1"/>
                </a:solidFill>
                <a:effectLst/>
                <a:latin typeface="Segoe UI Light" pitchFamily="34" charset="0"/>
                <a:ea typeface="+mn-ea"/>
                <a:cs typeface="+mn-cs"/>
              </a:rPr>
              <a:t> is currently </a:t>
            </a:r>
            <a:r>
              <a:rPr lang="en-US" sz="800" b="1" i="0" kern="1200">
                <a:solidFill>
                  <a:schemeClr val="tx1"/>
                </a:solidFill>
                <a:effectLst/>
                <a:latin typeface="Segoe UI Light" pitchFamily="34" charset="0"/>
                <a:ea typeface="+mn-ea"/>
                <a:cs typeface="+mn-cs"/>
              </a:rPr>
              <a:t>not supported</a:t>
            </a:r>
            <a:r>
              <a:rPr lang="en-US" sz="800" b="0" i="0" kern="120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a:solidFill>
                  <a:schemeClr val="tx1"/>
                </a:solidFill>
                <a:effectLst/>
                <a:latin typeface="Segoe UI Light" pitchFamily="34" charset="0"/>
                <a:ea typeface="+mn-ea"/>
                <a:cs typeface="+mn-cs"/>
              </a:rPr>
              <a:t>Storage behind a Firewall</a:t>
            </a:r>
            <a:r>
              <a:rPr lang="en-US" sz="800" b="0" i="0" kern="1200">
                <a:solidFill>
                  <a:schemeClr val="tx1"/>
                </a:solidFill>
                <a:effectLst/>
                <a:latin typeface="Segoe UI Light" pitchFamily="34" charset="0"/>
                <a:ea typeface="+mn-ea"/>
                <a:cs typeface="+mn-cs"/>
              </a:rPr>
              <a:t> is currently </a:t>
            </a:r>
            <a:r>
              <a:rPr lang="en-US" sz="800" b="1" i="0" kern="1200">
                <a:solidFill>
                  <a:schemeClr val="tx1"/>
                </a:solidFill>
                <a:effectLst/>
                <a:latin typeface="Segoe UI Light" pitchFamily="34" charset="0"/>
                <a:ea typeface="+mn-ea"/>
                <a:cs typeface="+mn-cs"/>
              </a:rPr>
              <a:t>not supported</a:t>
            </a:r>
            <a:r>
              <a:rPr lang="en-US" sz="800" b="0" i="0" kern="1200">
                <a:solidFill>
                  <a:schemeClr val="tx1"/>
                </a:solidFill>
                <a:effectLst/>
                <a:latin typeface="Segoe UI Light" pitchFamily="34" charset="0"/>
                <a:ea typeface="+mn-ea"/>
                <a:cs typeface="+mn-cs"/>
              </a:rPr>
              <a:t>.</a:t>
            </a:r>
          </a:p>
          <a:p>
            <a:pPr marL="171450" indent="-171450">
              <a:buFont typeface="Arial" panose="020B0604020202020204" pitchFamily="34" charset="0"/>
              <a:buChar char="•"/>
            </a:pPr>
            <a:r>
              <a:rPr lang="en-US" sz="800" b="1" i="0" kern="1200">
                <a:solidFill>
                  <a:schemeClr val="tx1"/>
                </a:solidFill>
                <a:effectLst/>
                <a:latin typeface="Segoe UI Light" pitchFamily="34" charset="0"/>
                <a:ea typeface="+mn-ea"/>
                <a:cs typeface="+mn-cs"/>
              </a:rPr>
              <a:t>Hierarchical namespace</a:t>
            </a:r>
            <a:r>
              <a:rPr lang="en-US" sz="800" b="0" i="0" kern="1200">
                <a:solidFill>
                  <a:schemeClr val="tx1"/>
                </a:solidFill>
                <a:effectLst/>
                <a:latin typeface="Segoe UI Light" pitchFamily="34" charset="0"/>
                <a:ea typeface="+mn-ea"/>
                <a:cs typeface="+mn-cs"/>
              </a:rPr>
              <a:t> for </a:t>
            </a:r>
            <a:r>
              <a:rPr lang="en-US" sz="800" b="1" i="0" kern="1200">
                <a:solidFill>
                  <a:schemeClr val="tx1"/>
                </a:solidFill>
                <a:effectLst/>
                <a:latin typeface="Segoe UI Light" pitchFamily="34" charset="0"/>
                <a:ea typeface="+mn-ea"/>
                <a:cs typeface="+mn-cs"/>
              </a:rPr>
              <a:t>Azure Data Lake Storage Gen2 storage account</a:t>
            </a:r>
            <a:r>
              <a:rPr lang="en-US" sz="800" b="0" i="0" kern="1200">
                <a:solidFill>
                  <a:schemeClr val="tx1"/>
                </a:solidFill>
                <a:effectLst/>
                <a:latin typeface="Segoe UI Light" pitchFamily="34" charset="0"/>
                <a:ea typeface="+mn-ea"/>
                <a:cs typeface="+mn-cs"/>
              </a:rPr>
              <a:t> is currently </a:t>
            </a:r>
            <a:r>
              <a:rPr lang="en-US" sz="800" b="1" i="0" kern="1200">
                <a:solidFill>
                  <a:schemeClr val="tx1"/>
                </a:solidFill>
                <a:effectLst/>
                <a:latin typeface="Segoe UI Light" pitchFamily="34" charset="0"/>
                <a:ea typeface="+mn-ea"/>
                <a:cs typeface="+mn-cs"/>
              </a:rPr>
              <a:t>not supported</a:t>
            </a:r>
            <a:r>
              <a:rPr lang="en-US" sz="800" b="0" i="0" kern="1200">
                <a:solidFill>
                  <a:schemeClr val="tx1"/>
                </a:solidFill>
                <a:effectLst/>
                <a:latin typeface="Segoe UI Light" pitchFamily="34" charset="0"/>
                <a:ea typeface="+mn-ea"/>
                <a:cs typeface="+mn-cs"/>
              </a:rPr>
              <a:t>.</a:t>
            </a:r>
          </a:p>
          <a:p>
            <a:pPr rtl="0"/>
            <a:endParaRPr lang="en-US"/>
          </a:p>
          <a:p>
            <a:pPr rtl="0"/>
            <a:endParaRPr lang="en-US"/>
          </a:p>
          <a:p>
            <a:r>
              <a:rPr lang="en-US" sz="800" b="0" i="0" u="none" strike="noStrike" kern="1200">
                <a:solidFill>
                  <a:schemeClr val="tx1"/>
                </a:solidFill>
                <a:effectLst/>
                <a:latin typeface="Segoe UI Light" pitchFamily="34" charset="0"/>
                <a:ea typeface="+mn-ea"/>
                <a:cs typeface="+mn-cs"/>
              </a:rPr>
              <a:t>The default auditing policy includes all actions and the following set of action groups, which will audit all the queries and stored procedures executed against the database, as well as successful and failed logins:</a:t>
            </a:r>
          </a:p>
          <a:p>
            <a:r>
              <a:rPr lang="en-US" sz="800" b="0" i="0" u="none" strike="noStrike" kern="1200">
                <a:solidFill>
                  <a:schemeClr val="tx1"/>
                </a:solidFill>
                <a:effectLst/>
                <a:latin typeface="Segoe UI Light" pitchFamily="34" charset="0"/>
                <a:ea typeface="+mn-ea"/>
                <a:cs typeface="+mn-cs"/>
              </a:rPr>
              <a:t>BATCH_COMPLETED_GROUP</a:t>
            </a:r>
            <a:br>
              <a:rPr lang="en-US" sz="800" b="0" i="0" u="none" strike="noStrike" kern="1200">
                <a:solidFill>
                  <a:schemeClr val="tx1"/>
                </a:solidFill>
                <a:effectLst/>
                <a:latin typeface="Segoe UI Light" pitchFamily="34" charset="0"/>
                <a:ea typeface="+mn-ea"/>
                <a:cs typeface="+mn-cs"/>
              </a:rPr>
            </a:br>
            <a:r>
              <a:rPr lang="en-US" sz="800" b="0" i="0" u="none" strike="noStrike" kern="1200">
                <a:solidFill>
                  <a:schemeClr val="tx1"/>
                </a:solidFill>
                <a:effectLst/>
                <a:latin typeface="Segoe UI Light" pitchFamily="34" charset="0"/>
                <a:ea typeface="+mn-ea"/>
                <a:cs typeface="+mn-cs"/>
              </a:rPr>
              <a:t>SUCCESSFUL_DATABASE_AUTHENTICATION_GROUP</a:t>
            </a:r>
            <a:br>
              <a:rPr lang="en-US" sz="800" b="0" i="0" u="none" strike="noStrike" kern="1200">
                <a:solidFill>
                  <a:schemeClr val="tx1"/>
                </a:solidFill>
                <a:effectLst/>
                <a:latin typeface="Segoe UI Light" pitchFamily="34" charset="0"/>
                <a:ea typeface="+mn-ea"/>
                <a:cs typeface="+mn-cs"/>
              </a:rPr>
            </a:br>
            <a:r>
              <a:rPr lang="en-US" sz="800" b="0" i="0" u="none" strike="noStrike" kern="1200">
                <a:solidFill>
                  <a:schemeClr val="tx1"/>
                </a:solidFill>
                <a:effectLst/>
                <a:latin typeface="Segoe UI Light" pitchFamily="34" charset="0"/>
                <a:ea typeface="+mn-ea"/>
                <a:cs typeface="+mn-cs"/>
              </a:rPr>
              <a:t>FAILED_DATABASE_AUTHENTICATION_GROUP</a:t>
            </a:r>
          </a:p>
          <a:p>
            <a:r>
              <a:rPr lang="en-US" sz="800" b="0" i="0" u="none" strike="noStrike" kern="1200">
                <a:solidFill>
                  <a:schemeClr val="tx1"/>
                </a:solidFill>
                <a:effectLst/>
                <a:latin typeface="Segoe UI Light" pitchFamily="34" charset="0"/>
                <a:ea typeface="+mn-ea"/>
                <a:cs typeface="+mn-cs"/>
              </a:rPr>
              <a:t>You can configure auditing for different types of actions and action groups using PowerShell, as described in the </a:t>
            </a:r>
            <a:r>
              <a:rPr lang="en-US" sz="800" b="0" i="0" u="sng" strike="noStrike" kern="1200">
                <a:solidFill>
                  <a:schemeClr val="tx1"/>
                </a:solidFill>
                <a:effectLst/>
                <a:latin typeface="Segoe UI Light" pitchFamily="34" charset="0"/>
                <a:ea typeface="+mn-ea"/>
                <a:cs typeface="+mn-cs"/>
                <a:hlinkClick r:id="rId4"/>
              </a:rPr>
              <a:t>Manage SQL database auditing using Azure PowerShell</a:t>
            </a:r>
            <a:r>
              <a:rPr lang="en-US" sz="800" b="0" i="0" u="none" strike="noStrike" kern="1200">
                <a:solidFill>
                  <a:schemeClr val="tx1"/>
                </a:solidFill>
                <a:effectLst/>
                <a:latin typeface="Segoe UI Light" pitchFamily="34" charset="0"/>
                <a:ea typeface="+mn-ea"/>
                <a:cs typeface="+mn-cs"/>
              </a:rPr>
              <a:t> section.</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5</a:t>
            </a:fld>
            <a:endParaRPr lang="en-US" noProof="0"/>
          </a:p>
        </p:txBody>
      </p:sp>
    </p:spTree>
    <p:extLst>
      <p:ext uri="{BB962C8B-B14F-4D97-AF65-F5344CB8AC3E}">
        <p14:creationId xmlns:p14="http://schemas.microsoft.com/office/powerpoint/2010/main" val="420932706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If you chose to write audit logs to Azure Monitor logs:</a:t>
            </a:r>
          </a:p>
          <a:p>
            <a:pPr marL="171450" indent="-171450">
              <a:buFont typeface="Arial" panose="020B0604020202020204" pitchFamily="34" charset="0"/>
              <a:buChar char="•"/>
            </a:pPr>
            <a:r>
              <a:rPr lang="en-US"/>
              <a:t>Use the Azure portal. View audit logs.</a:t>
            </a:r>
          </a:p>
          <a:p>
            <a:pPr marL="171450" indent="-171450">
              <a:buFont typeface="Arial" panose="020B0604020202020204" pitchFamily="34" charset="0"/>
              <a:buChar char="•"/>
            </a:pPr>
            <a:r>
              <a:rPr lang="en-US"/>
              <a:t>Clicking on Log Analytics at the top of the Audit records page will open the Logs view in Log Analytics workspace, where you can customize the time range and the search query. Or access it directly from Log Analytics blade.</a:t>
            </a:r>
          </a:p>
          <a:p>
            <a:endParaRPr lang="en-US"/>
          </a:p>
          <a:p>
            <a:pPr marL="171450" indent="-171450">
              <a:buFont typeface="Arial" panose="020B0604020202020204" pitchFamily="34" charset="0"/>
              <a:buChar char="•"/>
            </a:pPr>
            <a:r>
              <a:rPr lang="en-US"/>
              <a:t>If you chose to write audit logs to Event Hub:</a:t>
            </a:r>
          </a:p>
          <a:p>
            <a:pPr marL="388712" lvl="1" indent="-171450">
              <a:buFont typeface="Arial" panose="020B0604020202020204" pitchFamily="34" charset="0"/>
              <a:buChar char="•"/>
            </a:pPr>
            <a:r>
              <a:rPr lang="en-US"/>
              <a:t>To consume audit logs data from Event Hub, you will need to set up a stream to consume events and write them to a target. To read the audit logs, you can use Avro Tools or similar tools that process this format.</a:t>
            </a:r>
          </a:p>
          <a:p>
            <a:endParaRPr lang="en-US"/>
          </a:p>
          <a:p>
            <a:pPr marL="171450" indent="-171450">
              <a:buFont typeface="Arial" panose="020B0604020202020204" pitchFamily="34" charset="0"/>
              <a:buChar char="•"/>
            </a:pPr>
            <a:r>
              <a:rPr lang="en-US"/>
              <a:t>If you chose to write audit logs to an Azure storage account, there are several methods you can use to view the logs:</a:t>
            </a:r>
          </a:p>
          <a:p>
            <a:pPr marL="388712" lvl="1" indent="-171450">
              <a:buFont typeface="Arial" panose="020B0604020202020204" pitchFamily="34" charset="0"/>
              <a:buChar char="•"/>
            </a:pPr>
            <a:r>
              <a:rPr lang="en-US"/>
              <a:t>Using a tool such as Azure Storage Explorer. In Azure storage, auditing logs are saved as a collection of blob files within a container named </a:t>
            </a:r>
            <a:r>
              <a:rPr lang="en-US" err="1"/>
              <a:t>sqldbauditlogs</a:t>
            </a:r>
            <a:r>
              <a:rPr lang="en-US"/>
              <a:t>. </a:t>
            </a:r>
          </a:p>
          <a:p>
            <a:pPr marL="388712" lvl="1" indent="-171450">
              <a:buFont typeface="Arial" panose="020B0604020202020204" pitchFamily="34" charset="0"/>
              <a:buChar char="•"/>
            </a:pPr>
            <a:r>
              <a:rPr lang="en-US"/>
              <a:t>Use the Azure portal. Open the relevant database. At the top of the database's Auditing page, click View audit logs.</a:t>
            </a:r>
          </a:p>
          <a:p>
            <a:pPr marL="388712" lvl="1" indent="-171450">
              <a:buFont typeface="Arial" panose="020B0604020202020204" pitchFamily="34" charset="0"/>
              <a:buChar char="•"/>
            </a:pPr>
            <a:r>
              <a:rPr lang="en-US"/>
              <a:t>Use Power BI. You can view and analyze audit log data in Power BI. </a:t>
            </a:r>
          </a:p>
          <a:p>
            <a:pPr marL="388712" lvl="1" indent="-171450">
              <a:buFont typeface="Arial" panose="020B0604020202020204" pitchFamily="34" charset="0"/>
              <a:buChar char="•"/>
            </a:pPr>
            <a:r>
              <a:rPr lang="en-US"/>
              <a:t>Download log files from your Azure Storage blob container via the portal or by using a tool such as Azure Storage Explorer. After you have downloaded a log file locally, double-click the file to open, view, and analyze the logs in SSMS.</a:t>
            </a:r>
          </a:p>
          <a:p>
            <a:pPr marL="388712" lvl="1" indent="-171450">
              <a:buFont typeface="Arial" panose="020B0604020202020204" pitchFamily="34" charset="0"/>
              <a:buChar char="•"/>
            </a:pPr>
            <a:r>
              <a:rPr lang="en-US"/>
              <a:t>Query Extended Events Files by using PowerShell.</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6</a:t>
            </a:fld>
            <a:endParaRPr lang="en-US" noProof="0"/>
          </a:p>
        </p:txBody>
      </p:sp>
    </p:spTree>
    <p:extLst>
      <p:ext uri="{BB962C8B-B14F-4D97-AF65-F5344CB8AC3E}">
        <p14:creationId xmlns:p14="http://schemas.microsoft.com/office/powerpoint/2010/main" val="43273125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dirty="0">
                <a:solidFill>
                  <a:srgbClr val="000000"/>
                </a:solidFill>
                <a:latin typeface="Consolas" panose="020B0609020204030204" pitchFamily="49" charset="0"/>
              </a:rPr>
              <a:t>M04L09Demo01</a:t>
            </a:r>
          </a:p>
          <a:p>
            <a:endParaRPr lang="en-US" b="1" dirty="0"/>
          </a:p>
          <a:p>
            <a:r>
              <a:rPr lang="en-US" b="1" dirty="0"/>
              <a:t>Demo Requirements</a:t>
            </a:r>
          </a:p>
          <a:p>
            <a:pPr marL="171450" indent="-171450">
              <a:buFontTx/>
              <a:buChar char="-"/>
            </a:pPr>
            <a:r>
              <a:rPr lang="en-US" b="0" dirty="0"/>
              <a:t>The </a:t>
            </a:r>
            <a:r>
              <a:rPr lang="en-US" b="0" dirty="0" err="1"/>
              <a:t>salesdb</a:t>
            </a:r>
            <a:r>
              <a:rPr lang="en-US" b="0" dirty="0"/>
              <a:t> that has been created in Module 1</a:t>
            </a:r>
          </a:p>
          <a:p>
            <a:pPr marL="171450" indent="-171450">
              <a:buFontTx/>
              <a:buChar char="-"/>
            </a:pPr>
            <a:r>
              <a:rPr lang="en-US" b="0" dirty="0"/>
              <a:t>SSMS</a:t>
            </a:r>
          </a:p>
          <a:p>
            <a:endParaRPr lang="en-US" b="1" dirty="0"/>
          </a:p>
          <a:p>
            <a:r>
              <a:rPr lang="en-US" b="1" dirty="0"/>
              <a:t>Steps:</a:t>
            </a:r>
            <a:endParaRPr lang="en-US" b="0" dirty="0"/>
          </a:p>
          <a:p>
            <a:pPr marL="228600" indent="-228600">
              <a:buAutoNum type="arabicPeriod"/>
            </a:pPr>
            <a:r>
              <a:rPr lang="en-US" b="0" dirty="0"/>
              <a:t>Open the Azure Portal and open the </a:t>
            </a:r>
            <a:r>
              <a:rPr lang="en-US" b="0" dirty="0" err="1"/>
              <a:t>salesdb</a:t>
            </a:r>
            <a:endParaRPr lang="en-US" b="0" dirty="0"/>
          </a:p>
          <a:p>
            <a:pPr marL="228600" indent="-228600">
              <a:buAutoNum type="arabicPeriod"/>
            </a:pPr>
            <a:r>
              <a:rPr lang="en-US" b="0" dirty="0"/>
              <a:t>Click Auditing</a:t>
            </a:r>
          </a:p>
          <a:p>
            <a:pPr marL="228600" indent="-228600">
              <a:buAutoNum type="arabicPeriod"/>
            </a:pPr>
            <a:r>
              <a:rPr lang="en-US" b="0" dirty="0"/>
              <a:t>Enable Auditing</a:t>
            </a:r>
          </a:p>
          <a:p>
            <a:pPr marL="228600" indent="-228600">
              <a:buAutoNum type="arabicPeriod"/>
            </a:pPr>
            <a:r>
              <a:rPr lang="en-US" b="0" dirty="0"/>
              <a:t>Specify a storage account to store the audit logs</a:t>
            </a:r>
          </a:p>
          <a:p>
            <a:pPr marL="228600" indent="-228600">
              <a:buAutoNum type="arabicPeriod"/>
            </a:pPr>
            <a:r>
              <a:rPr lang="en-US" b="0" dirty="0"/>
              <a:t>Specify a retention period. For example 30 days</a:t>
            </a:r>
          </a:p>
          <a:p>
            <a:pPr marL="228600" indent="-228600">
              <a:buAutoNum type="arabicPeriod"/>
            </a:pPr>
            <a:r>
              <a:rPr lang="en-US" b="0" dirty="0"/>
              <a:t>Click save </a:t>
            </a:r>
          </a:p>
          <a:p>
            <a:pPr marL="228600" indent="-228600">
              <a:buAutoNum type="arabicPeriod"/>
            </a:pPr>
            <a:r>
              <a:rPr lang="en-US" b="0" dirty="0"/>
              <a:t>Open the SSMS and execute the following statement</a:t>
            </a:r>
          </a:p>
          <a:p>
            <a:r>
              <a:rPr lang="en-US" sz="900" kern="1200" dirty="0">
                <a:solidFill>
                  <a:schemeClr val="tx1"/>
                </a:solidFill>
                <a:latin typeface="Segoe UI Light" pitchFamily="34" charset="0"/>
                <a:ea typeface="+mn-ea"/>
                <a:cs typeface="+mn-cs"/>
              </a:rPr>
              <a:t>                </a:t>
            </a:r>
            <a:r>
              <a:rPr lang="nl-BE" sz="900" kern="1200" dirty="0">
                <a:solidFill>
                  <a:schemeClr val="tx1"/>
                </a:solidFill>
                <a:latin typeface="Segoe UI Light" pitchFamily="34" charset="0"/>
                <a:ea typeface="+mn-ea"/>
                <a:cs typeface="+mn-cs"/>
              </a:rPr>
              <a:t>SELECT TOP (1000) [EmployeeID]</a:t>
            </a:r>
          </a:p>
          <a:p>
            <a:pPr marL="510093" lvl="4" indent="0">
              <a:buNone/>
            </a:pPr>
            <a:r>
              <a:rPr lang="nl-BE" sz="900" kern="1200" dirty="0">
                <a:solidFill>
                  <a:schemeClr val="tx1"/>
                </a:solidFill>
                <a:latin typeface="Segoe UI Light" pitchFamily="34" charset="0"/>
                <a:ea typeface="+mn-ea"/>
                <a:cs typeface="+mn-cs"/>
              </a:rPr>
              <a:t>      ,[FirstName]</a:t>
            </a:r>
          </a:p>
          <a:p>
            <a:pPr marL="510093" lvl="4" indent="0">
              <a:buNone/>
            </a:pPr>
            <a:r>
              <a:rPr lang="nl-BE" sz="900" kern="1200" dirty="0">
                <a:solidFill>
                  <a:schemeClr val="tx1"/>
                </a:solidFill>
                <a:latin typeface="Segoe UI Light" pitchFamily="34" charset="0"/>
                <a:ea typeface="+mn-ea"/>
                <a:cs typeface="+mn-cs"/>
              </a:rPr>
              <a:t>      ,[MiddleInitial]</a:t>
            </a:r>
          </a:p>
          <a:p>
            <a:pPr marL="510093" lvl="4" indent="0">
              <a:buNone/>
            </a:pPr>
            <a:r>
              <a:rPr lang="nl-BE" sz="900" kern="1200" dirty="0">
                <a:solidFill>
                  <a:schemeClr val="tx1"/>
                </a:solidFill>
                <a:latin typeface="Segoe UI Light" pitchFamily="34" charset="0"/>
                <a:ea typeface="+mn-ea"/>
                <a:cs typeface="+mn-cs"/>
              </a:rPr>
              <a:t>      ,[LastName]</a:t>
            </a:r>
          </a:p>
          <a:p>
            <a:pPr marL="510093" lvl="4" indent="0">
              <a:buNone/>
            </a:pPr>
            <a:r>
              <a:rPr lang="nl-BE" sz="900" kern="1200" dirty="0">
                <a:solidFill>
                  <a:schemeClr val="tx1"/>
                </a:solidFill>
                <a:latin typeface="Segoe UI Light" pitchFamily="34" charset="0"/>
                <a:ea typeface="+mn-ea"/>
                <a:cs typeface="+mn-cs"/>
              </a:rPr>
              <a:t>  FROM [dbo].[Employees]</a:t>
            </a:r>
          </a:p>
          <a:p>
            <a:pPr marL="111197" lvl="0" indent="-228600">
              <a:buFont typeface="+mj-lt"/>
              <a:buAutoNum type="arabicPeriod"/>
            </a:pPr>
            <a:r>
              <a:rPr lang="nl-BE" b="0" kern="1200" dirty="0">
                <a:solidFill>
                  <a:schemeClr val="tx1"/>
                </a:solidFill>
                <a:latin typeface="Segoe UI Light" pitchFamily="34" charset="0"/>
                <a:ea typeface="+mn-ea"/>
                <a:cs typeface="+mn-cs"/>
              </a:rPr>
              <a:t>Go back to the portal and click the button “View Audit Logs”</a:t>
            </a:r>
          </a:p>
          <a:p>
            <a:pPr marL="111197" lvl="0" indent="-228600">
              <a:buFont typeface="+mj-lt"/>
              <a:buAutoNum type="arabicPeriod"/>
            </a:pPr>
            <a:r>
              <a:rPr lang="nl-BE" b="0" kern="1200" dirty="0">
                <a:solidFill>
                  <a:schemeClr val="tx1"/>
                </a:solidFill>
                <a:latin typeface="Segoe UI Light" pitchFamily="34" charset="0"/>
                <a:ea typeface="+mn-ea"/>
                <a:cs typeface="+mn-cs"/>
              </a:rPr>
              <a:t>You will notice that there are a few logs already available. </a:t>
            </a:r>
          </a:p>
          <a:p>
            <a:pPr marL="111197" lvl="0" indent="-228600">
              <a:buFont typeface="+mj-lt"/>
              <a:buAutoNum type="arabicPeriod"/>
            </a:pPr>
            <a:r>
              <a:rPr lang="nl-BE" b="0" kern="1200" dirty="0">
                <a:solidFill>
                  <a:schemeClr val="tx1"/>
                </a:solidFill>
                <a:latin typeface="Segoe UI Light" pitchFamily="34" charset="0"/>
                <a:ea typeface="+mn-ea"/>
                <a:cs typeface="+mn-cs"/>
              </a:rPr>
              <a:t>Search for you query in the logs. The type will be BATCH COMPLETED and is typically the last log record</a:t>
            </a:r>
          </a:p>
          <a:p>
            <a:pPr marL="111197" lvl="0" indent="-228600">
              <a:buFont typeface="+mj-lt"/>
              <a:buAutoNum type="arabicPeriod"/>
            </a:pPr>
            <a:r>
              <a:rPr lang="nl-BE" b="0" kern="1200" dirty="0">
                <a:solidFill>
                  <a:schemeClr val="tx1"/>
                </a:solidFill>
                <a:latin typeface="Segoe UI Light" pitchFamily="34" charset="0"/>
                <a:ea typeface="+mn-ea"/>
                <a:cs typeface="+mn-cs"/>
              </a:rPr>
              <a:t>Show the audit record details</a:t>
            </a:r>
            <a:endParaRPr lang="en-US" b="0" dirty="0"/>
          </a:p>
          <a:p>
            <a:pPr marL="228600" indent="-228600">
              <a:buAutoNum type="arabicPeriod"/>
            </a:pPr>
            <a:endParaRPr lang="en-US" b="1" dirty="0"/>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4711220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FFFFFF"/>
                </a:solidFill>
              </a:rPr>
              <a:t>Q1: Which 3 action groups are configured by default when you enable auditing?</a:t>
            </a:r>
            <a:endParaRPr lang="en-AU">
              <a:cs typeface="Segoe UI Light"/>
            </a:endParaRPr>
          </a:p>
          <a:p>
            <a:r>
              <a:rPr lang="en-AU">
                <a:cs typeface="Segoe UI Light"/>
              </a:rPr>
              <a:t>Answer 1: </a:t>
            </a:r>
            <a:r>
              <a:rPr lang="en-US" sz="900" b="0" i="0" u="none" strike="noStrike" kern="1200">
                <a:solidFill>
                  <a:schemeClr val="tx1"/>
                </a:solidFill>
                <a:effectLst/>
                <a:latin typeface="Segoe UI Light" pitchFamily="34" charset="0"/>
                <a:ea typeface="+mn-ea"/>
                <a:cs typeface="+mn-cs"/>
              </a:rPr>
              <a:t>The default auditing policy includes all actions and the following set of action groups, which will audit all the queries and stored procedures executed against the database, as well as successful and failed logins:</a:t>
            </a:r>
          </a:p>
          <a:p>
            <a:r>
              <a:rPr lang="en-US" sz="900" b="1" i="0" u="none" strike="noStrike" kern="1200">
                <a:solidFill>
                  <a:schemeClr val="tx1"/>
                </a:solidFill>
                <a:effectLst/>
                <a:latin typeface="Segoe UI Light" pitchFamily="34" charset="0"/>
                <a:ea typeface="+mn-ea"/>
                <a:cs typeface="+mn-cs"/>
              </a:rPr>
              <a:t>BATCH_COMPLETED_GROUP</a:t>
            </a:r>
            <a:br>
              <a:rPr lang="en-US" sz="900" b="1" i="0" u="none" strike="noStrike" kern="1200">
                <a:solidFill>
                  <a:schemeClr val="tx1"/>
                </a:solidFill>
                <a:effectLst/>
                <a:latin typeface="Segoe UI Light" pitchFamily="34" charset="0"/>
                <a:ea typeface="+mn-ea"/>
                <a:cs typeface="+mn-cs"/>
              </a:rPr>
            </a:br>
            <a:r>
              <a:rPr lang="en-US" sz="900" b="1" i="0" u="none" strike="noStrike" kern="1200">
                <a:solidFill>
                  <a:schemeClr val="tx1"/>
                </a:solidFill>
                <a:effectLst/>
                <a:latin typeface="Segoe UI Light" pitchFamily="34" charset="0"/>
                <a:ea typeface="+mn-ea"/>
                <a:cs typeface="+mn-cs"/>
              </a:rPr>
              <a:t>SUCCESSFUL_DATABASE_AUTHENTICATION_GROUP</a:t>
            </a:r>
            <a:br>
              <a:rPr lang="en-US" sz="900" b="1" i="0" u="none" strike="noStrike" kern="1200">
                <a:solidFill>
                  <a:schemeClr val="tx1"/>
                </a:solidFill>
                <a:effectLst/>
                <a:latin typeface="Segoe UI Light" pitchFamily="34" charset="0"/>
                <a:ea typeface="+mn-ea"/>
                <a:cs typeface="+mn-cs"/>
              </a:rPr>
            </a:br>
            <a:r>
              <a:rPr lang="en-US" sz="900" b="1" i="0" u="none" strike="noStrike" kern="1200">
                <a:solidFill>
                  <a:schemeClr val="tx1"/>
                </a:solidFill>
                <a:effectLst/>
                <a:latin typeface="Segoe UI Light" pitchFamily="34" charset="0"/>
                <a:ea typeface="+mn-ea"/>
                <a:cs typeface="+mn-cs"/>
              </a:rPr>
              <a:t>FAILED_DATABASE_AUTHENTICATION_GROUP</a:t>
            </a:r>
          </a:p>
          <a:p>
            <a:endParaRPr lang="en-AU">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a:cs typeface="Segoe UI Light"/>
              </a:rPr>
              <a:t>Q2: </a:t>
            </a:r>
            <a:r>
              <a:rPr lang="en-US" sz="900">
                <a:solidFill>
                  <a:srgbClr val="FFFFFF"/>
                </a:solidFill>
              </a:rPr>
              <a:t>Where are the auditing records stored?</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r>
              <a:rPr lang="en-AU">
                <a:cs typeface="Segoe UI Light"/>
              </a:rPr>
              <a:t>Answer 2: </a:t>
            </a:r>
            <a:r>
              <a:rPr lang="en-AU" b="1">
                <a:cs typeface="Segoe UI Light"/>
              </a:rPr>
              <a:t>Azure blob storage, Log Analytics and Event Hub</a:t>
            </a:r>
          </a:p>
          <a:p>
            <a:endParaRPr lang="en-AU">
              <a:cs typeface="Segoe UI 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AU">
                <a:cs typeface="Segoe UI Light"/>
              </a:rPr>
              <a:t>Q3: </a:t>
            </a:r>
            <a:r>
              <a:rPr lang="en-US" sz="900">
                <a:solidFill>
                  <a:srgbClr val="FFFFFF"/>
                </a:solidFill>
              </a:rPr>
              <a:t>Which tools can you use to analyze the Audit Logs?</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r>
              <a:rPr lang="en-AU">
                <a:cs typeface="Segoe UI Light"/>
              </a:rPr>
              <a:t>Answer 3:</a:t>
            </a:r>
          </a:p>
          <a:p>
            <a:pPr marL="171450" indent="-171450">
              <a:buFontTx/>
              <a:buChar char="-"/>
            </a:pPr>
            <a:r>
              <a:rPr lang="en-AU" b="1">
                <a:cs typeface="Segoe UI Light"/>
              </a:rPr>
              <a:t>Azure Storage Explorer</a:t>
            </a:r>
          </a:p>
          <a:p>
            <a:pPr marL="171450" indent="-171450">
              <a:buFontTx/>
              <a:buChar char="-"/>
            </a:pPr>
            <a:r>
              <a:rPr lang="en-AU" b="1">
                <a:cs typeface="Segoe UI Light"/>
              </a:rPr>
              <a:t>Sync Application with Log Analytics</a:t>
            </a:r>
          </a:p>
          <a:p>
            <a:pPr marL="171450" indent="-171450">
              <a:buFontTx/>
              <a:buChar char="-"/>
            </a:pPr>
            <a:r>
              <a:rPr lang="en-AU" b="1">
                <a:cs typeface="Segoe UI Light"/>
              </a:rPr>
              <a:t>SQL Server Management Studio</a:t>
            </a:r>
          </a:p>
          <a:p>
            <a:pPr marL="171450" indent="-171450">
              <a:buFontTx/>
              <a:buChar char="-"/>
            </a:pPr>
            <a:r>
              <a:rPr lang="en-AU" b="1">
                <a:cs typeface="Segoe UI Light"/>
              </a:rPr>
              <a:t>Power BI</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89</a:t>
            </a:fld>
            <a:endParaRPr lang="en-US" noProof="0"/>
          </a:p>
        </p:txBody>
      </p:sp>
    </p:spTree>
    <p:extLst>
      <p:ext uri="{BB962C8B-B14F-4D97-AF65-F5344CB8AC3E}">
        <p14:creationId xmlns:p14="http://schemas.microsoft.com/office/powerpoint/2010/main" val="2256640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dvanced Threat Protection</a:t>
            </a:r>
            <a:endParaRPr lang="nl-BE"/>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0</a:t>
            </a:fld>
            <a:endParaRPr lang="en-US" noProof="0"/>
          </a:p>
        </p:txBody>
      </p:sp>
    </p:spTree>
    <p:extLst>
      <p:ext uri="{BB962C8B-B14F-4D97-AF65-F5344CB8AC3E}">
        <p14:creationId xmlns:p14="http://schemas.microsoft.com/office/powerpoint/2010/main" val="106889258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nl-BE"/>
              <a:t>In this lesson we will be covering </a:t>
            </a:r>
            <a:r>
              <a:rPr lang="en-US" sz="800">
                <a:solidFill>
                  <a:schemeClr val="bg1"/>
                </a:solidFill>
              </a:rPr>
              <a:t>Advanced Threat Protection</a:t>
            </a:r>
            <a:endParaRPr lang="nl-BE"/>
          </a:p>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976165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0"/>
              </a:spcAft>
              <a:buClrTx/>
              <a:buSzTx/>
              <a:buFont typeface="Arial" pitchFamily="34" charset="0"/>
              <a:buNone/>
              <a:tabLst/>
              <a:defRPr/>
            </a:pPr>
            <a:r>
              <a:rPr lang="en-US">
                <a:cs typeface="Segoe UI Light"/>
              </a:rPr>
              <a:t>Q1: </a:t>
            </a:r>
            <a:r>
              <a:rPr lang="en-US" sz="900">
                <a:solidFill>
                  <a:srgbClr val="FFFFFF"/>
                </a:solidFill>
              </a:rPr>
              <a:t>List the security features available for Azure SQL Database?</a:t>
            </a:r>
            <a:endParaRPr kumimoji="0" lang="en-US" sz="900" b="0" i="0" u="none" strike="noStrike" kern="1200" cap="none" spc="0" normalizeH="0" baseline="0" noProof="0">
              <a:ln>
                <a:noFill/>
              </a:ln>
              <a:solidFill>
                <a:srgbClr val="FFFFFF"/>
              </a:solidFill>
              <a:effectLst/>
              <a:uLnTx/>
              <a:uFillTx/>
              <a:latin typeface="+mn-lt"/>
              <a:ea typeface="+mn-ea"/>
              <a:cs typeface="+mn-cs"/>
            </a:endParaRPr>
          </a:p>
          <a:p>
            <a:pPr marL="0" lvl="1" indent="0">
              <a:spcAft>
                <a:spcPts val="0"/>
              </a:spcAft>
              <a:buNone/>
            </a:pPr>
            <a:r>
              <a:rPr lang="en-US">
                <a:cs typeface="Segoe UI Light"/>
              </a:rPr>
              <a:t>Answer 1: </a:t>
            </a:r>
          </a:p>
          <a:p>
            <a:pPr marL="0" lvl="1" indent="0">
              <a:spcAft>
                <a:spcPts val="0"/>
              </a:spcAft>
              <a:buNone/>
            </a:pPr>
            <a:r>
              <a:rPr lang="en-US" b="1">
                <a:cs typeface="Segoe UI Light"/>
              </a:rPr>
              <a:t>TDE, Always Encrypted, Row Level Security , Dynamic Data masking </a:t>
            </a:r>
            <a:r>
              <a:rPr lang="en-US">
                <a:cs typeface="Segoe UI Light"/>
              </a:rPr>
              <a:t>etc.</a:t>
            </a:r>
          </a:p>
          <a:p>
            <a:pPr marL="171450" indent="-171450"/>
            <a:r>
              <a:rPr lang="en-US">
                <a:cs typeface="Segoe UI Light"/>
              </a:rPr>
              <a:t>     </a:t>
            </a:r>
          </a:p>
          <a:p>
            <a:pPr marL="0" marR="0" lvl="0" indent="-171450" algn="l" defTabSz="932742" rtl="0" eaLnBrk="1" fontAlgn="auto" latinLnBrk="0" hangingPunct="1">
              <a:lnSpc>
                <a:spcPct val="90000"/>
              </a:lnSpc>
              <a:spcBef>
                <a:spcPts val="0"/>
              </a:spcBef>
              <a:spcAft>
                <a:spcPts val="0"/>
              </a:spcAft>
              <a:buClrTx/>
              <a:buSzTx/>
              <a:buFontTx/>
              <a:buNone/>
              <a:tabLst/>
              <a:defRPr/>
            </a:pPr>
            <a:r>
              <a:rPr lang="en-US">
                <a:latin typeface="Segoe UI Light"/>
                <a:cs typeface="Segoe UI Light"/>
              </a:rPr>
              <a:t>Q2: </a:t>
            </a:r>
            <a:r>
              <a:rPr lang="en-US" sz="900">
                <a:solidFill>
                  <a:srgbClr val="FFFFFF"/>
                </a:solidFill>
              </a:rPr>
              <a:t>Name the feature to encrypt the data both at rest and motion.</a:t>
            </a:r>
            <a:endParaRPr lang="en-US">
              <a:latin typeface="Segoe UI Light"/>
              <a:cs typeface="Segoe UI Light"/>
            </a:endParaRPr>
          </a:p>
          <a:p>
            <a:pPr indent="-171450">
              <a:spcAft>
                <a:spcPts val="0"/>
              </a:spcAft>
            </a:pPr>
            <a:r>
              <a:rPr lang="en-US">
                <a:latin typeface="Segoe UI Light"/>
                <a:cs typeface="Segoe UI Light"/>
              </a:rPr>
              <a:t>Answer 2: </a:t>
            </a:r>
            <a:r>
              <a:rPr lang="en-US" b="1">
                <a:latin typeface="Segoe UI Light"/>
                <a:cs typeface="Segoe UI Light"/>
              </a:rPr>
              <a:t>Always Encrypted</a:t>
            </a:r>
            <a:r>
              <a:rPr lang="en-US">
                <a:latin typeface="Segoe UI Light"/>
                <a:cs typeface="Segoe UI Light"/>
              </a:rPr>
              <a:t>.</a:t>
            </a:r>
          </a:p>
          <a:p>
            <a:pPr indent="-171450">
              <a:spcAft>
                <a:spcPts val="0"/>
              </a:spcAft>
            </a:pPr>
            <a:endParaRPr lang="en-US">
              <a:latin typeface="Segoe UI Light"/>
              <a:cs typeface="Segoe UI Light"/>
            </a:endParaRP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120882197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2</a:t>
            </a:fld>
            <a:endParaRPr lang="en-US" noProof="0"/>
          </a:p>
        </p:txBody>
      </p:sp>
    </p:spTree>
    <p:extLst>
      <p:ext uri="{BB962C8B-B14F-4D97-AF65-F5344CB8AC3E}">
        <p14:creationId xmlns:p14="http://schemas.microsoft.com/office/powerpoint/2010/main" val="145747437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078D7"/>
                </a:solidFill>
              </a:rPr>
              <a:t>Advanced </a:t>
            </a:r>
            <a:r>
              <a:rPr lang="en-US">
                <a:solidFill>
                  <a:schemeClr val="accent3"/>
                </a:solidFill>
              </a:rPr>
              <a:t>Threat Detection </a:t>
            </a:r>
            <a:r>
              <a:rPr lang="en-US" sz="800" b="0" i="0" u="none" strike="noStrike" kern="1200">
                <a:solidFill>
                  <a:schemeClr val="tx1"/>
                </a:solidFill>
                <a:effectLst/>
                <a:latin typeface="Segoe UI Light" pitchFamily="34" charset="0"/>
                <a:ea typeface="+mn-ea"/>
                <a:cs typeface="+mn-cs"/>
              </a:rPr>
              <a:t>detects anomalous activities indicating unusual and potentially harmful attempts to access or exploit your database. It continuously monitors your database for suspicious activities, and provides immediate security alerts on potential vulnerabilities, SQL injection attacks, and anomalous database access patterns. Threat Detection alerts provide details of the suspicious activity and recommend action on how to investigate and mitigate the threat.</a:t>
            </a:r>
          </a:p>
          <a:p>
            <a:endParaRPr lang="en-US" sz="800" b="0" i="0" u="none" strike="noStrike" kern="1200">
              <a:solidFill>
                <a:schemeClr val="tx1"/>
              </a:solidFill>
              <a:effectLst/>
              <a:latin typeface="Segoe UI Light" pitchFamily="34" charset="0"/>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3</a:t>
            </a:fld>
            <a:endParaRPr lang="en-US" noProof="0"/>
          </a:p>
        </p:txBody>
      </p:sp>
    </p:spTree>
    <p:extLst>
      <p:ext uri="{BB962C8B-B14F-4D97-AF65-F5344CB8AC3E}">
        <p14:creationId xmlns:p14="http://schemas.microsoft.com/office/powerpoint/2010/main" val="256649727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078D7"/>
                </a:solidFill>
              </a:rPr>
              <a:t>Advanced </a:t>
            </a:r>
            <a:r>
              <a:rPr lang="en-US">
                <a:solidFill>
                  <a:schemeClr val="accent3"/>
                </a:solidFill>
              </a:rPr>
              <a:t>Threat Detection </a:t>
            </a:r>
            <a:r>
              <a:rPr lang="en-US" sz="800" b="0" i="0" u="none" strike="noStrike" kern="1200">
                <a:solidFill>
                  <a:schemeClr val="tx1"/>
                </a:solidFill>
                <a:effectLst/>
                <a:latin typeface="Segoe UI Light" pitchFamily="34" charset="0"/>
                <a:ea typeface="+mn-ea"/>
                <a:cs typeface="+mn-cs"/>
              </a:rPr>
              <a:t>detects anomalous activities indicating unusual and potentially harmful attempts to access or exploit your database. It continuously monitors your database for suspicious activities, and provides immediate security alerts on potential vulnerabilities, SQL injection attacks, and anomalous database access patterns. Threat Detection alerts provide details of the suspicious activity and recommend action on how to investigate and mitigate the threat.</a:t>
            </a:r>
          </a:p>
          <a:p>
            <a:endParaRPr lang="en-US" sz="800" b="0" i="0" u="none" strike="noStrike" kern="1200">
              <a:solidFill>
                <a:schemeClr val="tx1"/>
              </a:solidFill>
              <a:effectLst/>
              <a:latin typeface="Segoe UI Light" pitchFamily="34" charset="0"/>
              <a:ea typeface="+mn-ea"/>
              <a:cs typeface="+mn-cs"/>
            </a:endParaRP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4</a:t>
            </a:fld>
            <a:endParaRPr lang="en-US" noProof="0"/>
          </a:p>
        </p:txBody>
      </p:sp>
    </p:spTree>
    <p:extLst>
      <p:ext uri="{BB962C8B-B14F-4D97-AF65-F5344CB8AC3E}">
        <p14:creationId xmlns:p14="http://schemas.microsoft.com/office/powerpoint/2010/main" val="9221850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u="none" strike="noStrike" kern="1200">
                <a:solidFill>
                  <a:schemeClr val="tx1"/>
                </a:solidFill>
                <a:effectLst/>
                <a:latin typeface="Segoe UI Light" pitchFamily="34" charset="0"/>
                <a:ea typeface="+mn-ea"/>
                <a:cs typeface="+mn-cs"/>
              </a:rPr>
              <a:t>Set up threat detection for your database in the Azure portal</a:t>
            </a:r>
          </a:p>
          <a:p>
            <a:r>
              <a:rPr lang="en-US" sz="900" b="0" i="0" u="none" strike="noStrike" kern="1200">
                <a:solidFill>
                  <a:schemeClr val="tx1"/>
                </a:solidFill>
                <a:effectLst/>
                <a:latin typeface="Segoe UI Light" pitchFamily="34" charset="0"/>
                <a:ea typeface="+mn-ea"/>
                <a:cs typeface="+mn-cs"/>
              </a:rPr>
              <a:t>Launch the Azure portal at </a:t>
            </a:r>
            <a:r>
              <a:rPr lang="en-US" sz="900" b="0" i="0" u="none" strike="noStrike" kern="1200">
                <a:solidFill>
                  <a:schemeClr val="tx1"/>
                </a:solidFill>
                <a:effectLst/>
                <a:latin typeface="Segoe UI Light" pitchFamily="34" charset="0"/>
                <a:ea typeface="+mn-ea"/>
                <a:cs typeface="+mn-cs"/>
                <a:hlinkClick r:id="rId3"/>
              </a:rPr>
              <a:t>https://portal.azure.com</a:t>
            </a:r>
            <a:r>
              <a:rPr lang="en-US" sz="900" b="0" i="0" u="none" strike="noStrike" kern="1200">
                <a:solidFill>
                  <a:schemeClr val="tx1"/>
                </a:solidFill>
                <a:effectLst/>
                <a:latin typeface="Segoe UI Light" pitchFamily="34" charset="0"/>
                <a:ea typeface="+mn-ea"/>
                <a:cs typeface="+mn-cs"/>
              </a:rPr>
              <a:t>.</a:t>
            </a:r>
          </a:p>
          <a:p>
            <a:r>
              <a:rPr lang="en-US" sz="900" b="0" i="0" u="none" strike="noStrike" kern="1200">
                <a:solidFill>
                  <a:schemeClr val="tx1"/>
                </a:solidFill>
                <a:effectLst/>
                <a:latin typeface="Segoe UI Light" pitchFamily="34" charset="0"/>
                <a:ea typeface="+mn-ea"/>
                <a:cs typeface="+mn-cs"/>
              </a:rPr>
              <a:t>Navigate to the configuration page of the Azure SQL Database server you want to protect. In the security settings, select </a:t>
            </a:r>
            <a:r>
              <a:rPr lang="en-US" sz="900" b="1" i="0" u="none" strike="noStrike" kern="1200">
                <a:solidFill>
                  <a:schemeClr val="tx1"/>
                </a:solidFill>
                <a:effectLst/>
                <a:latin typeface="Segoe UI Light" pitchFamily="34" charset="0"/>
                <a:ea typeface="+mn-ea"/>
                <a:cs typeface="+mn-cs"/>
              </a:rPr>
              <a:t>Advanced Data Security</a:t>
            </a:r>
            <a:r>
              <a:rPr lang="en-US" sz="900" b="0" i="0" u="none" strike="noStrike" kern="1200">
                <a:solidFill>
                  <a:schemeClr val="tx1"/>
                </a:solidFill>
                <a:effectLst/>
                <a:latin typeface="Segoe UI Light" pitchFamily="34" charset="0"/>
                <a:ea typeface="+mn-ea"/>
                <a:cs typeface="+mn-cs"/>
              </a:rPr>
              <a:t>.</a:t>
            </a:r>
          </a:p>
          <a:p>
            <a:r>
              <a:rPr lang="en-US" sz="900" b="0" i="0" u="none" strike="noStrike" kern="1200">
                <a:solidFill>
                  <a:schemeClr val="tx1"/>
                </a:solidFill>
                <a:effectLst/>
                <a:latin typeface="Segoe UI Light" pitchFamily="34" charset="0"/>
                <a:ea typeface="+mn-ea"/>
                <a:cs typeface="+mn-cs"/>
              </a:rPr>
              <a:t>On the </a:t>
            </a:r>
            <a:r>
              <a:rPr lang="en-US" sz="900" b="1" i="0" u="none" strike="noStrike" kern="1200">
                <a:solidFill>
                  <a:schemeClr val="tx1"/>
                </a:solidFill>
                <a:effectLst/>
                <a:latin typeface="Segoe UI Light" pitchFamily="34" charset="0"/>
                <a:ea typeface="+mn-ea"/>
                <a:cs typeface="+mn-cs"/>
              </a:rPr>
              <a:t>Advanced </a:t>
            </a:r>
            <a:r>
              <a:rPr lang="en-US" b="1"/>
              <a:t>Data Security </a:t>
            </a:r>
            <a:r>
              <a:rPr lang="en-US" sz="900" b="0" i="0" u="none" strike="noStrike" kern="1200">
                <a:solidFill>
                  <a:schemeClr val="tx1"/>
                </a:solidFill>
                <a:effectLst/>
                <a:latin typeface="Segoe UI Light" pitchFamily="34" charset="0"/>
                <a:ea typeface="+mn-ea"/>
                <a:cs typeface="+mn-cs"/>
              </a:rPr>
              <a:t>configuration page:</a:t>
            </a:r>
          </a:p>
          <a:p>
            <a:pPr lvl="1"/>
            <a:r>
              <a:rPr lang="en-US" sz="900" b="0" i="0" u="none" strike="noStrike" kern="1200">
                <a:solidFill>
                  <a:schemeClr val="tx1"/>
                </a:solidFill>
                <a:effectLst/>
                <a:latin typeface="Segoe UI Light" pitchFamily="34" charset="0"/>
                <a:ea typeface="+mn-ea"/>
                <a:cs typeface="+mn-cs"/>
              </a:rPr>
              <a:t>Enable Advanced </a:t>
            </a:r>
            <a:r>
              <a:rPr lang="en-US"/>
              <a:t>Data Security </a:t>
            </a:r>
            <a:r>
              <a:rPr lang="en-US" sz="900" b="0" i="0" u="none" strike="noStrike" kern="1200">
                <a:solidFill>
                  <a:schemeClr val="tx1"/>
                </a:solidFill>
                <a:effectLst/>
                <a:latin typeface="Segoe UI Light" pitchFamily="34" charset="0"/>
                <a:ea typeface="+mn-ea"/>
                <a:cs typeface="+mn-cs"/>
              </a:rPr>
              <a:t>on the server.</a:t>
            </a:r>
          </a:p>
          <a:p>
            <a:pPr lvl="1"/>
            <a:r>
              <a:rPr lang="en-US" sz="900" b="0" i="0" u="none" strike="noStrike" kern="1200">
                <a:solidFill>
                  <a:schemeClr val="tx1"/>
                </a:solidFill>
                <a:effectLst/>
                <a:latin typeface="Segoe UI Light" pitchFamily="34" charset="0"/>
                <a:ea typeface="+mn-ea"/>
                <a:cs typeface="+mn-cs"/>
              </a:rPr>
              <a:t>In </a:t>
            </a:r>
            <a:r>
              <a:rPr lang="en-US" sz="900" b="1" i="0" u="none" strike="noStrike" kern="1200">
                <a:solidFill>
                  <a:schemeClr val="tx1"/>
                </a:solidFill>
                <a:effectLst/>
                <a:latin typeface="Segoe UI Light" pitchFamily="34" charset="0"/>
                <a:ea typeface="+mn-ea"/>
                <a:cs typeface="+mn-cs"/>
              </a:rPr>
              <a:t>Threat Detection Settings</a:t>
            </a:r>
            <a:r>
              <a:rPr lang="en-US" sz="900" b="0" i="0" u="none" strike="noStrike" kern="1200">
                <a:solidFill>
                  <a:schemeClr val="tx1"/>
                </a:solidFill>
                <a:effectLst/>
                <a:latin typeface="Segoe UI Light" pitchFamily="34" charset="0"/>
                <a:ea typeface="+mn-ea"/>
                <a:cs typeface="+mn-cs"/>
              </a:rPr>
              <a:t>, in the </a:t>
            </a:r>
            <a:r>
              <a:rPr lang="en-US" sz="900" b="1" i="0" u="none" strike="noStrike" kern="1200">
                <a:solidFill>
                  <a:schemeClr val="tx1"/>
                </a:solidFill>
                <a:effectLst/>
                <a:latin typeface="Segoe UI Light" pitchFamily="34" charset="0"/>
                <a:ea typeface="+mn-ea"/>
                <a:cs typeface="+mn-cs"/>
              </a:rPr>
              <a:t>Send alerts to</a:t>
            </a:r>
            <a:r>
              <a:rPr lang="en-US" sz="900" b="0" i="0" u="none" strike="noStrike" kern="1200">
                <a:solidFill>
                  <a:schemeClr val="tx1"/>
                </a:solidFill>
                <a:effectLst/>
                <a:latin typeface="Segoe UI Light" pitchFamily="34" charset="0"/>
                <a:ea typeface="+mn-ea"/>
                <a:cs typeface="+mn-cs"/>
              </a:rPr>
              <a:t> text box, provide the list of emails to receive security alerts upon detection of anomalous database activities.</a:t>
            </a:r>
          </a:p>
          <a:p>
            <a:endParaRPr lang="en-US"/>
          </a:p>
          <a:p>
            <a:r>
              <a:rPr lang="en-US" sz="900" b="1" i="0" u="none" strike="noStrike" kern="1200">
                <a:solidFill>
                  <a:schemeClr val="tx1"/>
                </a:solidFill>
                <a:effectLst/>
                <a:latin typeface="Segoe UI Light" pitchFamily="34" charset="0"/>
                <a:ea typeface="+mn-ea"/>
                <a:cs typeface="+mn-cs"/>
              </a:rPr>
              <a:t>Explore anomalous database activities upon detection of a suspicious event</a:t>
            </a:r>
          </a:p>
          <a:p>
            <a:r>
              <a:rPr lang="en-US" sz="900" b="0" i="0" u="none" strike="noStrike" kern="1200">
                <a:solidFill>
                  <a:schemeClr val="tx1"/>
                </a:solidFill>
                <a:effectLst/>
                <a:latin typeface="Segoe UI Light" pitchFamily="34" charset="0"/>
                <a:ea typeface="+mn-ea"/>
                <a:cs typeface="+mn-cs"/>
              </a:rPr>
              <a:t>You receive an email notification upon detection of anomalous database activities. The email provides information on the suspicious security event including the nature of the anomalous activities, database name, server name, application name, and the event time. In addition, the email provides information on possible causes and recommended actions to investigate and mitigate the potential threat to the database.</a:t>
            </a:r>
          </a:p>
          <a:p>
            <a:endParaRPr lang="en-US"/>
          </a:p>
          <a:p>
            <a:r>
              <a:rPr lang="en-US" sz="900" b="1" i="0" u="none" strike="noStrike" kern="1200">
                <a:solidFill>
                  <a:schemeClr val="tx1"/>
                </a:solidFill>
                <a:effectLst/>
                <a:latin typeface="Segoe UI Light" pitchFamily="34" charset="0"/>
                <a:ea typeface="+mn-ea"/>
                <a:cs typeface="+mn-cs"/>
              </a:rPr>
              <a:t>Explore threat detection alerts for your database in the Azure portal</a:t>
            </a:r>
          </a:p>
          <a:p>
            <a:r>
              <a:rPr lang="en-US" sz="900" b="0" i="0" u="none" strike="noStrike" kern="1200">
                <a:solidFill>
                  <a:schemeClr val="tx1"/>
                </a:solidFill>
                <a:effectLst/>
                <a:latin typeface="Segoe UI Light" pitchFamily="34" charset="0"/>
                <a:ea typeface="+mn-ea"/>
                <a:cs typeface="+mn-cs"/>
              </a:rPr>
              <a:t>SQL Database Threat Detection integrates its alerts with </a:t>
            </a:r>
            <a:r>
              <a:rPr lang="en-US" sz="900" b="0" i="0" u="sng" strike="noStrike" kern="1200">
                <a:solidFill>
                  <a:schemeClr val="tx1"/>
                </a:solidFill>
                <a:effectLst/>
                <a:latin typeface="Segoe UI Light" pitchFamily="34" charset="0"/>
                <a:ea typeface="+mn-ea"/>
                <a:cs typeface="+mn-cs"/>
                <a:hlinkClick r:id="rId4"/>
              </a:rPr>
              <a:t>Azure Security Center</a:t>
            </a:r>
            <a:r>
              <a:rPr lang="en-US" sz="900" b="0" i="0" u="none" strike="noStrike" kern="1200">
                <a:solidFill>
                  <a:schemeClr val="tx1"/>
                </a:solidFill>
                <a:effectLst/>
                <a:latin typeface="Segoe UI Light" pitchFamily="34" charset="0"/>
                <a:ea typeface="+mn-ea"/>
                <a:cs typeface="+mn-cs"/>
              </a:rPr>
              <a:t>. A live SQL threat detection tile within the database in the Azure portal tracks the status of active threats.</a:t>
            </a:r>
          </a:p>
          <a:p>
            <a:r>
              <a:rPr lang="en-US" sz="900" b="0" i="0" u="none" strike="noStrike" kern="1200">
                <a:solidFill>
                  <a:schemeClr val="tx1"/>
                </a:solidFill>
                <a:effectLst/>
                <a:latin typeface="Segoe UI Light" pitchFamily="34" charset="0"/>
                <a:ea typeface="+mn-ea"/>
                <a:cs typeface="+mn-cs"/>
              </a:rPr>
              <a:t>Click </a:t>
            </a:r>
            <a:r>
              <a:rPr lang="en-US" sz="900" b="1" i="0" u="none" strike="noStrike" kern="1200">
                <a:solidFill>
                  <a:schemeClr val="tx1"/>
                </a:solidFill>
                <a:effectLst/>
                <a:latin typeface="Segoe UI Light" pitchFamily="34" charset="0"/>
                <a:ea typeface="+mn-ea"/>
                <a:cs typeface="+mn-cs"/>
              </a:rPr>
              <a:t>Threat detection alert</a:t>
            </a:r>
            <a:r>
              <a:rPr lang="en-US" sz="900" b="0" i="0" u="none" strike="noStrike" kern="1200">
                <a:solidFill>
                  <a:schemeClr val="tx1"/>
                </a:solidFill>
                <a:effectLst/>
                <a:latin typeface="Segoe UI Light" pitchFamily="34" charset="0"/>
                <a:ea typeface="+mn-ea"/>
                <a:cs typeface="+mn-cs"/>
              </a:rPr>
              <a:t> to launch the Azure Security Center alerts page and get an overview of active SQL threats detected on the database.</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5</a:t>
            </a:fld>
            <a:endParaRPr lang="en-US" noProof="0"/>
          </a:p>
        </p:txBody>
      </p:sp>
    </p:spTree>
    <p:extLst>
      <p:ext uri="{BB962C8B-B14F-4D97-AF65-F5344CB8AC3E}">
        <p14:creationId xmlns:p14="http://schemas.microsoft.com/office/powerpoint/2010/main" val="31869019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a:t>Listed on the slide are the common threats that are detected by Azure SQL Database which can be used to alert administrators of potential attacks.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6</a:t>
            </a:fld>
            <a:endParaRPr lang="en-US" noProof="0"/>
          </a:p>
        </p:txBody>
      </p:sp>
    </p:spTree>
    <p:extLst>
      <p:ext uri="{BB962C8B-B14F-4D97-AF65-F5344CB8AC3E}">
        <p14:creationId xmlns:p14="http://schemas.microsoft.com/office/powerpoint/2010/main" val="37976714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10Demo01</a:t>
            </a:r>
          </a:p>
          <a:p>
            <a:endParaRPr lang="en-US" b="1"/>
          </a:p>
          <a:p>
            <a:r>
              <a:rPr lang="en-US" b="1"/>
              <a:t>Demo Requirements</a:t>
            </a:r>
          </a:p>
          <a:p>
            <a:pPr marL="171450" indent="-171450">
              <a:buFontTx/>
              <a:buChar char="-"/>
            </a:pPr>
            <a:r>
              <a:rPr lang="en-US" b="0"/>
              <a:t>The Logical server that has been created in Module 1</a:t>
            </a:r>
          </a:p>
          <a:p>
            <a:pPr marL="0" indent="0">
              <a:buFontTx/>
              <a:buNone/>
            </a:pPr>
            <a:endParaRPr lang="en-US" b="0"/>
          </a:p>
          <a:p>
            <a:r>
              <a:rPr lang="en-US" b="1"/>
              <a:t>Steps:</a:t>
            </a:r>
            <a:endParaRPr lang="en-US" b="0"/>
          </a:p>
          <a:p>
            <a:pPr marL="228600" indent="-228600">
              <a:buAutoNum type="arabicPeriod"/>
            </a:pPr>
            <a:r>
              <a:rPr lang="en-US" b="0"/>
              <a:t>Open the Azure Portal and open the logical server</a:t>
            </a:r>
          </a:p>
          <a:p>
            <a:pPr marL="228600" indent="-228600">
              <a:buAutoNum type="arabicPeriod"/>
            </a:pPr>
            <a:r>
              <a:rPr lang="en-US" b="0"/>
              <a:t>Click Advanced Data Security</a:t>
            </a:r>
          </a:p>
          <a:p>
            <a:pPr marL="228600" indent="-228600">
              <a:buAutoNum type="arabicPeriod"/>
            </a:pPr>
            <a:r>
              <a:rPr lang="en-US" b="0"/>
              <a:t>Enable </a:t>
            </a:r>
            <a:r>
              <a:rPr lang="en-US"/>
              <a:t>Advanced Data Security</a:t>
            </a:r>
            <a:endParaRPr lang="en-US" b="0"/>
          </a:p>
          <a:p>
            <a:pPr marL="228600" indent="-228600">
              <a:buAutoNum type="arabicPeriod"/>
            </a:pPr>
            <a:r>
              <a:rPr lang="en-US" b="0"/>
              <a:t>Select Threat Detection Types </a:t>
            </a:r>
          </a:p>
          <a:p>
            <a:pPr marL="228600" indent="-228600">
              <a:buAutoNum type="arabicPeriod"/>
            </a:pPr>
            <a:endParaRPr lang="en-US" b="0"/>
          </a:p>
          <a:p>
            <a:pPr marL="228600" indent="-228600">
              <a:buAutoNum type="arabicPeriod"/>
            </a:pPr>
            <a:endParaRPr lang="en-US" b="1"/>
          </a:p>
          <a:p>
            <a:pPr marL="0" indent="0">
              <a:buFont typeface="Arial" panose="020B0604020202020204" pitchFamily="34" charset="0"/>
              <a:buNone/>
            </a:pPr>
            <a:endParaRPr lang="en-US"/>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02942111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a:solidFill>
                  <a:schemeClr val="tx1"/>
                </a:solidFill>
                <a:effectLst/>
                <a:latin typeface="Segoe UI Light" pitchFamily="34" charset="0"/>
                <a:ea typeface="+mn-ea"/>
                <a:cs typeface="+mn-cs"/>
              </a:rPr>
              <a:t>Data Discovery &amp; Classification provides advanced capabilities built into Azure SQL Database for </a:t>
            </a:r>
            <a:r>
              <a:rPr lang="en-US" sz="900" b="1" i="0" u="none" strike="noStrike" kern="1200">
                <a:solidFill>
                  <a:schemeClr val="tx1"/>
                </a:solidFill>
                <a:effectLst/>
                <a:latin typeface="Segoe UI Light" pitchFamily="34" charset="0"/>
                <a:ea typeface="+mn-ea"/>
                <a:cs typeface="+mn-cs"/>
              </a:rPr>
              <a:t>discovering</a:t>
            </a:r>
            <a:r>
              <a:rPr lang="en-US" sz="900" b="0" i="0" u="none" strike="noStrike" kern="1200">
                <a:solidFill>
                  <a:schemeClr val="tx1"/>
                </a:solidFill>
                <a:effectLst/>
                <a:latin typeface="Segoe UI Light" pitchFamily="34" charset="0"/>
                <a:ea typeface="+mn-ea"/>
                <a:cs typeface="+mn-cs"/>
              </a:rPr>
              <a:t>, </a:t>
            </a:r>
            <a:r>
              <a:rPr lang="en-US" sz="900" b="1" i="0" u="none" strike="noStrike" kern="1200">
                <a:solidFill>
                  <a:schemeClr val="tx1"/>
                </a:solidFill>
                <a:effectLst/>
                <a:latin typeface="Segoe UI Light" pitchFamily="34" charset="0"/>
                <a:ea typeface="+mn-ea"/>
                <a:cs typeface="+mn-cs"/>
              </a:rPr>
              <a:t>classifying</a:t>
            </a:r>
            <a:r>
              <a:rPr lang="en-US" sz="900" b="0" i="0" u="none" strike="noStrike" kern="1200">
                <a:solidFill>
                  <a:schemeClr val="tx1"/>
                </a:solidFill>
                <a:effectLst/>
                <a:latin typeface="Segoe UI Light" pitchFamily="34" charset="0"/>
                <a:ea typeface="+mn-ea"/>
                <a:cs typeface="+mn-cs"/>
              </a:rPr>
              <a:t>, </a:t>
            </a:r>
            <a:r>
              <a:rPr lang="en-US" sz="900" b="1" i="0" u="none" strike="noStrike" kern="1200">
                <a:solidFill>
                  <a:schemeClr val="tx1"/>
                </a:solidFill>
                <a:effectLst/>
                <a:latin typeface="Segoe UI Light" pitchFamily="34" charset="0"/>
                <a:ea typeface="+mn-ea"/>
                <a:cs typeface="+mn-cs"/>
              </a:rPr>
              <a:t>labeling</a:t>
            </a:r>
            <a:r>
              <a:rPr lang="en-US" sz="900" b="0" i="0" u="none" strike="noStrike" kern="1200">
                <a:solidFill>
                  <a:schemeClr val="tx1"/>
                </a:solidFill>
                <a:effectLst/>
                <a:latin typeface="Segoe UI Light" pitchFamily="34" charset="0"/>
                <a:ea typeface="+mn-ea"/>
                <a:cs typeface="+mn-cs"/>
              </a:rPr>
              <a:t> &amp; </a:t>
            </a:r>
            <a:r>
              <a:rPr lang="en-US" sz="900" b="1" i="0" u="none" strike="noStrike" kern="1200">
                <a:solidFill>
                  <a:schemeClr val="tx1"/>
                </a:solidFill>
                <a:effectLst/>
                <a:latin typeface="Segoe UI Light" pitchFamily="34" charset="0"/>
                <a:ea typeface="+mn-ea"/>
                <a:cs typeface="+mn-cs"/>
              </a:rPr>
              <a:t>protecting</a:t>
            </a:r>
            <a:r>
              <a:rPr lang="en-US" sz="900" b="0" i="0" u="none" strike="noStrike" kern="1200">
                <a:solidFill>
                  <a:schemeClr val="tx1"/>
                </a:solidFill>
                <a:effectLst/>
                <a:latin typeface="Segoe UI Light" pitchFamily="34" charset="0"/>
                <a:ea typeface="+mn-ea"/>
                <a:cs typeface="+mn-cs"/>
              </a:rPr>
              <a:t> the sensitive data in your databases. Discovering and classifying your most sensitive data (business, financial, healthcare, etc.) can play a pivotal role in your organizational information protection stature. It can serve as infrastructure for:</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Helping meet data privacy standards and regulatory compliance requirements.</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Various security scenarios, such as monitoring (auditing) and alerting on anomalous access to sensitive data.</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Controlling access to and hardening the security of databases containing highly sensitive data.</a:t>
            </a:r>
          </a:p>
          <a:p>
            <a:r>
              <a:rPr lang="en-US" sz="900" b="0" i="0" u="none" strike="noStrike" kern="1200">
                <a:solidFill>
                  <a:schemeClr val="tx1"/>
                </a:solidFill>
                <a:effectLst/>
                <a:latin typeface="Segoe UI Light" pitchFamily="34" charset="0"/>
                <a:ea typeface="+mn-ea"/>
                <a:cs typeface="+mn-cs"/>
              </a:rPr>
              <a:t>Data Discovery &amp; Classification is part of the </a:t>
            </a:r>
            <a:r>
              <a:rPr lang="en-US" sz="900" u="sng">
                <a:solidFill>
                  <a:srgbClr val="00188F"/>
                </a:solidFill>
              </a:rPr>
              <a:t>Advanced</a:t>
            </a:r>
            <a:r>
              <a:rPr lang="en-US" sz="900" b="0" i="0" u="sng" strike="noStrike" kern="1200">
                <a:solidFill>
                  <a:srgbClr val="00188F"/>
                </a:solidFill>
                <a:effectLst/>
                <a:latin typeface="Segoe UI Light" pitchFamily="34" charset="0"/>
                <a:ea typeface="+mn-ea"/>
                <a:cs typeface="+mn-cs"/>
                <a:hlinkClick r:id="rId3">
                  <a:extLst>
                    <a:ext uri="{A12FA001-AC4F-418D-AE19-62706E023703}">
                      <ahyp:hlinkClr xmlns:ahyp="http://schemas.microsoft.com/office/drawing/2018/hyperlinkcolor" val="tx"/>
                    </a:ext>
                  </a:extLst>
                </a:hlinkClick>
              </a:rPr>
              <a:t> Data Security</a:t>
            </a:r>
            <a:r>
              <a:rPr lang="en-US" sz="900" b="0" i="0" u="none" strike="noStrike" kern="1200">
                <a:solidFill>
                  <a:srgbClr val="00188F"/>
                </a:solidFill>
                <a:effectLst/>
                <a:latin typeface="Segoe UI Light" pitchFamily="34" charset="0"/>
                <a:ea typeface="+mn-ea"/>
                <a:cs typeface="+mn-cs"/>
              </a:rPr>
              <a:t> </a:t>
            </a:r>
            <a:r>
              <a:rPr lang="en-US" sz="900" b="0" i="0" u="none" strike="noStrike" kern="1200">
                <a:solidFill>
                  <a:schemeClr val="tx1"/>
                </a:solidFill>
                <a:effectLst/>
                <a:latin typeface="Segoe UI Light" pitchFamily="34" charset="0"/>
                <a:ea typeface="+mn-ea"/>
                <a:cs typeface="+mn-cs"/>
              </a:rPr>
              <a:t>offering, which is a unified package for advanced SQL security capabilities. Data Discovery &amp; Classification can be accessed and managed via the central Azure portal.</a:t>
            </a:r>
          </a:p>
          <a:p>
            <a:r>
              <a:rPr lang="en-US" sz="900" b="1" i="0" u="none" strike="noStrike" kern="1200">
                <a:solidFill>
                  <a:schemeClr val="tx1"/>
                </a:solidFill>
                <a:effectLst/>
                <a:latin typeface="Segoe UI Light" pitchFamily="34" charset="0"/>
                <a:ea typeface="+mn-ea"/>
                <a:cs typeface="+mn-cs"/>
              </a:rPr>
              <a:t>	</a:t>
            </a:r>
          </a:p>
          <a:p>
            <a:endParaRPr lang="en-US" sz="900" b="1" i="0" u="none" strike="noStrike" kern="1200">
              <a:solidFill>
                <a:schemeClr val="tx1"/>
              </a:solidFill>
              <a:effectLst/>
              <a:latin typeface="Segoe UI Light" pitchFamily="34" charset="0"/>
              <a:ea typeface="+mn-ea"/>
              <a:cs typeface="+mn-cs"/>
            </a:endParaRPr>
          </a:p>
          <a:p>
            <a:r>
              <a:rPr lang="en-US" sz="900" b="1" i="0" u="none" strike="noStrike" kern="1200">
                <a:solidFill>
                  <a:schemeClr val="tx1"/>
                </a:solidFill>
                <a:effectLst/>
                <a:latin typeface="Segoe UI Light" pitchFamily="34" charset="0"/>
                <a:ea typeface="+mn-ea"/>
                <a:cs typeface="+mn-cs"/>
              </a:rPr>
              <a:t>Discovery &amp; recommendations</a:t>
            </a:r>
            <a:r>
              <a:rPr lang="en-US" sz="900" b="0" i="0" u="none" strike="noStrike" kern="1200">
                <a:solidFill>
                  <a:schemeClr val="tx1"/>
                </a:solidFill>
                <a:effectLst/>
                <a:latin typeface="Segoe UI Light" pitchFamily="34" charset="0"/>
                <a:ea typeface="+mn-ea"/>
                <a:cs typeface="+mn-cs"/>
              </a:rPr>
              <a:t> – The classification engine scans your database and identifies columns containing potentially sensitive data. It then provides you an easy way to review and apply the appropriate classification recommendations via the Azure portal.</a:t>
            </a:r>
          </a:p>
          <a:p>
            <a:r>
              <a:rPr lang="en-US" sz="900" b="1" i="0" u="none" strike="noStrike" kern="1200">
                <a:solidFill>
                  <a:schemeClr val="tx1"/>
                </a:solidFill>
                <a:effectLst/>
                <a:latin typeface="Segoe UI Light" pitchFamily="34" charset="0"/>
                <a:ea typeface="+mn-ea"/>
                <a:cs typeface="+mn-cs"/>
              </a:rPr>
              <a:t>Labeling</a:t>
            </a:r>
            <a:r>
              <a:rPr lang="en-US" sz="900" b="0" i="0" u="none" strike="noStrike" kern="1200">
                <a:solidFill>
                  <a:schemeClr val="tx1"/>
                </a:solidFill>
                <a:effectLst/>
                <a:latin typeface="Segoe UI Light" pitchFamily="34" charset="0"/>
                <a:ea typeface="+mn-ea"/>
                <a:cs typeface="+mn-cs"/>
              </a:rPr>
              <a:t> – Sensitivity classification labels can be persistently tagged on columns using new classification metadata attributes introduced into the SQL Engine. This metadata can then be utilized for advanced sensitivity-based auditing and protection scenarios.</a:t>
            </a:r>
          </a:p>
          <a:p>
            <a:r>
              <a:rPr lang="en-US" sz="900" b="1" i="0" u="none" strike="noStrike" kern="1200">
                <a:solidFill>
                  <a:schemeClr val="tx1"/>
                </a:solidFill>
                <a:effectLst/>
                <a:latin typeface="Segoe UI Light" pitchFamily="34" charset="0"/>
                <a:ea typeface="+mn-ea"/>
                <a:cs typeface="+mn-cs"/>
              </a:rPr>
              <a:t>Query result set sensitivity</a:t>
            </a:r>
            <a:r>
              <a:rPr lang="en-US" sz="900" b="0" i="0" u="none" strike="noStrike" kern="1200">
                <a:solidFill>
                  <a:schemeClr val="tx1"/>
                </a:solidFill>
                <a:effectLst/>
                <a:latin typeface="Segoe UI Light" pitchFamily="34" charset="0"/>
                <a:ea typeface="+mn-ea"/>
                <a:cs typeface="+mn-cs"/>
              </a:rPr>
              <a:t> – The sensitivity of query result set is calculated in real time for auditing purposes.</a:t>
            </a:r>
          </a:p>
          <a:p>
            <a:r>
              <a:rPr lang="en-US" sz="900" b="1" i="0" u="none" strike="noStrike" kern="1200">
                <a:solidFill>
                  <a:schemeClr val="tx1"/>
                </a:solidFill>
                <a:effectLst/>
                <a:latin typeface="Segoe UI Light" pitchFamily="34" charset="0"/>
                <a:ea typeface="+mn-ea"/>
                <a:cs typeface="+mn-cs"/>
              </a:rPr>
              <a:t>Visibility</a:t>
            </a:r>
            <a:r>
              <a:rPr lang="en-US" sz="900" b="0" i="0" u="none" strike="noStrike" kern="1200">
                <a:solidFill>
                  <a:schemeClr val="tx1"/>
                </a:solidFill>
                <a:effectLst/>
                <a:latin typeface="Segoe UI Light" pitchFamily="34" charset="0"/>
                <a:ea typeface="+mn-ea"/>
                <a:cs typeface="+mn-cs"/>
              </a:rPr>
              <a:t> - The database classification state can be viewed in a detailed dashboard in the portal. Additionally, you can download a report (in Excel format) to be used for compliance &amp; auditing purposes, as well as other needs.</a:t>
            </a:r>
          </a:p>
          <a:p>
            <a:endParaRPr lang="en-US" sz="90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8</a:t>
            </a:fld>
            <a:endParaRPr lang="en-US" noProof="0"/>
          </a:p>
        </p:txBody>
      </p:sp>
    </p:spTree>
    <p:extLst>
      <p:ext uri="{BB962C8B-B14F-4D97-AF65-F5344CB8AC3E}">
        <p14:creationId xmlns:p14="http://schemas.microsoft.com/office/powerpoint/2010/main" val="281153780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u="none" strike="noStrike" kern="1200">
                <a:solidFill>
                  <a:schemeClr val="tx1"/>
                </a:solidFill>
                <a:effectLst/>
                <a:latin typeface="Segoe UI Light" pitchFamily="34" charset="0"/>
                <a:ea typeface="+mn-ea"/>
                <a:cs typeface="+mn-cs"/>
              </a:rPr>
              <a:t>Data Discovery &amp; Classification provides advanced capabilities built into Azure SQL Database for </a:t>
            </a:r>
            <a:r>
              <a:rPr lang="en-US" sz="900" b="1" i="0" u="none" strike="noStrike" kern="1200">
                <a:solidFill>
                  <a:schemeClr val="tx1"/>
                </a:solidFill>
                <a:effectLst/>
                <a:latin typeface="Segoe UI Light" pitchFamily="34" charset="0"/>
                <a:ea typeface="+mn-ea"/>
                <a:cs typeface="+mn-cs"/>
              </a:rPr>
              <a:t>discovering</a:t>
            </a:r>
            <a:r>
              <a:rPr lang="en-US" sz="900" b="0" i="0" u="none" strike="noStrike" kern="1200">
                <a:solidFill>
                  <a:schemeClr val="tx1"/>
                </a:solidFill>
                <a:effectLst/>
                <a:latin typeface="Segoe UI Light" pitchFamily="34" charset="0"/>
                <a:ea typeface="+mn-ea"/>
                <a:cs typeface="+mn-cs"/>
              </a:rPr>
              <a:t>, </a:t>
            </a:r>
            <a:r>
              <a:rPr lang="en-US" sz="900" b="1" i="0" u="none" strike="noStrike" kern="1200">
                <a:solidFill>
                  <a:schemeClr val="tx1"/>
                </a:solidFill>
                <a:effectLst/>
                <a:latin typeface="Segoe UI Light" pitchFamily="34" charset="0"/>
                <a:ea typeface="+mn-ea"/>
                <a:cs typeface="+mn-cs"/>
              </a:rPr>
              <a:t>classifying</a:t>
            </a:r>
            <a:r>
              <a:rPr lang="en-US" sz="900" b="0" i="0" u="none" strike="noStrike" kern="1200">
                <a:solidFill>
                  <a:schemeClr val="tx1"/>
                </a:solidFill>
                <a:effectLst/>
                <a:latin typeface="Segoe UI Light" pitchFamily="34" charset="0"/>
                <a:ea typeface="+mn-ea"/>
                <a:cs typeface="+mn-cs"/>
              </a:rPr>
              <a:t>, </a:t>
            </a:r>
            <a:r>
              <a:rPr lang="en-US" sz="900" b="1" i="0" u="none" strike="noStrike" kern="1200">
                <a:solidFill>
                  <a:schemeClr val="tx1"/>
                </a:solidFill>
                <a:effectLst/>
                <a:latin typeface="Segoe UI Light" pitchFamily="34" charset="0"/>
                <a:ea typeface="+mn-ea"/>
                <a:cs typeface="+mn-cs"/>
              </a:rPr>
              <a:t>labeling</a:t>
            </a:r>
            <a:r>
              <a:rPr lang="en-US" sz="900" b="0" i="0" u="none" strike="noStrike" kern="1200">
                <a:solidFill>
                  <a:schemeClr val="tx1"/>
                </a:solidFill>
                <a:effectLst/>
                <a:latin typeface="Segoe UI Light" pitchFamily="34" charset="0"/>
                <a:ea typeface="+mn-ea"/>
                <a:cs typeface="+mn-cs"/>
              </a:rPr>
              <a:t> &amp; </a:t>
            </a:r>
            <a:r>
              <a:rPr lang="en-US" sz="900" b="1" i="0" u="none" strike="noStrike" kern="1200">
                <a:solidFill>
                  <a:schemeClr val="tx1"/>
                </a:solidFill>
                <a:effectLst/>
                <a:latin typeface="Segoe UI Light" pitchFamily="34" charset="0"/>
                <a:ea typeface="+mn-ea"/>
                <a:cs typeface="+mn-cs"/>
              </a:rPr>
              <a:t>protecting</a:t>
            </a:r>
            <a:r>
              <a:rPr lang="en-US" sz="900" b="0" i="0" u="none" strike="noStrike" kern="1200">
                <a:solidFill>
                  <a:schemeClr val="tx1"/>
                </a:solidFill>
                <a:effectLst/>
                <a:latin typeface="Segoe UI Light" pitchFamily="34" charset="0"/>
                <a:ea typeface="+mn-ea"/>
                <a:cs typeface="+mn-cs"/>
              </a:rPr>
              <a:t> the sensitive data in your databases. Discovering and classifying your most sensitive data (business, financial, healthcare, etc.) can play a pivotal role in your organizational information protection stature. It can serve as infrastructure for:</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Helping meet data privacy standards and regulatory compliance requirements.</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Various security scenarios, such as monitoring (auditing) and alerting on anomalous access to sensitive data.</a:t>
            </a:r>
          </a:p>
          <a:p>
            <a:pPr marL="171450" indent="-171450">
              <a:buFont typeface="Arial" panose="020B0604020202020204" pitchFamily="34" charset="0"/>
              <a:buChar char="•"/>
            </a:pPr>
            <a:r>
              <a:rPr lang="en-US" sz="900" b="0" i="0" u="none" strike="noStrike" kern="1200">
                <a:solidFill>
                  <a:schemeClr val="tx1"/>
                </a:solidFill>
                <a:effectLst/>
                <a:latin typeface="Segoe UI Light" pitchFamily="34" charset="0"/>
                <a:ea typeface="+mn-ea"/>
                <a:cs typeface="+mn-cs"/>
              </a:rPr>
              <a:t>Controlling access to and hardening the security of databases containing highly sensitive data.</a:t>
            </a:r>
          </a:p>
          <a:p>
            <a:r>
              <a:rPr lang="en-US" sz="900" b="0" i="0" u="none" strike="noStrike" kern="1200">
                <a:solidFill>
                  <a:schemeClr val="tx1"/>
                </a:solidFill>
                <a:effectLst/>
                <a:latin typeface="Segoe UI Light" pitchFamily="34" charset="0"/>
                <a:ea typeface="+mn-ea"/>
                <a:cs typeface="+mn-cs"/>
              </a:rPr>
              <a:t>Data Discovery &amp; Classification is part of the </a:t>
            </a:r>
            <a:r>
              <a:rPr lang="en-US" sz="900" u="sng">
                <a:solidFill>
                  <a:srgbClr val="00188F"/>
                </a:solidFill>
              </a:rPr>
              <a:t>Advanced</a:t>
            </a:r>
            <a:r>
              <a:rPr lang="en-US" sz="900" b="0" i="0" u="sng" strike="noStrike" kern="1200">
                <a:solidFill>
                  <a:srgbClr val="00188F"/>
                </a:solidFill>
                <a:effectLst/>
                <a:latin typeface="Segoe UI Light" pitchFamily="34" charset="0"/>
                <a:ea typeface="+mn-ea"/>
                <a:cs typeface="+mn-cs"/>
                <a:hlinkClick r:id="rId3">
                  <a:extLst>
                    <a:ext uri="{A12FA001-AC4F-418D-AE19-62706E023703}">
                      <ahyp:hlinkClr xmlns:ahyp="http://schemas.microsoft.com/office/drawing/2018/hyperlinkcolor" val="tx"/>
                    </a:ext>
                  </a:extLst>
                </a:hlinkClick>
              </a:rPr>
              <a:t> Data Security</a:t>
            </a:r>
            <a:r>
              <a:rPr lang="en-US" sz="900" b="0" i="0" u="none" strike="noStrike" kern="1200">
                <a:solidFill>
                  <a:srgbClr val="00188F"/>
                </a:solidFill>
                <a:effectLst/>
                <a:latin typeface="Segoe UI Light" pitchFamily="34" charset="0"/>
                <a:ea typeface="+mn-ea"/>
                <a:cs typeface="+mn-cs"/>
              </a:rPr>
              <a:t> </a:t>
            </a:r>
            <a:r>
              <a:rPr lang="en-US" sz="900" b="0" i="0" u="none" strike="noStrike" kern="1200">
                <a:solidFill>
                  <a:schemeClr val="tx1"/>
                </a:solidFill>
                <a:effectLst/>
                <a:latin typeface="Segoe UI Light" pitchFamily="34" charset="0"/>
                <a:ea typeface="+mn-ea"/>
                <a:cs typeface="+mn-cs"/>
              </a:rPr>
              <a:t>offering, which is a unified package for advanced SQL security capabilities. Data Discovery &amp; Classification can be accessed and managed via the central Azure portal.</a:t>
            </a:r>
          </a:p>
          <a:p>
            <a:r>
              <a:rPr lang="en-US" sz="900" b="1" i="0" u="none" strike="noStrike" kern="1200">
                <a:solidFill>
                  <a:schemeClr val="tx1"/>
                </a:solidFill>
                <a:effectLst/>
                <a:latin typeface="Segoe UI Light" pitchFamily="34" charset="0"/>
                <a:ea typeface="+mn-ea"/>
                <a:cs typeface="+mn-cs"/>
              </a:rPr>
              <a:t>	</a:t>
            </a:r>
          </a:p>
          <a:p>
            <a:endParaRPr lang="en-US" sz="900" b="1" i="0" u="none" strike="noStrike" kern="1200">
              <a:solidFill>
                <a:schemeClr val="tx1"/>
              </a:solidFill>
              <a:effectLst/>
              <a:latin typeface="Segoe UI Light" pitchFamily="34" charset="0"/>
              <a:ea typeface="+mn-ea"/>
              <a:cs typeface="+mn-cs"/>
            </a:endParaRPr>
          </a:p>
          <a:p>
            <a:r>
              <a:rPr lang="en-US" sz="900" b="1" i="0" u="none" strike="noStrike" kern="1200">
                <a:solidFill>
                  <a:schemeClr val="tx1"/>
                </a:solidFill>
                <a:effectLst/>
                <a:latin typeface="Segoe UI Light" pitchFamily="34" charset="0"/>
                <a:ea typeface="+mn-ea"/>
                <a:cs typeface="+mn-cs"/>
              </a:rPr>
              <a:t>Discovery &amp; recommendations</a:t>
            </a:r>
            <a:r>
              <a:rPr lang="en-US" sz="900" b="0" i="0" u="none" strike="noStrike" kern="1200">
                <a:solidFill>
                  <a:schemeClr val="tx1"/>
                </a:solidFill>
                <a:effectLst/>
                <a:latin typeface="Segoe UI Light" pitchFamily="34" charset="0"/>
                <a:ea typeface="+mn-ea"/>
                <a:cs typeface="+mn-cs"/>
              </a:rPr>
              <a:t> – The classification engine scans your database and identifies columns containing potentially sensitive data. It then provides you an easy way to review and apply the appropriate classification recommendations via the Azure portal.</a:t>
            </a:r>
          </a:p>
          <a:p>
            <a:r>
              <a:rPr lang="en-US" sz="900" b="1" i="0" u="none" strike="noStrike" kern="1200">
                <a:solidFill>
                  <a:schemeClr val="tx1"/>
                </a:solidFill>
                <a:effectLst/>
                <a:latin typeface="Segoe UI Light" pitchFamily="34" charset="0"/>
                <a:ea typeface="+mn-ea"/>
                <a:cs typeface="+mn-cs"/>
              </a:rPr>
              <a:t>Labeling</a:t>
            </a:r>
            <a:r>
              <a:rPr lang="en-US" sz="900" b="0" i="0" u="none" strike="noStrike" kern="1200">
                <a:solidFill>
                  <a:schemeClr val="tx1"/>
                </a:solidFill>
                <a:effectLst/>
                <a:latin typeface="Segoe UI Light" pitchFamily="34" charset="0"/>
                <a:ea typeface="+mn-ea"/>
                <a:cs typeface="+mn-cs"/>
              </a:rPr>
              <a:t> – Sensitivity classification labels can be persistently tagged on columns using new classification metadata attributes introduced into the SQL Engine. This metadata can then be utilized for advanced sensitivity-based auditing and protection scenarios.</a:t>
            </a:r>
          </a:p>
          <a:p>
            <a:r>
              <a:rPr lang="en-US" sz="900" b="1" i="0" u="none" strike="noStrike" kern="1200">
                <a:solidFill>
                  <a:schemeClr val="tx1"/>
                </a:solidFill>
                <a:effectLst/>
                <a:latin typeface="Segoe UI Light" pitchFamily="34" charset="0"/>
                <a:ea typeface="+mn-ea"/>
                <a:cs typeface="+mn-cs"/>
              </a:rPr>
              <a:t>Query result set sensitivity</a:t>
            </a:r>
            <a:r>
              <a:rPr lang="en-US" sz="900" b="0" i="0" u="none" strike="noStrike" kern="1200">
                <a:solidFill>
                  <a:schemeClr val="tx1"/>
                </a:solidFill>
                <a:effectLst/>
                <a:latin typeface="Segoe UI Light" pitchFamily="34" charset="0"/>
                <a:ea typeface="+mn-ea"/>
                <a:cs typeface="+mn-cs"/>
              </a:rPr>
              <a:t> – The sensitivity of query result set is calculated in real time for auditing purposes.</a:t>
            </a:r>
          </a:p>
          <a:p>
            <a:r>
              <a:rPr lang="en-US" sz="900" b="1" i="0" u="none" strike="noStrike" kern="1200">
                <a:solidFill>
                  <a:schemeClr val="tx1"/>
                </a:solidFill>
                <a:effectLst/>
                <a:latin typeface="Segoe UI Light" pitchFamily="34" charset="0"/>
                <a:ea typeface="+mn-ea"/>
                <a:cs typeface="+mn-cs"/>
              </a:rPr>
              <a:t>Visibility</a:t>
            </a:r>
            <a:r>
              <a:rPr lang="en-US" sz="900" b="0" i="0" u="none" strike="noStrike" kern="1200">
                <a:solidFill>
                  <a:schemeClr val="tx1"/>
                </a:solidFill>
                <a:effectLst/>
                <a:latin typeface="Segoe UI Light" pitchFamily="34" charset="0"/>
                <a:ea typeface="+mn-ea"/>
                <a:cs typeface="+mn-cs"/>
              </a:rPr>
              <a:t> - The database classification state can be viewed in a detailed dashboard in the portal. Additionally, you can download a report (in Excel format) to be used for compliance &amp; auditing purposes, as well as other needs.</a:t>
            </a:r>
          </a:p>
          <a:p>
            <a:r>
              <a:rPr lang="en-US" sz="900" b="1"/>
              <a:t>Auditing access to sensitive data</a:t>
            </a:r>
          </a:p>
          <a:p>
            <a:r>
              <a:rPr lang="en-US" sz="900"/>
              <a:t>An important aspect of the information protection paradigm is the ability to monitor access to sensitive data. Azure SQL Database Auditing has been enhanced to include a new field in the audit log called </a:t>
            </a:r>
            <a:r>
              <a:rPr lang="en-US" sz="900" err="1"/>
              <a:t>data_sensitivity_information</a:t>
            </a:r>
            <a:r>
              <a:rPr lang="en-US" sz="900"/>
              <a:t>, which logs the sensitivity classifications (labels) of the actual data that was returned by the query</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9</a:t>
            </a:fld>
            <a:endParaRPr lang="en-US" noProof="0"/>
          </a:p>
        </p:txBody>
      </p:sp>
    </p:spTree>
    <p:extLst>
      <p:ext uri="{BB962C8B-B14F-4D97-AF65-F5344CB8AC3E}">
        <p14:creationId xmlns:p14="http://schemas.microsoft.com/office/powerpoint/2010/main" val="7853619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1800">
                <a:solidFill>
                  <a:srgbClr val="000000"/>
                </a:solidFill>
                <a:latin typeface="Consolas" panose="020B0609020204030204" pitchFamily="49" charset="0"/>
              </a:rPr>
              <a:t>M04L10Demo02</a:t>
            </a:r>
          </a:p>
          <a:p>
            <a:endParaRPr lang="en-US" sz="800" b="1" i="0" u="none" strike="noStrike" kern="1200">
              <a:solidFill>
                <a:schemeClr val="tx1"/>
              </a:solidFill>
              <a:effectLst/>
              <a:latin typeface="Segoe UI Light" pitchFamily="34" charset="0"/>
              <a:ea typeface="+mn-ea"/>
              <a:cs typeface="+mn-cs"/>
            </a:endParaRPr>
          </a:p>
          <a:p>
            <a:r>
              <a:rPr lang="en-US" sz="800" b="1" i="0" u="none" strike="noStrike" kern="1200">
                <a:solidFill>
                  <a:schemeClr val="tx1"/>
                </a:solidFill>
                <a:effectLst/>
                <a:latin typeface="Segoe UI Light" pitchFamily="34" charset="0"/>
                <a:ea typeface="+mn-ea"/>
                <a:cs typeface="+mn-cs"/>
              </a:rPr>
              <a:t>Demo Requirements</a:t>
            </a:r>
            <a:endParaRPr lang="en-US" sz="800" b="0" i="0" u="none" strike="noStrike" kern="1200">
              <a:solidFill>
                <a:schemeClr val="tx1"/>
              </a:solidFill>
              <a:effectLst/>
              <a:latin typeface="Segoe UI Light" pitchFamily="34" charset="0"/>
              <a:ea typeface="+mn-ea"/>
              <a:cs typeface="+mn-cs"/>
            </a:endParaRPr>
          </a:p>
          <a:p>
            <a:pPr marL="171450" indent="-171450">
              <a:buFontTx/>
              <a:buChar char="-"/>
            </a:pPr>
            <a:r>
              <a:rPr lang="en-US" sz="800" b="0" i="0" u="none" strike="noStrike" kern="1200" err="1">
                <a:solidFill>
                  <a:schemeClr val="tx1"/>
                </a:solidFill>
                <a:effectLst/>
                <a:latin typeface="Segoe UI Light" pitchFamily="34" charset="0"/>
                <a:ea typeface="+mn-ea"/>
                <a:cs typeface="+mn-cs"/>
              </a:rPr>
              <a:t>Salesdb</a:t>
            </a:r>
            <a:r>
              <a:rPr lang="en-US" sz="800" b="0" i="0" u="none" strike="noStrike" kern="1200">
                <a:solidFill>
                  <a:schemeClr val="tx1"/>
                </a:solidFill>
                <a:effectLst/>
                <a:latin typeface="Segoe UI Light" pitchFamily="34" charset="0"/>
                <a:ea typeface="+mn-ea"/>
                <a:cs typeface="+mn-cs"/>
              </a:rPr>
              <a:t> that has been created in Module 1</a:t>
            </a:r>
          </a:p>
          <a:p>
            <a:pPr marL="171450" indent="-171450">
              <a:buFontTx/>
              <a:buChar char="-"/>
            </a:pPr>
            <a:endParaRPr lang="en-US" sz="800" b="0" i="0" u="none" strike="noStrike" kern="1200">
              <a:solidFill>
                <a:schemeClr val="tx1"/>
              </a:solidFill>
              <a:effectLst/>
              <a:latin typeface="Segoe UI Light" pitchFamily="34" charset="0"/>
              <a:ea typeface="+mn-ea"/>
              <a:cs typeface="+mn-cs"/>
            </a:endParaRPr>
          </a:p>
          <a:p>
            <a:pPr marL="0" indent="0">
              <a:buFontTx/>
              <a:buNone/>
            </a:pPr>
            <a:r>
              <a:rPr lang="en-US" sz="800" b="1" i="0" u="none" strike="noStrike" kern="1200">
                <a:solidFill>
                  <a:schemeClr val="tx1"/>
                </a:solidFill>
                <a:effectLst/>
                <a:latin typeface="Segoe UI Light" pitchFamily="34" charset="0"/>
                <a:ea typeface="+mn-ea"/>
                <a:cs typeface="+mn-cs"/>
              </a:rPr>
              <a:t>Remark</a:t>
            </a:r>
          </a:p>
          <a:p>
            <a:pPr marL="0" indent="0">
              <a:buFontTx/>
              <a:buNone/>
            </a:pPr>
            <a:r>
              <a:rPr lang="nl-BE" sz="800" kern="1200">
                <a:solidFill>
                  <a:schemeClr val="tx1"/>
                </a:solidFill>
                <a:effectLst/>
                <a:latin typeface="Segoe UI Light" pitchFamily="34" charset="0"/>
                <a:ea typeface="+mn-ea"/>
                <a:cs typeface="+mn-cs"/>
              </a:rPr>
              <a:t>Phone# will return an error, probably because of the #-symbol in the name of the column</a:t>
            </a:r>
            <a:endParaRPr lang="en-US" sz="800" b="1" i="0" u="none" strike="noStrike" kern="1200">
              <a:solidFill>
                <a:schemeClr val="tx1"/>
              </a:solidFill>
              <a:effectLst/>
              <a:latin typeface="Segoe UI Light" pitchFamily="34" charset="0"/>
              <a:ea typeface="+mn-ea"/>
              <a:cs typeface="+mn-cs"/>
            </a:endParaRPr>
          </a:p>
          <a:p>
            <a:pPr marL="0" indent="0">
              <a:buFontTx/>
              <a:buNone/>
            </a:pPr>
            <a:endParaRPr lang="en-US" sz="800" b="0" i="0" u="none" strike="noStrike" kern="1200">
              <a:solidFill>
                <a:schemeClr val="tx1"/>
              </a:solidFill>
              <a:effectLst/>
              <a:latin typeface="Segoe UI Light" pitchFamily="34" charset="0"/>
              <a:ea typeface="+mn-ea"/>
              <a:cs typeface="+mn-cs"/>
            </a:endParaRPr>
          </a:p>
          <a:p>
            <a:pPr marL="0" indent="0">
              <a:buFontTx/>
              <a:buNone/>
            </a:pPr>
            <a:r>
              <a:rPr lang="en-US" sz="800" b="1" i="0" u="none" strike="noStrike" kern="1200">
                <a:solidFill>
                  <a:schemeClr val="tx1"/>
                </a:solidFill>
                <a:effectLst/>
                <a:latin typeface="Segoe UI Light" pitchFamily="34" charset="0"/>
                <a:ea typeface="+mn-ea"/>
                <a:cs typeface="+mn-cs"/>
              </a:rPr>
              <a:t>Steps</a:t>
            </a:r>
          </a:p>
          <a:p>
            <a:endParaRPr lang="en-US" sz="800" b="0" i="0" u="none" strike="noStrike" kern="1200">
              <a:solidFill>
                <a:schemeClr val="tx1"/>
              </a:solidFill>
              <a:effectLst/>
              <a:latin typeface="Segoe UI Light" pitchFamily="34" charset="0"/>
              <a:ea typeface="+mn-ea"/>
              <a:cs typeface="+mn-cs"/>
            </a:endParaRPr>
          </a:p>
          <a:p>
            <a:r>
              <a:rPr lang="en-US" sz="800" b="0" i="0" u="none" strike="noStrike" kern="1200">
                <a:solidFill>
                  <a:schemeClr val="tx1"/>
                </a:solidFill>
                <a:effectLst/>
                <a:latin typeface="Segoe UI Light" pitchFamily="34" charset="0"/>
                <a:ea typeface="+mn-ea"/>
                <a:cs typeface="+mn-cs"/>
              </a:rPr>
              <a:t>1. Go to the </a:t>
            </a:r>
            <a:r>
              <a:rPr lang="en-US" sz="800" b="0" i="0" u="sng" strike="noStrike" kern="1200">
                <a:solidFill>
                  <a:schemeClr val="tx1"/>
                </a:solidFill>
                <a:effectLst/>
                <a:latin typeface="Segoe UI Light" pitchFamily="34" charset="0"/>
                <a:ea typeface="+mn-ea"/>
                <a:cs typeface="+mn-cs"/>
                <a:hlinkClick r:id="rId3"/>
              </a:rPr>
              <a:t>Azure portal</a:t>
            </a:r>
            <a:r>
              <a:rPr lang="en-US" sz="800" b="0" i="0" u="none" strike="noStrike" kern="1200">
                <a:solidFill>
                  <a:schemeClr val="tx1"/>
                </a:solidFill>
                <a:effectLst/>
                <a:latin typeface="Segoe UI Light" pitchFamily="34" charset="0"/>
                <a:ea typeface="+mn-ea"/>
                <a:cs typeface="+mn-cs"/>
              </a:rPr>
              <a:t>.</a:t>
            </a:r>
          </a:p>
          <a:p>
            <a:r>
              <a:rPr lang="en-US" sz="800" b="0" i="0" u="none" strike="noStrike" kern="1200">
                <a:solidFill>
                  <a:schemeClr val="tx1"/>
                </a:solidFill>
                <a:effectLst/>
                <a:latin typeface="Segoe UI Light" pitchFamily="34" charset="0"/>
                <a:ea typeface="+mn-ea"/>
                <a:cs typeface="+mn-cs"/>
              </a:rPr>
              <a:t>2. Navigate to </a:t>
            </a:r>
            <a:r>
              <a:rPr lang="en-US" sz="800" b="1" i="0" u="none" strike="noStrike" kern="1200">
                <a:solidFill>
                  <a:schemeClr val="tx1"/>
                </a:solidFill>
                <a:effectLst/>
                <a:latin typeface="Segoe UI Light" pitchFamily="34" charset="0"/>
                <a:ea typeface="+mn-ea"/>
                <a:cs typeface="+mn-cs"/>
              </a:rPr>
              <a:t>Advanced Data Security </a:t>
            </a:r>
            <a:r>
              <a:rPr lang="en-US" sz="800" b="0" i="0" u="none" strike="noStrike" kern="1200">
                <a:solidFill>
                  <a:schemeClr val="tx1"/>
                </a:solidFill>
                <a:effectLst/>
                <a:latin typeface="Segoe UI Light" pitchFamily="34" charset="0"/>
                <a:ea typeface="+mn-ea"/>
                <a:cs typeface="+mn-cs"/>
              </a:rPr>
              <a:t>under the Security heading in your Azure SQL Database pane. Click to enable Advanced Data Security, and then click on the </a:t>
            </a:r>
            <a:r>
              <a:rPr lang="en-US" sz="800" b="1" i="0" u="none" strike="noStrike" kern="1200">
                <a:solidFill>
                  <a:schemeClr val="tx1"/>
                </a:solidFill>
                <a:effectLst/>
                <a:latin typeface="Segoe UI Light" pitchFamily="34" charset="0"/>
                <a:ea typeface="+mn-ea"/>
                <a:cs typeface="+mn-cs"/>
              </a:rPr>
              <a:t>Data discovery &amp; classification (preview)</a:t>
            </a:r>
            <a:r>
              <a:rPr lang="en-US" sz="800" b="0" i="0" u="none" strike="noStrike" kern="1200">
                <a:solidFill>
                  <a:schemeClr val="tx1"/>
                </a:solidFill>
                <a:effectLst/>
                <a:latin typeface="Segoe UI Light" pitchFamily="34" charset="0"/>
                <a:ea typeface="+mn-ea"/>
                <a:cs typeface="+mn-cs"/>
              </a:rPr>
              <a:t> card.</a:t>
            </a:r>
          </a:p>
          <a:p>
            <a:r>
              <a:rPr lang="en-US" sz="800" b="0" i="0" u="none" strike="noStrike" kern="1200">
                <a:solidFill>
                  <a:schemeClr val="tx1"/>
                </a:solidFill>
                <a:effectLst/>
                <a:latin typeface="Segoe UI Light" pitchFamily="34" charset="0"/>
                <a:ea typeface="+mn-ea"/>
                <a:cs typeface="+mn-cs"/>
              </a:rPr>
              <a:t>3. The </a:t>
            </a:r>
            <a:r>
              <a:rPr lang="en-US" sz="800" b="1" i="0" u="none" strike="noStrike" kern="1200">
                <a:solidFill>
                  <a:schemeClr val="tx1"/>
                </a:solidFill>
                <a:effectLst/>
                <a:latin typeface="Segoe UI Light" pitchFamily="34" charset="0"/>
                <a:ea typeface="+mn-ea"/>
                <a:cs typeface="+mn-cs"/>
              </a:rPr>
              <a:t>Overview</a:t>
            </a:r>
            <a:r>
              <a:rPr lang="en-US" sz="800" b="0" i="0" u="none" strike="noStrike" kern="1200">
                <a:solidFill>
                  <a:schemeClr val="tx1"/>
                </a:solidFill>
                <a:effectLst/>
                <a:latin typeface="Segoe UI Light" pitchFamily="34" charset="0"/>
                <a:ea typeface="+mn-ea"/>
                <a:cs typeface="+mn-cs"/>
              </a:rPr>
              <a:t> tab includes a summary of the current classification state of the database, including a detailed list of all classified columns, which you can also filter to view only specific schema parts, information types and labels. If you haven’t yet classified any columns go to step 4</a:t>
            </a:r>
          </a:p>
          <a:p>
            <a:r>
              <a:rPr lang="en-US" sz="800" b="0" i="0" u="none" strike="noStrike" kern="1200">
                <a:solidFill>
                  <a:schemeClr val="tx1"/>
                </a:solidFill>
                <a:effectLst/>
                <a:latin typeface="Segoe UI Light" pitchFamily="34" charset="0"/>
                <a:ea typeface="+mn-ea"/>
                <a:cs typeface="+mn-cs"/>
              </a:rPr>
              <a:t>4. To begin classifying your data, click on the </a:t>
            </a:r>
            <a:r>
              <a:rPr lang="en-US" sz="800" b="1" i="0" u="none" strike="noStrike" kern="1200">
                <a:solidFill>
                  <a:schemeClr val="tx1"/>
                </a:solidFill>
                <a:effectLst/>
                <a:latin typeface="Segoe UI Light" pitchFamily="34" charset="0"/>
                <a:ea typeface="+mn-ea"/>
                <a:cs typeface="+mn-cs"/>
              </a:rPr>
              <a:t>Classification tab</a:t>
            </a:r>
            <a:r>
              <a:rPr lang="en-US" sz="800" b="0" i="0" u="none" strike="noStrike" kern="1200">
                <a:solidFill>
                  <a:schemeClr val="tx1"/>
                </a:solidFill>
                <a:effectLst/>
                <a:latin typeface="Segoe UI Light" pitchFamily="34" charset="0"/>
                <a:ea typeface="+mn-ea"/>
                <a:cs typeface="+mn-cs"/>
              </a:rPr>
              <a:t> at the top of the window.</a:t>
            </a:r>
          </a:p>
          <a:p>
            <a:r>
              <a:rPr lang="en-US" sz="800" b="0" i="0" u="none" strike="noStrike" kern="1200">
                <a:solidFill>
                  <a:schemeClr val="tx1"/>
                </a:solidFill>
                <a:effectLst/>
                <a:latin typeface="Segoe UI Light" pitchFamily="34" charset="0"/>
                <a:ea typeface="+mn-ea"/>
                <a:cs typeface="+mn-cs"/>
              </a:rPr>
              <a:t>5. The classification engine scans your database for columns containing potentially sensitive data and provides a list of </a:t>
            </a:r>
            <a:r>
              <a:rPr lang="en-US" sz="800" b="1" i="0" u="none" strike="noStrike" kern="1200">
                <a:solidFill>
                  <a:schemeClr val="tx1"/>
                </a:solidFill>
                <a:effectLst/>
                <a:latin typeface="Segoe UI Light" pitchFamily="34" charset="0"/>
                <a:ea typeface="+mn-ea"/>
                <a:cs typeface="+mn-cs"/>
              </a:rPr>
              <a:t>recommended column classifications</a:t>
            </a:r>
            <a:r>
              <a:rPr lang="en-US" sz="800" b="0" i="0" u="none" strike="noStrike" kern="1200">
                <a:solidFill>
                  <a:schemeClr val="tx1"/>
                </a:solidFill>
                <a:effectLst/>
                <a:latin typeface="Segoe UI Light" pitchFamily="34" charset="0"/>
                <a:ea typeface="+mn-ea"/>
                <a:cs typeface="+mn-cs"/>
              </a:rPr>
              <a:t>. To view the list of recommended column classifications, click on the recommendations panel at the bottom of the window:</a:t>
            </a:r>
          </a:p>
          <a:p>
            <a:r>
              <a:rPr lang="en-US" sz="800" b="0" i="0" u="none" strike="noStrike" kern="1200">
                <a:solidFill>
                  <a:schemeClr val="tx1"/>
                </a:solidFill>
                <a:effectLst/>
                <a:latin typeface="Segoe UI Light" pitchFamily="34" charset="0"/>
                <a:ea typeface="+mn-ea"/>
                <a:cs typeface="+mn-cs"/>
              </a:rPr>
              <a:t>6. To apply the selected recommendations, click on the blue </a:t>
            </a:r>
            <a:r>
              <a:rPr lang="en-US" sz="800" b="1" i="0" u="none" strike="noStrike" kern="1200">
                <a:solidFill>
                  <a:schemeClr val="tx1"/>
                </a:solidFill>
                <a:effectLst/>
                <a:latin typeface="Segoe UI Light" pitchFamily="34" charset="0"/>
                <a:ea typeface="+mn-ea"/>
                <a:cs typeface="+mn-cs"/>
              </a:rPr>
              <a:t>Accept selected recommendations</a:t>
            </a:r>
            <a:r>
              <a:rPr lang="en-US" sz="800" b="0" i="0" u="none" strike="noStrike" kern="1200">
                <a:solidFill>
                  <a:schemeClr val="tx1"/>
                </a:solidFill>
                <a:effectLst/>
                <a:latin typeface="Segoe UI Light" pitchFamily="34" charset="0"/>
                <a:ea typeface="+mn-ea"/>
                <a:cs typeface="+mn-cs"/>
              </a:rPr>
              <a:t> button.</a:t>
            </a:r>
          </a:p>
          <a:p>
            <a:r>
              <a:rPr lang="en-US" sz="800" b="0" i="0" u="none" strike="noStrike" kern="1200">
                <a:solidFill>
                  <a:schemeClr val="tx1"/>
                </a:solidFill>
                <a:effectLst/>
                <a:latin typeface="Segoe UI Light" pitchFamily="34" charset="0"/>
                <a:ea typeface="+mn-ea"/>
                <a:cs typeface="+mn-cs"/>
              </a:rPr>
              <a:t>7. You can also </a:t>
            </a:r>
            <a:r>
              <a:rPr lang="en-US" sz="800" b="1" i="0" u="none" strike="noStrike" kern="1200">
                <a:solidFill>
                  <a:schemeClr val="tx1"/>
                </a:solidFill>
                <a:effectLst/>
                <a:latin typeface="Segoe UI Light" pitchFamily="34" charset="0"/>
                <a:ea typeface="+mn-ea"/>
                <a:cs typeface="+mn-cs"/>
              </a:rPr>
              <a:t>manually classify</a:t>
            </a:r>
            <a:r>
              <a:rPr lang="en-US" sz="800" b="0" i="0" u="none" strike="noStrike" kern="1200">
                <a:solidFill>
                  <a:schemeClr val="tx1"/>
                </a:solidFill>
                <a:effectLst/>
                <a:latin typeface="Segoe UI Light" pitchFamily="34" charset="0"/>
                <a:ea typeface="+mn-ea"/>
                <a:cs typeface="+mn-cs"/>
              </a:rPr>
              <a:t> columns as an alternative, or in addition, to the recommendation-based classification:</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Click on </a:t>
            </a:r>
            <a:r>
              <a:rPr lang="en-US" sz="800" b="1" i="0" u="none" strike="noStrike" kern="1200">
                <a:solidFill>
                  <a:schemeClr val="tx1"/>
                </a:solidFill>
                <a:effectLst/>
                <a:latin typeface="Segoe UI Light" pitchFamily="34" charset="0"/>
                <a:ea typeface="+mn-ea"/>
                <a:cs typeface="+mn-cs"/>
              </a:rPr>
              <a:t>Add classification</a:t>
            </a:r>
            <a:r>
              <a:rPr lang="en-US" sz="800" b="0" i="0" u="none" strike="noStrike" kern="1200">
                <a:solidFill>
                  <a:schemeClr val="tx1"/>
                </a:solidFill>
                <a:effectLst/>
                <a:latin typeface="Segoe UI Light" pitchFamily="34" charset="0"/>
                <a:ea typeface="+mn-ea"/>
                <a:cs typeface="+mn-cs"/>
              </a:rPr>
              <a:t> in the top menu of the window.</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In the context window that opens, select the schema &gt; table &gt; column that you want to classify, and the information type and sensitivity label. Then click on the blue </a:t>
            </a:r>
            <a:r>
              <a:rPr lang="en-US" sz="800" b="1" i="0" u="none" strike="noStrike" kern="1200">
                <a:solidFill>
                  <a:schemeClr val="tx1"/>
                </a:solidFill>
                <a:effectLst/>
                <a:latin typeface="Segoe UI Light" pitchFamily="34" charset="0"/>
                <a:ea typeface="+mn-ea"/>
                <a:cs typeface="+mn-cs"/>
              </a:rPr>
              <a:t>Add classification</a:t>
            </a:r>
            <a:r>
              <a:rPr lang="en-US" sz="800" b="0" i="0" u="none" strike="noStrike" kern="1200">
                <a:solidFill>
                  <a:schemeClr val="tx1"/>
                </a:solidFill>
                <a:effectLst/>
                <a:latin typeface="Segoe UI Light" pitchFamily="34" charset="0"/>
                <a:ea typeface="+mn-ea"/>
                <a:cs typeface="+mn-cs"/>
              </a:rPr>
              <a:t> button at the bottom of the context window.</a:t>
            </a:r>
          </a:p>
          <a:p>
            <a:r>
              <a:rPr lang="en-US" sz="800" b="0" i="0" u="none" strike="noStrike" kern="1200">
                <a:solidFill>
                  <a:schemeClr val="tx1"/>
                </a:solidFill>
                <a:effectLst/>
                <a:latin typeface="Segoe UI Light" pitchFamily="34" charset="0"/>
                <a:ea typeface="+mn-ea"/>
                <a:cs typeface="+mn-cs"/>
              </a:rPr>
              <a:t>8. To complete your classification and persistently label (tag) the database columns with the new classification metadata, click on </a:t>
            </a:r>
            <a:r>
              <a:rPr lang="en-US" sz="800" b="1" i="0" u="none" strike="noStrike" kern="1200">
                <a:solidFill>
                  <a:schemeClr val="tx1"/>
                </a:solidFill>
                <a:effectLst/>
                <a:latin typeface="Segoe UI Light" pitchFamily="34" charset="0"/>
                <a:ea typeface="+mn-ea"/>
                <a:cs typeface="+mn-cs"/>
              </a:rPr>
              <a:t>Save</a:t>
            </a:r>
            <a:r>
              <a:rPr lang="en-US" sz="800" b="0" i="0" u="none" strike="noStrike" kern="1200">
                <a:solidFill>
                  <a:schemeClr val="tx1"/>
                </a:solidFill>
                <a:effectLst/>
                <a:latin typeface="Segoe UI Light" pitchFamily="34" charset="0"/>
                <a:ea typeface="+mn-ea"/>
                <a:cs typeface="+mn-cs"/>
              </a:rPr>
              <a:t> in the top menu of the window.</a:t>
            </a:r>
          </a:p>
          <a:p>
            <a:endParaRPr lang="en-US" sz="800" b="0" i="0" u="none" strike="noStrike" kern="1200">
              <a:solidFill>
                <a:schemeClr val="tx1"/>
              </a:solidFill>
              <a:effectLst/>
              <a:latin typeface="Segoe UI Light" pitchFamily="34" charset="0"/>
              <a:ea typeface="+mn-ea"/>
              <a:cs typeface="+mn-cs"/>
            </a:endParaRPr>
          </a:p>
          <a:p>
            <a:pPr marL="0" indent="0">
              <a:buFont typeface="Arial" panose="020B0604020202020204" pitchFamily="34" charset="0"/>
              <a:buNone/>
            </a:pPr>
            <a:r>
              <a:rPr lang="en-US"/>
              <a:t>***note:</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5321854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a:solidFill>
                  <a:schemeClr val="tx1"/>
                </a:solidFill>
                <a:effectLst/>
                <a:latin typeface="Segoe UI Light" pitchFamily="34" charset="0"/>
                <a:ea typeface="+mn-ea"/>
                <a:cs typeface="+mn-cs"/>
              </a:rPr>
              <a:t>SQL Vulnerability Assessment (VA) is a service that provides visibility into your security state, and includes actionable steps to resolve security issues, and enhance your database security. It can help you: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eet compliance requirements that require database scan reports.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eet data privacy standards. </a:t>
            </a:r>
          </a:p>
          <a:p>
            <a:pPr marL="171450" indent="-171450">
              <a:buFont typeface="Arial" panose="020B0604020202020204" pitchFamily="34" charset="0"/>
              <a:buChar char="•"/>
            </a:pPr>
            <a:r>
              <a:rPr lang="en-US" sz="800" b="0" i="0" u="none" strike="noStrike" kern="1200">
                <a:solidFill>
                  <a:schemeClr val="tx1"/>
                </a:solidFill>
                <a:effectLst/>
                <a:latin typeface="Segoe UI Light" pitchFamily="34" charset="0"/>
                <a:ea typeface="+mn-ea"/>
                <a:cs typeface="+mn-cs"/>
              </a:rPr>
              <a:t>Monitor a dynamic database environment where changes are difficult to track. </a:t>
            </a:r>
          </a:p>
          <a:p>
            <a:r>
              <a:rPr lang="en-US" sz="800" b="0" i="0" u="none" strike="noStrike" kern="1200">
                <a:solidFill>
                  <a:schemeClr val="tx1"/>
                </a:solidFill>
                <a:effectLst/>
                <a:latin typeface="Segoe UI Light" pitchFamily="34" charset="0"/>
                <a:ea typeface="+mn-ea"/>
                <a:cs typeface="+mn-cs"/>
              </a:rPr>
              <a:t>VA is a scanning service built into the Azure SQL Database service. The service employs a knowledge base of rules that flag security vulnerabilities and highlight deviations from best practices, such as misconfigurations, excessive permissions, and unprotected sensitive data. The rules are based on Microsoft’s best practices and focus on the security issues that present the biggest risks to your database and its valuable data. They cover both database-level issues as well as server-level security issues, like server firewall settings and server-level permissions. These rules also represent many of the requirements from various regulatory bodies to meet their compliance standards. </a:t>
            </a:r>
          </a:p>
          <a:p>
            <a:r>
              <a:rPr lang="en-US" sz="800" b="0" i="0" u="none" strike="noStrike" kern="1200">
                <a:solidFill>
                  <a:schemeClr val="tx1"/>
                </a:solidFill>
                <a:effectLst/>
                <a:latin typeface="Segoe UI Light" pitchFamily="34" charset="0"/>
                <a:ea typeface="+mn-ea"/>
                <a:cs typeface="+mn-cs"/>
              </a:rPr>
              <a:t>Results of the scan include actionable steps to resolve each issue and provide customized remediation scripts where applicable. An assessment report can be customized for your environment by setting an acceptable baseline for permission configurations, feature configurations, and database settings. </a:t>
            </a:r>
          </a:p>
          <a:p>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1</a:t>
            </a:fld>
            <a:endParaRPr lang="en-US" noProof="0"/>
          </a:p>
        </p:txBody>
      </p:sp>
    </p:spTree>
    <p:extLst>
      <p:ext uri="{BB962C8B-B14F-4D97-AF65-F5344CB8AC3E}">
        <p14:creationId xmlns:p14="http://schemas.microsoft.com/office/powerpoint/2010/main" val="19934152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hf sldNum="0" hdr="0" ftr="0" dt="0"/>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hf sldNum="0" hdr="0" ftr="0" dt="0"/>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hf sldNum="0" hdr="0" ftr="0" dt="0"/>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hf sldNum="0" hdr="0" ftr="0" dt="0"/>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hf sldNum="0" hdr="0" ftr="0" dt="0"/>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hf sldNum="0" hdr="0" ftr="0" dt="0"/>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hf sldNum="0" hdr="0" ftr="0" dt="0"/>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hf sldNum="0" hdr="0" ftr="0" dt="0"/>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hf sldNum="0" hdr="0" ftr="0" dt="0"/>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hf sldNum="0" hdr="0" ftr="0" dt="0"/>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hf sldNum="0" hdr="0" ftr="0" dt="0"/>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hf sldNum="0" hdr="0" ftr="0" dt="0"/>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hf sldNum="0" hdr="0" ftr="0" dt="0"/>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hf sldNum="0" hdr="0" ftr="0" dt="0"/>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hf sldNum="0" hdr="0" ftr="0" dt="0"/>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hf sldNum="0" hdr="0" ftr="0" dt="0"/>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hf sldNum="0" hdr="0" ftr="0" dt="0"/>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0.xml"/><Relationship Id="rId1" Type="http://schemas.openxmlformats.org/officeDocument/2006/relationships/tags" Target="../tags/tag58.xml"/><Relationship Id="rId4" Type="http://schemas.openxmlformats.org/officeDocument/2006/relationships/image" Target="../media/image8.jpeg"/></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47.xml"/><Relationship Id="rId7" Type="http://schemas.microsoft.com/office/2007/relationships/diagramDrawing" Target="../diagrams/drawing47.xml"/><Relationship Id="rId2" Type="http://schemas.openxmlformats.org/officeDocument/2006/relationships/notesSlide" Target="../notesSlides/notesSlide99.xml"/><Relationship Id="rId1" Type="http://schemas.openxmlformats.org/officeDocument/2006/relationships/slideLayout" Target="../slideLayouts/slideLayout8.xml"/><Relationship Id="rId6" Type="http://schemas.openxmlformats.org/officeDocument/2006/relationships/diagramColors" Target="../diagrams/colors47.xml"/><Relationship Id="rId5" Type="http://schemas.openxmlformats.org/officeDocument/2006/relationships/diagramQuickStyle" Target="../diagrams/quickStyle47.xml"/><Relationship Id="rId4" Type="http://schemas.openxmlformats.org/officeDocument/2006/relationships/diagramLayout" Target="../diagrams/layout47.xml"/></Relationships>
</file>

<file path=ppt/slides/_rels/slide102.xml.rels><?xml version="1.0" encoding="UTF-8" standalone="yes"?>
<Relationships xmlns="http://schemas.openxmlformats.org/package/2006/relationships"><Relationship Id="rId8" Type="http://schemas.openxmlformats.org/officeDocument/2006/relationships/diagramColors" Target="../diagrams/colors48.xml"/><Relationship Id="rId3" Type="http://schemas.openxmlformats.org/officeDocument/2006/relationships/image" Target="../media/image27.png"/><Relationship Id="rId7" Type="http://schemas.openxmlformats.org/officeDocument/2006/relationships/diagramQuickStyle" Target="../diagrams/quickStyle48.xml"/><Relationship Id="rId2" Type="http://schemas.openxmlformats.org/officeDocument/2006/relationships/notesSlide" Target="../notesSlides/notesSlide100.xml"/><Relationship Id="rId1" Type="http://schemas.openxmlformats.org/officeDocument/2006/relationships/slideLayout" Target="../slideLayouts/slideLayout8.xml"/><Relationship Id="rId6" Type="http://schemas.openxmlformats.org/officeDocument/2006/relationships/diagramLayout" Target="../diagrams/layout48.xml"/><Relationship Id="rId5" Type="http://schemas.openxmlformats.org/officeDocument/2006/relationships/diagramData" Target="../diagrams/data48.xml"/><Relationship Id="rId4" Type="http://schemas.openxmlformats.org/officeDocument/2006/relationships/image" Target="../media/image28.png"/><Relationship Id="rId9" Type="http://schemas.microsoft.com/office/2007/relationships/diagramDrawing" Target="../diagrams/drawing48.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0.xml"/><Relationship Id="rId1" Type="http://schemas.openxmlformats.org/officeDocument/2006/relationships/tags" Target="../tags/tag59.xml"/><Relationship Id="rId4" Type="http://schemas.openxmlformats.org/officeDocument/2006/relationships/image" Target="../media/image8.jpeg"/></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6.png"/><Relationship Id="rId4" Type="http://schemas.openxmlformats.org/officeDocument/2006/relationships/notesSlide" Target="../notesSlides/notesSlide103.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7.jpeg"/><Relationship Id="rId4" Type="http://schemas.openxmlformats.org/officeDocument/2006/relationships/notesSlide" Target="../notesSlides/notesSlide104.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49.xml"/><Relationship Id="rId7" Type="http://schemas.microsoft.com/office/2007/relationships/diagramDrawing" Target="../diagrams/drawing49.xml"/><Relationship Id="rId2" Type="http://schemas.openxmlformats.org/officeDocument/2006/relationships/notesSlide" Target="../notesSlides/notesSlide105.xml"/><Relationship Id="rId1" Type="http://schemas.openxmlformats.org/officeDocument/2006/relationships/slideLayout" Target="../slideLayouts/slideLayout14.xml"/><Relationship Id="rId6" Type="http://schemas.openxmlformats.org/officeDocument/2006/relationships/diagramColors" Target="../diagrams/colors49.xml"/><Relationship Id="rId5" Type="http://schemas.openxmlformats.org/officeDocument/2006/relationships/diagramQuickStyle" Target="../diagrams/quickStyle49.xml"/><Relationship Id="rId4" Type="http://schemas.openxmlformats.org/officeDocument/2006/relationships/diagramLayout" Target="../diagrams/layout49.xml"/></Relationships>
</file>

<file path=ppt/slides/_rels/slide108.xml.rels><?xml version="1.0" encoding="UTF-8" standalone="yes"?>
<Relationships xmlns="http://schemas.openxmlformats.org/package/2006/relationships"><Relationship Id="rId3" Type="http://schemas.openxmlformats.org/officeDocument/2006/relationships/diagramData" Target="../diagrams/data50.xml"/><Relationship Id="rId7" Type="http://schemas.microsoft.com/office/2007/relationships/diagramDrawing" Target="../diagrams/drawing50.xml"/><Relationship Id="rId2" Type="http://schemas.openxmlformats.org/officeDocument/2006/relationships/notesSlide" Target="../notesSlides/notesSlide106.xml"/><Relationship Id="rId1" Type="http://schemas.openxmlformats.org/officeDocument/2006/relationships/slideLayout" Target="../slideLayouts/slideLayout36.xml"/><Relationship Id="rId6" Type="http://schemas.openxmlformats.org/officeDocument/2006/relationships/diagramColors" Target="../diagrams/colors50.xml"/><Relationship Id="rId5" Type="http://schemas.openxmlformats.org/officeDocument/2006/relationships/diagramQuickStyle" Target="../diagrams/quickStyle50.xml"/><Relationship Id="rId4" Type="http://schemas.openxmlformats.org/officeDocument/2006/relationships/diagramLayout" Target="../diagrams/layout5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4.png"/><Relationship Id="rId2" Type="http://schemas.openxmlformats.org/officeDocument/2006/relationships/customXml" Target="../../customXml/item12.xml"/><Relationship Id="rId1" Type="http://schemas.openxmlformats.org/officeDocument/2006/relationships/tags" Target="../tags/tag9.xml"/><Relationship Id="rId6" Type="http://schemas.openxmlformats.org/officeDocument/2006/relationships/notesSlide" Target="../notesSlides/notesSlide11.xml"/><Relationship Id="rId5" Type="http://schemas.openxmlformats.org/officeDocument/2006/relationships/slideLayout" Target="../slideLayouts/slideLayout9.xml"/><Relationship Id="rId4" Type="http://schemas.openxmlformats.org/officeDocument/2006/relationships/tags" Target="../tags/tag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11.xml"/><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7.jpe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4.png"/><Relationship Id="rId2" Type="http://schemas.openxmlformats.org/officeDocument/2006/relationships/customXml" Target="../../customXml/item17.xml"/><Relationship Id="rId1" Type="http://schemas.openxmlformats.org/officeDocument/2006/relationships/tags" Target="../tags/tag14.xml"/><Relationship Id="rId6" Type="http://schemas.openxmlformats.org/officeDocument/2006/relationships/notesSlide" Target="../notesSlides/notesSlide20.xml"/><Relationship Id="rId5" Type="http://schemas.openxmlformats.org/officeDocument/2006/relationships/slideLayout" Target="../slideLayouts/slideLayout9.xml"/><Relationship Id="rId4" Type="http://schemas.openxmlformats.org/officeDocument/2006/relationships/tags" Target="../tags/tag1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7.xml"/><Relationship Id="rId1" Type="http://schemas.openxmlformats.org/officeDocument/2006/relationships/slideLayout" Target="../slideLayouts/slideLayout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16.xml"/><Relationship Id="rId4" Type="http://schemas.openxmlformats.org/officeDocument/2006/relationships/image" Target="../media/image8.jpe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jpeg"/><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customXml" Target="../../customXml/item21.xml"/><Relationship Id="rId7" Type="http://schemas.openxmlformats.org/officeDocument/2006/relationships/image" Target="../media/image4.png"/><Relationship Id="rId2" Type="http://schemas.openxmlformats.org/officeDocument/2006/relationships/customXml" Target="../../customXml/item13.xml"/><Relationship Id="rId1" Type="http://schemas.openxmlformats.org/officeDocument/2006/relationships/tags" Target="../tags/tag19.xml"/><Relationship Id="rId6" Type="http://schemas.openxmlformats.org/officeDocument/2006/relationships/notesSlide" Target="../notesSlides/notesSlide34.xml"/><Relationship Id="rId5" Type="http://schemas.openxmlformats.org/officeDocument/2006/relationships/slideLayout" Target="../slideLayouts/slideLayout9.xml"/><Relationship Id="rId4" Type="http://schemas.openxmlformats.org/officeDocument/2006/relationships/tags" Target="../tags/tag20.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7.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10.png"/><Relationship Id="rId7" Type="http://schemas.openxmlformats.org/officeDocument/2006/relationships/diagramColors" Target="../diagrams/colors15.xm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7.xml"/><Relationship Id="rId1" Type="http://schemas.openxmlformats.org/officeDocument/2006/relationships/slideLayout" Target="../slideLayouts/slideLayout1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7.jpeg"/><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1.xml"/><Relationship Id="rId1" Type="http://schemas.openxmlformats.org/officeDocument/2006/relationships/slideLayout" Target="../slideLayouts/slideLayout14.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png"/><Relationship Id="rId2" Type="http://schemas.openxmlformats.org/officeDocument/2006/relationships/customXml" Target="../../customXml/item5.xml"/><Relationship Id="rId1" Type="http://schemas.openxmlformats.org/officeDocument/2006/relationships/tags" Target="../tags/tag23.xml"/><Relationship Id="rId6" Type="http://schemas.openxmlformats.org/officeDocument/2006/relationships/notesSlide" Target="../notesSlides/notesSlide43.xml"/><Relationship Id="rId5" Type="http://schemas.openxmlformats.org/officeDocument/2006/relationships/slideLayout" Target="../slideLayouts/slideLayout9.xml"/><Relationship Id="rId4" Type="http://schemas.openxmlformats.org/officeDocument/2006/relationships/tags" Target="../tags/tag24.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0.xml"/><Relationship Id="rId1" Type="http://schemas.openxmlformats.org/officeDocument/2006/relationships/tags" Target="../tags/tag25.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customXml" Target="../../customXml/item3.xml"/><Relationship Id="rId7" Type="http://schemas.openxmlformats.org/officeDocument/2006/relationships/image" Target="../media/image4.png"/><Relationship Id="rId2" Type="http://schemas.openxmlformats.org/officeDocument/2006/relationships/customXml" Target="../../customXml/item8.xml"/><Relationship Id="rId1" Type="http://schemas.openxmlformats.org/officeDocument/2006/relationships/tags" Target="../tags/tag5.xml"/><Relationship Id="rId6" Type="http://schemas.openxmlformats.org/officeDocument/2006/relationships/notesSlide" Target="../notesSlides/notesSlide4.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jpeg"/><Relationship Id="rId4" Type="http://schemas.openxmlformats.org/officeDocument/2006/relationships/notesSlide" Target="../notesSlides/notesSlide49.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0.xml"/><Relationship Id="rId1" Type="http://schemas.openxmlformats.org/officeDocument/2006/relationships/slideLayout" Target="../slideLayouts/slideLayout14.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customXml" Target="../../customXml/item22.xml"/><Relationship Id="rId7" Type="http://schemas.openxmlformats.org/officeDocument/2006/relationships/image" Target="../media/image4.png"/><Relationship Id="rId2" Type="http://schemas.openxmlformats.org/officeDocument/2006/relationships/customXml" Target="../../customXml/item23.xml"/><Relationship Id="rId1" Type="http://schemas.openxmlformats.org/officeDocument/2006/relationships/tags" Target="../tags/tag28.xml"/><Relationship Id="rId6" Type="http://schemas.openxmlformats.org/officeDocument/2006/relationships/notesSlide" Target="../notesSlides/notesSlide52.xml"/><Relationship Id="rId5" Type="http://schemas.openxmlformats.org/officeDocument/2006/relationships/slideLayout" Target="../slideLayouts/slideLayout9.xml"/><Relationship Id="rId4" Type="http://schemas.openxmlformats.org/officeDocument/2006/relationships/tags" Target="../tags/tag2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3.xml"/><Relationship Id="rId1" Type="http://schemas.openxmlformats.org/officeDocument/2006/relationships/slideLayout" Target="../slideLayouts/slideLayout8.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55.xml.rels><?xml version="1.0" encoding="UTF-8" standalone="yes"?>
<Relationships xmlns="http://schemas.openxmlformats.org/package/2006/relationships"><Relationship Id="rId8" Type="http://schemas.openxmlformats.org/officeDocument/2006/relationships/diagramQuickStyle" Target="../diagrams/quickStyle25.xml"/><Relationship Id="rId3" Type="http://schemas.openxmlformats.org/officeDocument/2006/relationships/tags" Target="../tags/tag32.xml"/><Relationship Id="rId7" Type="http://schemas.openxmlformats.org/officeDocument/2006/relationships/diagramLayout" Target="../diagrams/layout2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diagramData" Target="../diagrams/data25.xml"/><Relationship Id="rId5" Type="http://schemas.openxmlformats.org/officeDocument/2006/relationships/notesSlide" Target="../notesSlides/notesSlide54.xml"/><Relationship Id="rId10" Type="http://schemas.microsoft.com/office/2007/relationships/diagramDrawing" Target="../diagrams/drawing25.xml"/><Relationship Id="rId4" Type="http://schemas.openxmlformats.org/officeDocument/2006/relationships/slideLayout" Target="../slideLayouts/slideLayout8.xml"/><Relationship Id="rId9" Type="http://schemas.openxmlformats.org/officeDocument/2006/relationships/diagramColors" Target="../diagrams/colors25.xml"/></Relationships>
</file>

<file path=ppt/slides/_rels/slide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27.xml"/><Relationship Id="rId3" Type="http://schemas.openxmlformats.org/officeDocument/2006/relationships/diagramData" Target="../diagrams/data26.xml"/><Relationship Id="rId7" Type="http://schemas.microsoft.com/office/2007/relationships/diagramDrawing" Target="../diagrams/drawing26.xml"/><Relationship Id="rId12" Type="http://schemas.microsoft.com/office/2007/relationships/diagramDrawing" Target="../diagrams/drawing27.xml"/><Relationship Id="rId2" Type="http://schemas.openxmlformats.org/officeDocument/2006/relationships/notesSlide" Target="../notesSlides/notesSlide56.xml"/><Relationship Id="rId1" Type="http://schemas.openxmlformats.org/officeDocument/2006/relationships/slideLayout" Target="../slideLayouts/slideLayout8.xml"/><Relationship Id="rId6" Type="http://schemas.openxmlformats.org/officeDocument/2006/relationships/diagramColors" Target="../diagrams/colors26.xml"/><Relationship Id="rId11" Type="http://schemas.openxmlformats.org/officeDocument/2006/relationships/diagramColors" Target="../diagrams/colors27.xml"/><Relationship Id="rId5" Type="http://schemas.openxmlformats.org/officeDocument/2006/relationships/diagramQuickStyle" Target="../diagrams/quickStyle26.xml"/><Relationship Id="rId10" Type="http://schemas.openxmlformats.org/officeDocument/2006/relationships/diagramQuickStyle" Target="../diagrams/quickStyle27.xml"/><Relationship Id="rId4" Type="http://schemas.openxmlformats.org/officeDocument/2006/relationships/diagramLayout" Target="../diagrams/layout26.xml"/><Relationship Id="rId9" Type="http://schemas.openxmlformats.org/officeDocument/2006/relationships/diagramLayout" Target="../diagrams/layout27.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58.xml"/><Relationship Id="rId1" Type="http://schemas.openxmlformats.org/officeDocument/2006/relationships/slideLayout" Target="../slideLayouts/slideLayout8.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0.xml"/><Relationship Id="rId1" Type="http://schemas.openxmlformats.org/officeDocument/2006/relationships/tags" Target="../tags/tag33.xml"/><Relationship Id="rId4" Type="http://schemas.openxmlformats.org/officeDocument/2006/relationships/image" Target="../media/image8.jpe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6.png"/><Relationship Id="rId4" Type="http://schemas.openxmlformats.org/officeDocument/2006/relationships/notesSlide" Target="../notesSlides/notesSlide60.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0.xml"/><Relationship Id="rId2" Type="http://schemas.openxmlformats.org/officeDocument/2006/relationships/diagramData" Target="../diagrams/data30.xml"/><Relationship Id="rId1" Type="http://schemas.openxmlformats.org/officeDocument/2006/relationships/slideLayout" Target="../slideLayouts/slideLayout8.xml"/><Relationship Id="rId6" Type="http://schemas.microsoft.com/office/2007/relationships/diagramDrawing" Target="../diagrams/drawing30.xml"/><Relationship Id="rId5" Type="http://schemas.openxmlformats.org/officeDocument/2006/relationships/diagramColors" Target="../diagrams/colors30.xml"/><Relationship Id="rId4" Type="http://schemas.openxmlformats.org/officeDocument/2006/relationships/diagramQuickStyle" Target="../diagrams/quickStyle3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7.jpeg"/><Relationship Id="rId4" Type="http://schemas.openxmlformats.org/officeDocument/2006/relationships/notesSlide" Target="../notesSlides/notesSlide61.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notesSlide" Target="../notesSlides/notesSlide62.xml"/><Relationship Id="rId1" Type="http://schemas.openxmlformats.org/officeDocument/2006/relationships/slideLayout" Target="../slideLayouts/slideLayout14.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3" Type="http://schemas.openxmlformats.org/officeDocument/2006/relationships/customXml" Target="../../customXml/item20.xml"/><Relationship Id="rId7" Type="http://schemas.openxmlformats.org/officeDocument/2006/relationships/image" Target="../media/image4.png"/><Relationship Id="rId2" Type="http://schemas.openxmlformats.org/officeDocument/2006/relationships/customXml" Target="../../customXml/item16.xml"/><Relationship Id="rId1" Type="http://schemas.openxmlformats.org/officeDocument/2006/relationships/tags" Target="../tags/tag38.xml"/><Relationship Id="rId6" Type="http://schemas.openxmlformats.org/officeDocument/2006/relationships/notesSlide" Target="../notesSlides/notesSlide64.xml"/><Relationship Id="rId5" Type="http://schemas.openxmlformats.org/officeDocument/2006/relationships/slideLayout" Target="../slideLayouts/slideLayout9.xml"/><Relationship Id="rId4" Type="http://schemas.openxmlformats.org/officeDocument/2006/relationships/tags" Target="../tags/tag3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66.xml"/><Relationship Id="rId1" Type="http://schemas.openxmlformats.org/officeDocument/2006/relationships/slideLayout" Target="../slideLayouts/slideLayout8.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67.xml"/><Relationship Id="rId1" Type="http://schemas.openxmlformats.org/officeDocument/2006/relationships/slideLayout" Target="../slideLayouts/slideLayout8.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0.xml"/><Relationship Id="rId1" Type="http://schemas.openxmlformats.org/officeDocument/2006/relationships/tags" Target="../tags/tag40.xml"/><Relationship Id="rId4" Type="http://schemas.openxmlformats.org/officeDocument/2006/relationships/image" Target="../media/image8.jpe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6.png"/><Relationship Id="rId4" Type="http://schemas.openxmlformats.org/officeDocument/2006/relationships/notesSlide" Target="../notesSlides/notesSlide69.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7.jpeg"/><Relationship Id="rId4" Type="http://schemas.openxmlformats.org/officeDocument/2006/relationships/notesSlide" Target="../notesSlides/notesSlide70.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71.xml"/><Relationship Id="rId1" Type="http://schemas.openxmlformats.org/officeDocument/2006/relationships/slideLayout" Target="../slideLayouts/slideLayout14.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3" Type="http://schemas.openxmlformats.org/officeDocument/2006/relationships/customXml" Target="../../customXml/item18.xml"/><Relationship Id="rId7" Type="http://schemas.openxmlformats.org/officeDocument/2006/relationships/image" Target="../media/image4.png"/><Relationship Id="rId2" Type="http://schemas.openxmlformats.org/officeDocument/2006/relationships/customXml" Target="../../customXml/item4.xml"/><Relationship Id="rId1" Type="http://schemas.openxmlformats.org/officeDocument/2006/relationships/tags" Target="../tags/tag45.xml"/><Relationship Id="rId6" Type="http://schemas.openxmlformats.org/officeDocument/2006/relationships/notesSlide" Target="../notesSlides/notesSlide73.xml"/><Relationship Id="rId5" Type="http://schemas.openxmlformats.org/officeDocument/2006/relationships/slideLayout" Target="../slideLayouts/slideLayout9.xml"/><Relationship Id="rId4" Type="http://schemas.openxmlformats.org/officeDocument/2006/relationships/tags" Target="../tags/tag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75.xml"/><Relationship Id="rId1" Type="http://schemas.openxmlformats.org/officeDocument/2006/relationships/slideLayout" Target="../slideLayouts/slideLayout9.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6.xml"/><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0.xml"/><Relationship Id="rId1" Type="http://schemas.openxmlformats.org/officeDocument/2006/relationships/tags" Target="../tags/tag47.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7.jpeg"/><Relationship Id="rId4" Type="http://schemas.openxmlformats.org/officeDocument/2006/relationships/notesSlide" Target="../notesSlides/notesSlide78.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79.xml"/><Relationship Id="rId1" Type="http://schemas.openxmlformats.org/officeDocument/2006/relationships/slideLayout" Target="../slideLayouts/slideLayout14.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6.xml"/></Relationships>
</file>

<file path=ppt/slides/_rels/slide83.xml.rels><?xml version="1.0" encoding="UTF-8" standalone="yes"?>
<Relationships xmlns="http://schemas.openxmlformats.org/package/2006/relationships"><Relationship Id="rId3" Type="http://schemas.openxmlformats.org/officeDocument/2006/relationships/customXml" Target="../../customXml/item9.xml"/><Relationship Id="rId7" Type="http://schemas.openxmlformats.org/officeDocument/2006/relationships/image" Target="../media/image4.png"/><Relationship Id="rId2" Type="http://schemas.openxmlformats.org/officeDocument/2006/relationships/customXml" Target="../../customXml/item11.xml"/><Relationship Id="rId1" Type="http://schemas.openxmlformats.org/officeDocument/2006/relationships/tags" Target="../tags/tag50.xml"/><Relationship Id="rId6" Type="http://schemas.openxmlformats.org/officeDocument/2006/relationships/notesSlide" Target="../notesSlides/notesSlide81.xml"/><Relationship Id="rId5" Type="http://schemas.openxmlformats.org/officeDocument/2006/relationships/slideLayout" Target="../slideLayouts/slideLayout9.xml"/><Relationship Id="rId4" Type="http://schemas.openxmlformats.org/officeDocument/2006/relationships/tags" Target="../tags/tag51.xml"/></Relationships>
</file>

<file path=ppt/slides/_rels/slide84.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82.xml"/><Relationship Id="rId1" Type="http://schemas.openxmlformats.org/officeDocument/2006/relationships/slideLayout" Target="../slideLayouts/slideLayout8.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85.xml.rels><?xml version="1.0" encoding="UTF-8" standalone="yes"?>
<Relationships xmlns="http://schemas.openxmlformats.org/package/2006/relationships"><Relationship Id="rId8" Type="http://schemas.microsoft.com/office/2007/relationships/diagramDrawing" Target="../diagrams/drawing38.xml"/><Relationship Id="rId3" Type="http://schemas.openxmlformats.org/officeDocument/2006/relationships/image" Target="../media/image21.png"/><Relationship Id="rId7" Type="http://schemas.openxmlformats.org/officeDocument/2006/relationships/diagramColors" Target="../diagrams/colors38.xml"/><Relationship Id="rId2" Type="http://schemas.openxmlformats.org/officeDocument/2006/relationships/notesSlide" Target="../notesSlides/notesSlide83.xml"/><Relationship Id="rId1" Type="http://schemas.openxmlformats.org/officeDocument/2006/relationships/slideLayout" Target="../slideLayouts/slideLayout8.xml"/><Relationship Id="rId6" Type="http://schemas.openxmlformats.org/officeDocument/2006/relationships/diagramQuickStyle" Target="../diagrams/quickStyle38.xml"/><Relationship Id="rId5" Type="http://schemas.openxmlformats.org/officeDocument/2006/relationships/diagramLayout" Target="../diagrams/layout38.xml"/><Relationship Id="rId4" Type="http://schemas.openxmlformats.org/officeDocument/2006/relationships/diagramData" Target="../diagrams/data38.xml"/></Relationships>
</file>

<file path=ppt/slides/_rels/slide86.xml.rels><?xml version="1.0" encoding="UTF-8" standalone="yes"?>
<Relationships xmlns="http://schemas.openxmlformats.org/package/2006/relationships"><Relationship Id="rId3" Type="http://schemas.openxmlformats.org/officeDocument/2006/relationships/diagramData" Target="../diagrams/data39.xml"/><Relationship Id="rId7" Type="http://schemas.microsoft.com/office/2007/relationships/diagramDrawing" Target="../diagrams/drawing39.xml"/><Relationship Id="rId2" Type="http://schemas.openxmlformats.org/officeDocument/2006/relationships/notesSlide" Target="../notesSlides/notesSlide84.xml"/><Relationship Id="rId1" Type="http://schemas.openxmlformats.org/officeDocument/2006/relationships/slideLayout" Target="../slideLayouts/slideLayout10.xml"/><Relationship Id="rId6" Type="http://schemas.openxmlformats.org/officeDocument/2006/relationships/diagramColors" Target="../diagrams/colors39.xml"/><Relationship Id="rId5" Type="http://schemas.openxmlformats.org/officeDocument/2006/relationships/diagramQuickStyle" Target="../diagrams/quickStyle39.xml"/><Relationship Id="rId4" Type="http://schemas.openxmlformats.org/officeDocument/2006/relationships/diagramLayout" Target="../diagrams/layout39.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0.xml"/><Relationship Id="rId1" Type="http://schemas.openxmlformats.org/officeDocument/2006/relationships/tags" Target="../tags/tag52.xml"/><Relationship Id="rId4" Type="http://schemas.openxmlformats.org/officeDocument/2006/relationships/image" Target="../media/image8.jpeg"/></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7.jpeg"/><Relationship Id="rId4" Type="http://schemas.openxmlformats.org/officeDocument/2006/relationships/notesSlide" Target="../notesSlides/notesSlide86.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87.xml"/><Relationship Id="rId1" Type="http://schemas.openxmlformats.org/officeDocument/2006/relationships/slideLayout" Target="../slideLayouts/slideLayout14.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7.jpeg"/><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4.png"/><Relationship Id="rId2" Type="http://schemas.openxmlformats.org/officeDocument/2006/relationships/customXml" Target="../../customXml/item2.xml"/><Relationship Id="rId1" Type="http://schemas.openxmlformats.org/officeDocument/2006/relationships/tags" Target="../tags/tag55.xml"/><Relationship Id="rId6" Type="http://schemas.openxmlformats.org/officeDocument/2006/relationships/notesSlide" Target="../notesSlides/notesSlide89.xml"/><Relationship Id="rId5" Type="http://schemas.openxmlformats.org/officeDocument/2006/relationships/slideLayout" Target="../slideLayouts/slideLayout9.xml"/><Relationship Id="rId4" Type="http://schemas.openxmlformats.org/officeDocument/2006/relationships/tags" Target="../tags/tag56.xml"/></Relationships>
</file>

<file path=ppt/slides/_rels/slide92.xml.rels><?xml version="1.0" encoding="UTF-8" standalone="yes"?>
<Relationships xmlns="http://schemas.openxmlformats.org/package/2006/relationships"><Relationship Id="rId3" Type="http://schemas.openxmlformats.org/officeDocument/2006/relationships/diagramData" Target="../diagrams/data41.xml"/><Relationship Id="rId7" Type="http://schemas.microsoft.com/office/2007/relationships/diagramDrawing" Target="../diagrams/drawing41.xml"/><Relationship Id="rId2" Type="http://schemas.openxmlformats.org/officeDocument/2006/relationships/notesSlide" Target="../notesSlides/notesSlide90.xml"/><Relationship Id="rId1" Type="http://schemas.openxmlformats.org/officeDocument/2006/relationships/slideLayout" Target="../slideLayouts/slideLayout8.xml"/><Relationship Id="rId6" Type="http://schemas.openxmlformats.org/officeDocument/2006/relationships/diagramColors" Target="../diagrams/colors41.xml"/><Relationship Id="rId5" Type="http://schemas.openxmlformats.org/officeDocument/2006/relationships/diagramQuickStyle" Target="../diagrams/quickStyle41.xml"/><Relationship Id="rId4" Type="http://schemas.openxmlformats.org/officeDocument/2006/relationships/diagramLayout" Target="../diagrams/layout41.xml"/></Relationships>
</file>

<file path=ppt/slides/_rels/slide93.xml.rels><?xml version="1.0" encoding="UTF-8" standalone="yes"?>
<Relationships xmlns="http://schemas.openxmlformats.org/package/2006/relationships"><Relationship Id="rId3" Type="http://schemas.openxmlformats.org/officeDocument/2006/relationships/diagramData" Target="../diagrams/data42.xml"/><Relationship Id="rId7" Type="http://schemas.microsoft.com/office/2007/relationships/diagramDrawing" Target="../diagrams/drawing42.xml"/><Relationship Id="rId2" Type="http://schemas.openxmlformats.org/officeDocument/2006/relationships/notesSlide" Target="../notesSlides/notesSlide91.xml"/><Relationship Id="rId1" Type="http://schemas.openxmlformats.org/officeDocument/2006/relationships/slideLayout" Target="../slideLayouts/slideLayout8.xml"/><Relationship Id="rId6" Type="http://schemas.openxmlformats.org/officeDocument/2006/relationships/diagramColors" Target="../diagrams/colors42.xml"/><Relationship Id="rId5" Type="http://schemas.openxmlformats.org/officeDocument/2006/relationships/diagramQuickStyle" Target="../diagrams/quickStyle42.xml"/><Relationship Id="rId4" Type="http://schemas.openxmlformats.org/officeDocument/2006/relationships/diagramLayout" Target="../diagrams/layout42.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92.xml"/><Relationship Id="rId1" Type="http://schemas.openxmlformats.org/officeDocument/2006/relationships/slideLayout" Target="../slideLayouts/slideLayout8.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9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93.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94.xml"/><Relationship Id="rId1" Type="http://schemas.openxmlformats.org/officeDocument/2006/relationships/slideLayout" Target="../slideLayouts/slideLayout8.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0.xml"/><Relationship Id="rId1" Type="http://schemas.openxmlformats.org/officeDocument/2006/relationships/tags" Target="../tags/tag57.xml"/><Relationship Id="rId4" Type="http://schemas.openxmlformats.org/officeDocument/2006/relationships/image" Target="../media/image8.jpeg"/></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45.xml"/><Relationship Id="rId7" Type="http://schemas.microsoft.com/office/2007/relationships/diagramDrawing" Target="../diagrams/drawing45.xml"/><Relationship Id="rId2" Type="http://schemas.openxmlformats.org/officeDocument/2006/relationships/notesSlide" Target="../notesSlides/notesSlide96.xml"/><Relationship Id="rId1" Type="http://schemas.openxmlformats.org/officeDocument/2006/relationships/slideLayout" Target="../slideLayouts/slideLayout8.xml"/><Relationship Id="rId6" Type="http://schemas.openxmlformats.org/officeDocument/2006/relationships/diagramColors" Target="../diagrams/colors45.xml"/><Relationship Id="rId5" Type="http://schemas.openxmlformats.org/officeDocument/2006/relationships/diagramQuickStyle" Target="../diagrams/quickStyle45.xml"/><Relationship Id="rId4" Type="http://schemas.openxmlformats.org/officeDocument/2006/relationships/diagramLayout" Target="../diagrams/layout45.xml"/></Relationships>
</file>

<file path=ppt/slides/_rels/slide99.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97.xml"/><Relationship Id="rId1" Type="http://schemas.openxmlformats.org/officeDocument/2006/relationships/slideLayout" Target="../slideLayouts/slideLayout8.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a:t>Manage Security for Azure SQL Databas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grpSp>
        <p:nvGrpSpPr>
          <p:cNvPr id="7" name="Group 6" descr="Azure SQL Database">
            <a:extLst>
              <a:ext uri="{FF2B5EF4-FFF2-40B4-BE49-F238E27FC236}">
                <a16:creationId xmlns:a16="http://schemas.microsoft.com/office/drawing/2014/main" id="{025C296D-2BF1-4187-8FD1-E72779D8FDE7}"/>
              </a:ext>
            </a:extLst>
          </p:cNvPr>
          <p:cNvGrpSpPr/>
          <p:nvPr/>
        </p:nvGrpSpPr>
        <p:grpSpPr>
          <a:xfrm>
            <a:off x="8637150" y="2546372"/>
            <a:ext cx="727319" cy="990490"/>
            <a:chOff x="6538960" y="5922128"/>
            <a:chExt cx="174418" cy="231818"/>
          </a:xfrm>
        </p:grpSpPr>
        <p:sp>
          <p:nvSpPr>
            <p:cNvPr id="8" name="Freeform: Shape 7">
              <a:extLst>
                <a:ext uri="{FF2B5EF4-FFF2-40B4-BE49-F238E27FC236}">
                  <a16:creationId xmlns:a16="http://schemas.microsoft.com/office/drawing/2014/main" id="{6A2F98BC-751B-4160-A546-8257CE58DA6A}"/>
                </a:ext>
              </a:extLst>
            </p:cNvPr>
            <p:cNvSpPr/>
            <p:nvPr/>
          </p:nvSpPr>
          <p:spPr>
            <a:xfrm>
              <a:off x="6538960" y="5954027"/>
              <a:ext cx="87199" cy="199919"/>
            </a:xfrm>
            <a:custGeom>
              <a:avLst/>
              <a:gdLst>
                <a:gd name="connsiteX0" fmla="*/ 0 w 87199"/>
                <a:gd name="connsiteY0" fmla="*/ 0 h 199919"/>
                <a:gd name="connsiteX1" fmla="*/ 0 w 87199"/>
                <a:gd name="connsiteY1" fmla="*/ 168018 h 199919"/>
                <a:gd name="connsiteX2" fmla="*/ 87200 w 87199"/>
                <a:gd name="connsiteY2" fmla="*/ 199919 h 199919"/>
                <a:gd name="connsiteX3" fmla="*/ 87200 w 87199"/>
                <a:gd name="connsiteY3" fmla="*/ 0 h 199919"/>
                <a:gd name="connsiteX4" fmla="*/ 0 w 87199"/>
                <a:gd name="connsiteY4" fmla="*/ 0 h 19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99" h="199919">
                  <a:moveTo>
                    <a:pt x="0" y="0"/>
                  </a:moveTo>
                  <a:lnTo>
                    <a:pt x="0" y="168018"/>
                  </a:lnTo>
                  <a:cubicBezTo>
                    <a:pt x="0" y="185032"/>
                    <a:pt x="39346" y="199919"/>
                    <a:pt x="87200" y="199919"/>
                  </a:cubicBezTo>
                  <a:lnTo>
                    <a:pt x="87200" y="0"/>
                  </a:lnTo>
                  <a:lnTo>
                    <a:pt x="0" y="0"/>
                  </a:lnTo>
                  <a:close/>
                </a:path>
              </a:pathLst>
            </a:custGeom>
            <a:solidFill>
              <a:srgbClr val="3999C6"/>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CE8FA32B-0016-4C8C-894F-E62094C520D9}"/>
                </a:ext>
              </a:extLst>
            </p:cNvPr>
            <p:cNvSpPr/>
            <p:nvPr/>
          </p:nvSpPr>
          <p:spPr>
            <a:xfrm>
              <a:off x="6625116" y="5954027"/>
              <a:ext cx="88262" cy="199919"/>
            </a:xfrm>
            <a:custGeom>
              <a:avLst/>
              <a:gdLst>
                <a:gd name="connsiteX0" fmla="*/ 0 w 88262"/>
                <a:gd name="connsiteY0" fmla="*/ 199919 h 199919"/>
                <a:gd name="connsiteX1" fmla="*/ 1063 w 88262"/>
                <a:gd name="connsiteY1" fmla="*/ 199919 h 199919"/>
                <a:gd name="connsiteX2" fmla="*/ 88262 w 88262"/>
                <a:gd name="connsiteY2" fmla="*/ 168018 h 199919"/>
                <a:gd name="connsiteX3" fmla="*/ 88262 w 88262"/>
                <a:gd name="connsiteY3" fmla="*/ 0 h 199919"/>
                <a:gd name="connsiteX4" fmla="*/ 0 w 88262"/>
                <a:gd name="connsiteY4" fmla="*/ 0 h 199919"/>
                <a:gd name="connsiteX5" fmla="*/ 0 w 88262"/>
                <a:gd name="connsiteY5" fmla="*/ 199919 h 19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2" h="199919">
                  <a:moveTo>
                    <a:pt x="0" y="199919"/>
                  </a:moveTo>
                  <a:lnTo>
                    <a:pt x="1063" y="199919"/>
                  </a:lnTo>
                  <a:cubicBezTo>
                    <a:pt x="48917" y="199919"/>
                    <a:pt x="88262" y="185032"/>
                    <a:pt x="88262" y="168018"/>
                  </a:cubicBezTo>
                  <a:lnTo>
                    <a:pt x="88262" y="0"/>
                  </a:lnTo>
                  <a:lnTo>
                    <a:pt x="0" y="0"/>
                  </a:lnTo>
                  <a:lnTo>
                    <a:pt x="0" y="199919"/>
                  </a:lnTo>
                  <a:close/>
                </a:path>
              </a:pathLst>
            </a:custGeom>
            <a:solidFill>
              <a:srgbClr val="5AB4D9"/>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D5AC5004-9F2E-469D-891C-4DEA044C9B47}"/>
                </a:ext>
              </a:extLst>
            </p:cNvPr>
            <p:cNvSpPr/>
            <p:nvPr/>
          </p:nvSpPr>
          <p:spPr>
            <a:xfrm>
              <a:off x="6538960" y="5922128"/>
              <a:ext cx="174398" cy="63804"/>
            </a:xfrm>
            <a:custGeom>
              <a:avLst/>
              <a:gdLst>
                <a:gd name="connsiteX0" fmla="*/ 174398 w 174398"/>
                <a:gd name="connsiteY0" fmla="*/ 31902 h 63804"/>
                <a:gd name="connsiteX1" fmla="*/ 87200 w 174398"/>
                <a:gd name="connsiteY1" fmla="*/ 63805 h 63804"/>
                <a:gd name="connsiteX2" fmla="*/ 0 w 174398"/>
                <a:gd name="connsiteY2" fmla="*/ 31902 h 63804"/>
                <a:gd name="connsiteX3" fmla="*/ 87200 w 174398"/>
                <a:gd name="connsiteY3" fmla="*/ 0 h 63804"/>
                <a:gd name="connsiteX4" fmla="*/ 174398 w 174398"/>
                <a:gd name="connsiteY4" fmla="*/ 31902 h 63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98" h="63804">
                  <a:moveTo>
                    <a:pt x="174398" y="31902"/>
                  </a:moveTo>
                  <a:cubicBezTo>
                    <a:pt x="174398" y="48917"/>
                    <a:pt x="135053" y="63805"/>
                    <a:pt x="87200" y="63805"/>
                  </a:cubicBezTo>
                  <a:cubicBezTo>
                    <a:pt x="39346" y="63805"/>
                    <a:pt x="0" y="48917"/>
                    <a:pt x="0" y="31902"/>
                  </a:cubicBezTo>
                  <a:cubicBezTo>
                    <a:pt x="0" y="14888"/>
                    <a:pt x="39346" y="0"/>
                    <a:pt x="87200" y="0"/>
                  </a:cubicBezTo>
                  <a:cubicBezTo>
                    <a:pt x="135053" y="0"/>
                    <a:pt x="174398" y="13825"/>
                    <a:pt x="174398" y="31902"/>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Shape 10">
              <a:extLst>
                <a:ext uri="{FF2B5EF4-FFF2-40B4-BE49-F238E27FC236}">
                  <a16:creationId xmlns:a16="http://schemas.microsoft.com/office/drawing/2014/main" id="{27EB5A74-8FE6-4C64-A05E-9B96A760D8E4}"/>
                </a:ext>
              </a:extLst>
            </p:cNvPr>
            <p:cNvSpPr/>
            <p:nvPr/>
          </p:nvSpPr>
          <p:spPr>
            <a:xfrm>
              <a:off x="6557052" y="5930628"/>
              <a:ext cx="138242" cy="42536"/>
            </a:xfrm>
            <a:custGeom>
              <a:avLst/>
              <a:gdLst>
                <a:gd name="connsiteX0" fmla="*/ 138243 w 138242"/>
                <a:gd name="connsiteY0" fmla="*/ 21268 h 42536"/>
                <a:gd name="connsiteX1" fmla="*/ 69122 w 138242"/>
                <a:gd name="connsiteY1" fmla="*/ 42536 h 42536"/>
                <a:gd name="connsiteX2" fmla="*/ 0 w 138242"/>
                <a:gd name="connsiteY2" fmla="*/ 21268 h 42536"/>
                <a:gd name="connsiteX3" fmla="*/ 69122 w 138242"/>
                <a:gd name="connsiteY3" fmla="*/ 0 h 42536"/>
                <a:gd name="connsiteX4" fmla="*/ 138243 w 138242"/>
                <a:gd name="connsiteY4" fmla="*/ 21268 h 42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42" h="42536">
                  <a:moveTo>
                    <a:pt x="138243" y="21268"/>
                  </a:moveTo>
                  <a:cubicBezTo>
                    <a:pt x="138243" y="32966"/>
                    <a:pt x="107404" y="42536"/>
                    <a:pt x="69122" y="42536"/>
                  </a:cubicBezTo>
                  <a:cubicBezTo>
                    <a:pt x="30839" y="42536"/>
                    <a:pt x="0" y="32966"/>
                    <a:pt x="0" y="21268"/>
                  </a:cubicBezTo>
                  <a:cubicBezTo>
                    <a:pt x="0" y="9570"/>
                    <a:pt x="30839" y="0"/>
                    <a:pt x="69122" y="0"/>
                  </a:cubicBezTo>
                  <a:cubicBezTo>
                    <a:pt x="107404" y="0"/>
                    <a:pt x="138243" y="9570"/>
                    <a:pt x="138243" y="21268"/>
                  </a:cubicBezTo>
                  <a:close/>
                </a:path>
              </a:pathLst>
            </a:custGeom>
            <a:solidFill>
              <a:srgbClr val="7FBB42"/>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5057F193-30E1-4784-B400-A7190C31EA97}"/>
                </a:ext>
              </a:extLst>
            </p:cNvPr>
            <p:cNvSpPr/>
            <p:nvPr/>
          </p:nvSpPr>
          <p:spPr>
            <a:xfrm>
              <a:off x="6558110" y="5930628"/>
              <a:ext cx="138242" cy="34028"/>
            </a:xfrm>
            <a:custGeom>
              <a:avLst/>
              <a:gdLst>
                <a:gd name="connsiteX0" fmla="*/ 123355 w 138242"/>
                <a:gd name="connsiteY0" fmla="*/ 34029 h 34028"/>
                <a:gd name="connsiteX1" fmla="*/ 138243 w 138242"/>
                <a:gd name="connsiteY1" fmla="*/ 21268 h 34028"/>
                <a:gd name="connsiteX2" fmla="*/ 69121 w 138242"/>
                <a:gd name="connsiteY2" fmla="*/ 0 h 34028"/>
                <a:gd name="connsiteX3" fmla="*/ 0 w 138242"/>
                <a:gd name="connsiteY3" fmla="*/ 20205 h 34028"/>
                <a:gd name="connsiteX4" fmla="*/ 13825 w 138242"/>
                <a:gd name="connsiteY4" fmla="*/ 32966 h 34028"/>
                <a:gd name="connsiteX5" fmla="*/ 69121 w 138242"/>
                <a:gd name="connsiteY5" fmla="*/ 24458 h 34028"/>
                <a:gd name="connsiteX6" fmla="*/ 123355 w 138242"/>
                <a:gd name="connsiteY6" fmla="*/ 34029 h 3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42" h="34028">
                  <a:moveTo>
                    <a:pt x="123355" y="34029"/>
                  </a:moveTo>
                  <a:cubicBezTo>
                    <a:pt x="131862" y="30839"/>
                    <a:pt x="138243" y="25522"/>
                    <a:pt x="138243" y="21268"/>
                  </a:cubicBezTo>
                  <a:cubicBezTo>
                    <a:pt x="138243" y="9570"/>
                    <a:pt x="107404" y="0"/>
                    <a:pt x="69121" y="0"/>
                  </a:cubicBezTo>
                  <a:cubicBezTo>
                    <a:pt x="30839" y="0"/>
                    <a:pt x="0" y="8508"/>
                    <a:pt x="0" y="20205"/>
                  </a:cubicBezTo>
                  <a:cubicBezTo>
                    <a:pt x="0" y="25522"/>
                    <a:pt x="5317" y="29775"/>
                    <a:pt x="13825" y="32966"/>
                  </a:cubicBezTo>
                  <a:cubicBezTo>
                    <a:pt x="26585" y="27648"/>
                    <a:pt x="46790" y="24458"/>
                    <a:pt x="69121" y="24458"/>
                  </a:cubicBezTo>
                  <a:cubicBezTo>
                    <a:pt x="90389" y="25522"/>
                    <a:pt x="110595" y="28712"/>
                    <a:pt x="123355" y="34029"/>
                  </a:cubicBezTo>
                  <a:close/>
                </a:path>
              </a:pathLst>
            </a:custGeom>
            <a:solidFill>
              <a:srgbClr val="B8D433"/>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E1C1CE06-3F33-4DA4-A65B-909A110B4ACC}"/>
                </a:ext>
              </a:extLst>
            </p:cNvPr>
            <p:cNvSpPr/>
            <p:nvPr/>
          </p:nvSpPr>
          <p:spPr>
            <a:xfrm>
              <a:off x="6560225" y="6021032"/>
              <a:ext cx="37219" cy="55297"/>
            </a:xfrm>
            <a:custGeom>
              <a:avLst/>
              <a:gdLst>
                <a:gd name="connsiteX0" fmla="*/ 0 w 37219"/>
                <a:gd name="connsiteY0" fmla="*/ 53171 h 55297"/>
                <a:gd name="connsiteX1" fmla="*/ 0 w 37219"/>
                <a:gd name="connsiteY1" fmla="*/ 41474 h 55297"/>
                <a:gd name="connsiteX2" fmla="*/ 6380 w 37219"/>
                <a:gd name="connsiteY2" fmla="*/ 45727 h 55297"/>
                <a:gd name="connsiteX3" fmla="*/ 13825 w 37219"/>
                <a:gd name="connsiteY3" fmla="*/ 46791 h 55297"/>
                <a:gd name="connsiteX4" fmla="*/ 18078 w 37219"/>
                <a:gd name="connsiteY4" fmla="*/ 45727 h 55297"/>
                <a:gd name="connsiteX5" fmla="*/ 21269 w 37219"/>
                <a:gd name="connsiteY5" fmla="*/ 44663 h 55297"/>
                <a:gd name="connsiteX6" fmla="*/ 22332 w 37219"/>
                <a:gd name="connsiteY6" fmla="*/ 42536 h 55297"/>
                <a:gd name="connsiteX7" fmla="*/ 23396 w 37219"/>
                <a:gd name="connsiteY7" fmla="*/ 40410 h 55297"/>
                <a:gd name="connsiteX8" fmla="*/ 22332 w 37219"/>
                <a:gd name="connsiteY8" fmla="*/ 37219 h 55297"/>
                <a:gd name="connsiteX9" fmla="*/ 20205 w 37219"/>
                <a:gd name="connsiteY9" fmla="*/ 35093 h 55297"/>
                <a:gd name="connsiteX10" fmla="*/ 17015 w 37219"/>
                <a:gd name="connsiteY10" fmla="*/ 32966 h 55297"/>
                <a:gd name="connsiteX11" fmla="*/ 12761 w 37219"/>
                <a:gd name="connsiteY11" fmla="*/ 30839 h 55297"/>
                <a:gd name="connsiteX12" fmla="*/ 3191 w 37219"/>
                <a:gd name="connsiteY12" fmla="*/ 24458 h 55297"/>
                <a:gd name="connsiteX13" fmla="*/ 0 w 37219"/>
                <a:gd name="connsiteY13" fmla="*/ 15952 h 55297"/>
                <a:gd name="connsiteX14" fmla="*/ 1064 w 37219"/>
                <a:gd name="connsiteY14" fmla="*/ 9571 h 55297"/>
                <a:gd name="connsiteX15" fmla="*/ 5318 w 37219"/>
                <a:gd name="connsiteY15" fmla="*/ 4254 h 55297"/>
                <a:gd name="connsiteX16" fmla="*/ 11698 w 37219"/>
                <a:gd name="connsiteY16" fmla="*/ 1064 h 55297"/>
                <a:gd name="connsiteX17" fmla="*/ 20205 w 37219"/>
                <a:gd name="connsiteY17" fmla="*/ 0 h 55297"/>
                <a:gd name="connsiteX18" fmla="*/ 27649 w 37219"/>
                <a:gd name="connsiteY18" fmla="*/ 1064 h 55297"/>
                <a:gd name="connsiteX19" fmla="*/ 34030 w 37219"/>
                <a:gd name="connsiteY19" fmla="*/ 2127 h 55297"/>
                <a:gd name="connsiteX20" fmla="*/ 34030 w 37219"/>
                <a:gd name="connsiteY20" fmla="*/ 12761 h 55297"/>
                <a:gd name="connsiteX21" fmla="*/ 30839 w 37219"/>
                <a:gd name="connsiteY21" fmla="*/ 11697 h 55297"/>
                <a:gd name="connsiteX22" fmla="*/ 27649 w 37219"/>
                <a:gd name="connsiteY22" fmla="*/ 10635 h 55297"/>
                <a:gd name="connsiteX23" fmla="*/ 24458 w 37219"/>
                <a:gd name="connsiteY23" fmla="*/ 9571 h 55297"/>
                <a:gd name="connsiteX24" fmla="*/ 21269 w 37219"/>
                <a:gd name="connsiteY24" fmla="*/ 9571 h 55297"/>
                <a:gd name="connsiteX25" fmla="*/ 18078 w 37219"/>
                <a:gd name="connsiteY25" fmla="*/ 9571 h 55297"/>
                <a:gd name="connsiteX26" fmla="*/ 15952 w 37219"/>
                <a:gd name="connsiteY26" fmla="*/ 10635 h 55297"/>
                <a:gd name="connsiteX27" fmla="*/ 13825 w 37219"/>
                <a:gd name="connsiteY27" fmla="*/ 11697 h 55297"/>
                <a:gd name="connsiteX28" fmla="*/ 12761 w 37219"/>
                <a:gd name="connsiteY28" fmla="*/ 13825 h 55297"/>
                <a:gd name="connsiteX29" fmla="*/ 13825 w 37219"/>
                <a:gd name="connsiteY29" fmla="*/ 15952 h 55297"/>
                <a:gd name="connsiteX30" fmla="*/ 15952 w 37219"/>
                <a:gd name="connsiteY30" fmla="*/ 18078 h 55297"/>
                <a:gd name="connsiteX31" fmla="*/ 19141 w 37219"/>
                <a:gd name="connsiteY31" fmla="*/ 20205 h 55297"/>
                <a:gd name="connsiteX32" fmla="*/ 23396 w 37219"/>
                <a:gd name="connsiteY32" fmla="*/ 22332 h 55297"/>
                <a:gd name="connsiteX33" fmla="*/ 28713 w 37219"/>
                <a:gd name="connsiteY33" fmla="*/ 25522 h 55297"/>
                <a:gd name="connsiteX34" fmla="*/ 32966 w 37219"/>
                <a:gd name="connsiteY34" fmla="*/ 28713 h 55297"/>
                <a:gd name="connsiteX35" fmla="*/ 36156 w 37219"/>
                <a:gd name="connsiteY35" fmla="*/ 32966 h 55297"/>
                <a:gd name="connsiteX36" fmla="*/ 37219 w 37219"/>
                <a:gd name="connsiteY36" fmla="*/ 38283 h 55297"/>
                <a:gd name="connsiteX37" fmla="*/ 36156 w 37219"/>
                <a:gd name="connsiteY37" fmla="*/ 45727 h 55297"/>
                <a:gd name="connsiteX38" fmla="*/ 31902 w 37219"/>
                <a:gd name="connsiteY38" fmla="*/ 51044 h 55297"/>
                <a:gd name="connsiteX39" fmla="*/ 24458 w 37219"/>
                <a:gd name="connsiteY39" fmla="*/ 54234 h 55297"/>
                <a:gd name="connsiteX40" fmla="*/ 17015 w 37219"/>
                <a:gd name="connsiteY40" fmla="*/ 55297 h 55297"/>
                <a:gd name="connsiteX41" fmla="*/ 8508 w 37219"/>
                <a:gd name="connsiteY41" fmla="*/ 54234 h 55297"/>
                <a:gd name="connsiteX42" fmla="*/ 0 w 37219"/>
                <a:gd name="connsiteY42" fmla="*/ 53171 h 5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7219" h="55297">
                  <a:moveTo>
                    <a:pt x="0" y="53171"/>
                  </a:moveTo>
                  <a:lnTo>
                    <a:pt x="0" y="41474"/>
                  </a:lnTo>
                  <a:cubicBezTo>
                    <a:pt x="2127" y="43600"/>
                    <a:pt x="4254" y="44663"/>
                    <a:pt x="6380" y="45727"/>
                  </a:cubicBezTo>
                  <a:cubicBezTo>
                    <a:pt x="9571" y="46791"/>
                    <a:pt x="11697" y="46791"/>
                    <a:pt x="13825" y="46791"/>
                  </a:cubicBezTo>
                  <a:cubicBezTo>
                    <a:pt x="14888" y="46791"/>
                    <a:pt x="15952" y="46791"/>
                    <a:pt x="18078" y="45727"/>
                  </a:cubicBezTo>
                  <a:cubicBezTo>
                    <a:pt x="19141" y="45727"/>
                    <a:pt x="20205" y="44663"/>
                    <a:pt x="21269" y="44663"/>
                  </a:cubicBezTo>
                  <a:cubicBezTo>
                    <a:pt x="22332" y="43600"/>
                    <a:pt x="22332" y="43600"/>
                    <a:pt x="22332" y="42536"/>
                  </a:cubicBezTo>
                  <a:cubicBezTo>
                    <a:pt x="22332" y="41474"/>
                    <a:pt x="23396" y="41474"/>
                    <a:pt x="23396" y="40410"/>
                  </a:cubicBezTo>
                  <a:cubicBezTo>
                    <a:pt x="23396" y="39346"/>
                    <a:pt x="23396" y="38283"/>
                    <a:pt x="22332" y="37219"/>
                  </a:cubicBezTo>
                  <a:cubicBezTo>
                    <a:pt x="21269" y="36156"/>
                    <a:pt x="21269" y="36156"/>
                    <a:pt x="20205" y="35093"/>
                  </a:cubicBezTo>
                  <a:cubicBezTo>
                    <a:pt x="19141" y="34030"/>
                    <a:pt x="18078" y="34030"/>
                    <a:pt x="17015" y="32966"/>
                  </a:cubicBezTo>
                  <a:cubicBezTo>
                    <a:pt x="15952" y="31902"/>
                    <a:pt x="14888" y="31902"/>
                    <a:pt x="12761" y="30839"/>
                  </a:cubicBezTo>
                  <a:cubicBezTo>
                    <a:pt x="8508" y="28713"/>
                    <a:pt x="5318" y="26586"/>
                    <a:pt x="3191" y="24458"/>
                  </a:cubicBezTo>
                  <a:cubicBezTo>
                    <a:pt x="1064" y="21269"/>
                    <a:pt x="0" y="19141"/>
                    <a:pt x="0" y="15952"/>
                  </a:cubicBezTo>
                  <a:cubicBezTo>
                    <a:pt x="0" y="12761"/>
                    <a:pt x="1064" y="10635"/>
                    <a:pt x="1064" y="9571"/>
                  </a:cubicBezTo>
                  <a:cubicBezTo>
                    <a:pt x="2127" y="7444"/>
                    <a:pt x="4254" y="6380"/>
                    <a:pt x="5318" y="4254"/>
                  </a:cubicBezTo>
                  <a:cubicBezTo>
                    <a:pt x="7444" y="3191"/>
                    <a:pt x="9571" y="2127"/>
                    <a:pt x="11698" y="1064"/>
                  </a:cubicBezTo>
                  <a:cubicBezTo>
                    <a:pt x="14888" y="0"/>
                    <a:pt x="17015" y="0"/>
                    <a:pt x="20205" y="0"/>
                  </a:cubicBezTo>
                  <a:cubicBezTo>
                    <a:pt x="23396" y="0"/>
                    <a:pt x="25522" y="0"/>
                    <a:pt x="27649" y="1064"/>
                  </a:cubicBezTo>
                  <a:cubicBezTo>
                    <a:pt x="29776" y="1064"/>
                    <a:pt x="31902" y="2127"/>
                    <a:pt x="34030" y="2127"/>
                  </a:cubicBezTo>
                  <a:lnTo>
                    <a:pt x="34030" y="12761"/>
                  </a:lnTo>
                  <a:cubicBezTo>
                    <a:pt x="32966" y="11697"/>
                    <a:pt x="31902" y="11697"/>
                    <a:pt x="30839" y="11697"/>
                  </a:cubicBezTo>
                  <a:cubicBezTo>
                    <a:pt x="29776" y="10635"/>
                    <a:pt x="28713" y="10635"/>
                    <a:pt x="27649" y="10635"/>
                  </a:cubicBezTo>
                  <a:cubicBezTo>
                    <a:pt x="26586" y="10635"/>
                    <a:pt x="25522" y="9571"/>
                    <a:pt x="24458" y="9571"/>
                  </a:cubicBezTo>
                  <a:cubicBezTo>
                    <a:pt x="23396" y="9571"/>
                    <a:pt x="22332" y="9571"/>
                    <a:pt x="21269" y="9571"/>
                  </a:cubicBezTo>
                  <a:cubicBezTo>
                    <a:pt x="20205" y="9571"/>
                    <a:pt x="18078" y="9571"/>
                    <a:pt x="18078" y="9571"/>
                  </a:cubicBezTo>
                  <a:cubicBezTo>
                    <a:pt x="17015" y="9571"/>
                    <a:pt x="15952" y="10635"/>
                    <a:pt x="15952" y="10635"/>
                  </a:cubicBezTo>
                  <a:cubicBezTo>
                    <a:pt x="14888" y="11697"/>
                    <a:pt x="14888" y="11697"/>
                    <a:pt x="13825" y="11697"/>
                  </a:cubicBezTo>
                  <a:cubicBezTo>
                    <a:pt x="12761" y="12761"/>
                    <a:pt x="12761" y="12761"/>
                    <a:pt x="12761" y="13825"/>
                  </a:cubicBezTo>
                  <a:cubicBezTo>
                    <a:pt x="12761" y="14888"/>
                    <a:pt x="12761" y="14888"/>
                    <a:pt x="13825" y="15952"/>
                  </a:cubicBezTo>
                  <a:cubicBezTo>
                    <a:pt x="14888" y="17015"/>
                    <a:pt x="14888" y="17015"/>
                    <a:pt x="15952" y="18078"/>
                  </a:cubicBezTo>
                  <a:cubicBezTo>
                    <a:pt x="17015" y="19141"/>
                    <a:pt x="18078" y="19141"/>
                    <a:pt x="19141" y="20205"/>
                  </a:cubicBezTo>
                  <a:cubicBezTo>
                    <a:pt x="20205" y="21269"/>
                    <a:pt x="22332" y="21269"/>
                    <a:pt x="23396" y="22332"/>
                  </a:cubicBezTo>
                  <a:cubicBezTo>
                    <a:pt x="25522" y="23396"/>
                    <a:pt x="27649" y="24458"/>
                    <a:pt x="28713" y="25522"/>
                  </a:cubicBezTo>
                  <a:cubicBezTo>
                    <a:pt x="30839" y="26586"/>
                    <a:pt x="31902" y="27649"/>
                    <a:pt x="32966" y="28713"/>
                  </a:cubicBezTo>
                  <a:cubicBezTo>
                    <a:pt x="34030" y="29775"/>
                    <a:pt x="35093" y="31902"/>
                    <a:pt x="36156" y="32966"/>
                  </a:cubicBezTo>
                  <a:cubicBezTo>
                    <a:pt x="37219" y="34030"/>
                    <a:pt x="37219" y="36156"/>
                    <a:pt x="37219" y="38283"/>
                  </a:cubicBezTo>
                  <a:cubicBezTo>
                    <a:pt x="37219" y="41474"/>
                    <a:pt x="36156" y="43600"/>
                    <a:pt x="36156" y="45727"/>
                  </a:cubicBezTo>
                  <a:cubicBezTo>
                    <a:pt x="35093" y="47853"/>
                    <a:pt x="32966" y="48917"/>
                    <a:pt x="31902" y="51044"/>
                  </a:cubicBezTo>
                  <a:cubicBezTo>
                    <a:pt x="29776" y="52107"/>
                    <a:pt x="27649" y="53171"/>
                    <a:pt x="24458" y="54234"/>
                  </a:cubicBezTo>
                  <a:cubicBezTo>
                    <a:pt x="21269" y="55297"/>
                    <a:pt x="20205" y="55297"/>
                    <a:pt x="17015" y="55297"/>
                  </a:cubicBezTo>
                  <a:cubicBezTo>
                    <a:pt x="14888" y="55297"/>
                    <a:pt x="11697" y="55297"/>
                    <a:pt x="8508" y="54234"/>
                  </a:cubicBezTo>
                  <a:cubicBezTo>
                    <a:pt x="4254" y="55297"/>
                    <a:pt x="2127" y="54234"/>
                    <a:pt x="0" y="53171"/>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27EEBCC-0E79-44FA-99E3-210FD8B75A4D}"/>
                </a:ext>
              </a:extLst>
            </p:cNvPr>
            <p:cNvSpPr/>
            <p:nvPr/>
          </p:nvSpPr>
          <p:spPr>
            <a:xfrm>
              <a:off x="6601698" y="6023148"/>
              <a:ext cx="56360" cy="62741"/>
            </a:xfrm>
            <a:custGeom>
              <a:avLst/>
              <a:gdLst>
                <a:gd name="connsiteX0" fmla="*/ 25522 w 56360"/>
                <a:gd name="connsiteY0" fmla="*/ 54234 h 62741"/>
                <a:gd name="connsiteX1" fmla="*/ 7444 w 56360"/>
                <a:gd name="connsiteY1" fmla="*/ 46790 h 62741"/>
                <a:gd name="connsiteX2" fmla="*/ 0 w 56360"/>
                <a:gd name="connsiteY2" fmla="*/ 27648 h 62741"/>
                <a:gd name="connsiteX3" fmla="*/ 7444 w 56360"/>
                <a:gd name="connsiteY3" fmla="*/ 7444 h 62741"/>
                <a:gd name="connsiteX4" fmla="*/ 26586 w 56360"/>
                <a:gd name="connsiteY4" fmla="*/ 0 h 62741"/>
                <a:gd name="connsiteX5" fmla="*/ 44663 w 56360"/>
                <a:gd name="connsiteY5" fmla="*/ 7444 h 62741"/>
                <a:gd name="connsiteX6" fmla="*/ 52107 w 56360"/>
                <a:gd name="connsiteY6" fmla="*/ 27648 h 62741"/>
                <a:gd name="connsiteX7" fmla="*/ 44663 w 56360"/>
                <a:gd name="connsiteY7" fmla="*/ 47853 h 62741"/>
                <a:gd name="connsiteX8" fmla="*/ 43600 w 56360"/>
                <a:gd name="connsiteY8" fmla="*/ 48917 h 62741"/>
                <a:gd name="connsiteX9" fmla="*/ 42536 w 56360"/>
                <a:gd name="connsiteY9" fmla="*/ 49980 h 62741"/>
                <a:gd name="connsiteX10" fmla="*/ 56361 w 56360"/>
                <a:gd name="connsiteY10" fmla="*/ 62741 h 62741"/>
                <a:gd name="connsiteX11" fmla="*/ 39346 w 56360"/>
                <a:gd name="connsiteY11" fmla="*/ 62741 h 62741"/>
                <a:gd name="connsiteX12" fmla="*/ 32966 w 56360"/>
                <a:gd name="connsiteY12" fmla="*/ 55297 h 62741"/>
                <a:gd name="connsiteX13" fmla="*/ 25522 w 56360"/>
                <a:gd name="connsiteY13" fmla="*/ 54234 h 62741"/>
                <a:gd name="connsiteX14" fmla="*/ 26586 w 56360"/>
                <a:gd name="connsiteY14" fmla="*/ 9570 h 62741"/>
                <a:gd name="connsiteX15" fmla="*/ 15952 w 56360"/>
                <a:gd name="connsiteY15" fmla="*/ 13825 h 62741"/>
                <a:gd name="connsiteX16" fmla="*/ 12761 w 56360"/>
                <a:gd name="connsiteY16" fmla="*/ 26586 h 62741"/>
                <a:gd name="connsiteX17" fmla="*/ 15952 w 56360"/>
                <a:gd name="connsiteY17" fmla="*/ 39346 h 62741"/>
                <a:gd name="connsiteX18" fmla="*/ 25522 w 56360"/>
                <a:gd name="connsiteY18" fmla="*/ 43600 h 62741"/>
                <a:gd name="connsiteX19" fmla="*/ 35093 w 56360"/>
                <a:gd name="connsiteY19" fmla="*/ 39346 h 62741"/>
                <a:gd name="connsiteX20" fmla="*/ 38283 w 56360"/>
                <a:gd name="connsiteY20" fmla="*/ 26586 h 62741"/>
                <a:gd name="connsiteX21" fmla="*/ 35093 w 56360"/>
                <a:gd name="connsiteY21" fmla="*/ 13825 h 62741"/>
                <a:gd name="connsiteX22" fmla="*/ 26586 w 56360"/>
                <a:gd name="connsiteY22" fmla="*/ 9570 h 6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60" h="62741">
                  <a:moveTo>
                    <a:pt x="25522" y="54234"/>
                  </a:moveTo>
                  <a:cubicBezTo>
                    <a:pt x="18079" y="54234"/>
                    <a:pt x="11698" y="51044"/>
                    <a:pt x="7444" y="46790"/>
                  </a:cubicBezTo>
                  <a:cubicBezTo>
                    <a:pt x="2127" y="42536"/>
                    <a:pt x="0" y="35092"/>
                    <a:pt x="0" y="27648"/>
                  </a:cubicBezTo>
                  <a:cubicBezTo>
                    <a:pt x="0" y="19141"/>
                    <a:pt x="2127" y="12761"/>
                    <a:pt x="7444" y="7444"/>
                  </a:cubicBezTo>
                  <a:cubicBezTo>
                    <a:pt x="11698" y="2127"/>
                    <a:pt x="18079" y="0"/>
                    <a:pt x="26586" y="0"/>
                  </a:cubicBezTo>
                  <a:cubicBezTo>
                    <a:pt x="34030" y="0"/>
                    <a:pt x="40410" y="2127"/>
                    <a:pt x="44663" y="7444"/>
                  </a:cubicBezTo>
                  <a:cubicBezTo>
                    <a:pt x="49980" y="12761"/>
                    <a:pt x="52107" y="19141"/>
                    <a:pt x="52107" y="27648"/>
                  </a:cubicBezTo>
                  <a:cubicBezTo>
                    <a:pt x="52107" y="36156"/>
                    <a:pt x="49980" y="42536"/>
                    <a:pt x="44663" y="47853"/>
                  </a:cubicBezTo>
                  <a:cubicBezTo>
                    <a:pt x="44663" y="47853"/>
                    <a:pt x="44663" y="47853"/>
                    <a:pt x="43600" y="48917"/>
                  </a:cubicBezTo>
                  <a:cubicBezTo>
                    <a:pt x="43600" y="48917"/>
                    <a:pt x="43600" y="48917"/>
                    <a:pt x="42536" y="49980"/>
                  </a:cubicBezTo>
                  <a:lnTo>
                    <a:pt x="56361" y="62741"/>
                  </a:lnTo>
                  <a:lnTo>
                    <a:pt x="39346" y="62741"/>
                  </a:lnTo>
                  <a:lnTo>
                    <a:pt x="32966" y="55297"/>
                  </a:lnTo>
                  <a:cubicBezTo>
                    <a:pt x="30839" y="54234"/>
                    <a:pt x="28713" y="54234"/>
                    <a:pt x="25522" y="54234"/>
                  </a:cubicBezTo>
                  <a:close/>
                  <a:moveTo>
                    <a:pt x="26586" y="9570"/>
                  </a:moveTo>
                  <a:cubicBezTo>
                    <a:pt x="22332" y="9570"/>
                    <a:pt x="19141" y="10634"/>
                    <a:pt x="15952" y="13825"/>
                  </a:cubicBezTo>
                  <a:cubicBezTo>
                    <a:pt x="12761" y="17014"/>
                    <a:pt x="12761" y="21268"/>
                    <a:pt x="12761" y="26586"/>
                  </a:cubicBezTo>
                  <a:cubicBezTo>
                    <a:pt x="12761" y="31902"/>
                    <a:pt x="13825" y="36156"/>
                    <a:pt x="15952" y="39346"/>
                  </a:cubicBezTo>
                  <a:cubicBezTo>
                    <a:pt x="19141" y="42536"/>
                    <a:pt x="21269" y="43600"/>
                    <a:pt x="25522" y="43600"/>
                  </a:cubicBezTo>
                  <a:cubicBezTo>
                    <a:pt x="29776" y="43600"/>
                    <a:pt x="32966" y="42536"/>
                    <a:pt x="35093" y="39346"/>
                  </a:cubicBezTo>
                  <a:cubicBezTo>
                    <a:pt x="37219" y="36156"/>
                    <a:pt x="38283" y="31902"/>
                    <a:pt x="38283" y="26586"/>
                  </a:cubicBezTo>
                  <a:cubicBezTo>
                    <a:pt x="38283" y="21268"/>
                    <a:pt x="37219" y="17014"/>
                    <a:pt x="35093" y="13825"/>
                  </a:cubicBezTo>
                  <a:cubicBezTo>
                    <a:pt x="34030" y="10634"/>
                    <a:pt x="30839" y="9570"/>
                    <a:pt x="26586" y="9570"/>
                  </a:cubicBez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245F943C-6068-4387-8687-367E8621100D}"/>
                </a:ext>
              </a:extLst>
            </p:cNvPr>
            <p:cNvSpPr/>
            <p:nvPr/>
          </p:nvSpPr>
          <p:spPr>
            <a:xfrm>
              <a:off x="6662320" y="6023148"/>
              <a:ext cx="31902" cy="53170"/>
            </a:xfrm>
            <a:custGeom>
              <a:avLst/>
              <a:gdLst>
                <a:gd name="connsiteX0" fmla="*/ 31902 w 31902"/>
                <a:gd name="connsiteY0" fmla="*/ 53170 h 53170"/>
                <a:gd name="connsiteX1" fmla="*/ 0 w 31902"/>
                <a:gd name="connsiteY1" fmla="*/ 53170 h 53170"/>
                <a:gd name="connsiteX2" fmla="*/ 0 w 31902"/>
                <a:gd name="connsiteY2" fmla="*/ 0 h 53170"/>
                <a:gd name="connsiteX3" fmla="*/ 11697 w 31902"/>
                <a:gd name="connsiteY3" fmla="*/ 0 h 53170"/>
                <a:gd name="connsiteX4" fmla="*/ 11697 w 31902"/>
                <a:gd name="connsiteY4" fmla="*/ 43600 h 53170"/>
                <a:gd name="connsiteX5" fmla="*/ 31902 w 31902"/>
                <a:gd name="connsiteY5" fmla="*/ 43600 h 53170"/>
                <a:gd name="connsiteX6" fmla="*/ 31902 w 31902"/>
                <a:gd name="connsiteY6" fmla="*/ 53170 h 5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2" h="53170">
                  <a:moveTo>
                    <a:pt x="31902" y="53170"/>
                  </a:moveTo>
                  <a:lnTo>
                    <a:pt x="0" y="53170"/>
                  </a:lnTo>
                  <a:lnTo>
                    <a:pt x="0" y="0"/>
                  </a:lnTo>
                  <a:lnTo>
                    <a:pt x="11697" y="0"/>
                  </a:lnTo>
                  <a:lnTo>
                    <a:pt x="11697" y="43600"/>
                  </a:lnTo>
                  <a:lnTo>
                    <a:pt x="31902" y="43600"/>
                  </a:lnTo>
                  <a:lnTo>
                    <a:pt x="31902" y="53170"/>
                  </a:lnTo>
                  <a:close/>
                </a:path>
              </a:pathLst>
            </a:custGeom>
            <a:solidFill>
              <a:srgbClr val="FFFFFF"/>
            </a:solidFill>
            <a:ln w="93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6" name="Freeform 60" descr="Azure SQL Database">
            <a:extLst>
              <a:ext uri="{FF2B5EF4-FFF2-40B4-BE49-F238E27FC236}">
                <a16:creationId xmlns:a16="http://schemas.microsoft.com/office/drawing/2014/main" id="{6265AA7F-62A0-4E76-9076-CAC88344460B}"/>
              </a:ext>
            </a:extLst>
          </p:cNvPr>
          <p:cNvSpPr>
            <a:spLocks noChangeAspect="1"/>
          </p:cNvSpPr>
          <p:nvPr/>
        </p:nvSpPr>
        <p:spPr bwMode="auto">
          <a:xfrm>
            <a:off x="9061252" y="3212152"/>
            <a:ext cx="761121" cy="482023"/>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222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08378928"/>
              </p:ext>
            </p:extLst>
          </p:nvPr>
        </p:nvGraphicFramePr>
        <p:xfrm>
          <a:off x="655638" y="1408113"/>
          <a:ext cx="10880725" cy="2782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09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Data Discovery and Classification</a:t>
            </a:r>
          </a:p>
          <a:p>
            <a:pPr marL="571500" lvl="1" indent="-342900">
              <a:buFont typeface="Arial" panose="020B0604020202020204" pitchFamily="34" charset="0"/>
              <a:buChar char="•"/>
            </a:pPr>
            <a:r>
              <a:rPr lang="en-US"/>
              <a:t>Classify your SQL Databa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811236764"/>
      </p:ext>
    </p:extLst>
  </p:cSld>
  <p:clrMapOvr>
    <a:masterClrMapping/>
  </p:clrMapOvr>
  <p:transition spd="slow"/>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106C1-85EA-48C4-B450-8E63694F8E1A}"/>
              </a:ext>
            </a:extLst>
          </p:cNvPr>
          <p:cNvSpPr>
            <a:spLocks noGrp="1"/>
          </p:cNvSpPr>
          <p:nvPr>
            <p:ph type="title"/>
          </p:nvPr>
        </p:nvSpPr>
        <p:spPr>
          <a:xfrm>
            <a:off x="655638" y="320040"/>
            <a:ext cx="10880725" cy="461665"/>
          </a:xfrm>
        </p:spPr>
        <p:txBody>
          <a:bodyPr/>
          <a:lstStyle/>
          <a:p>
            <a:r>
              <a:rPr lang="en-US"/>
              <a:t>SQL Vulnerability Assessment</a:t>
            </a:r>
          </a:p>
        </p:txBody>
      </p:sp>
      <p:graphicFrame>
        <p:nvGraphicFramePr>
          <p:cNvPr id="4" name="Diagram 3">
            <a:extLst>
              <a:ext uri="{FF2B5EF4-FFF2-40B4-BE49-F238E27FC236}">
                <a16:creationId xmlns:a16="http://schemas.microsoft.com/office/drawing/2014/main" id="{8B5E8976-92CB-4CCC-A404-C14C84832708}"/>
              </a:ext>
            </a:extLst>
          </p:cNvPr>
          <p:cNvGraphicFramePr/>
          <p:nvPr>
            <p:extLst>
              <p:ext uri="{D42A27DB-BD31-4B8C-83A1-F6EECF244321}">
                <p14:modId xmlns:p14="http://schemas.microsoft.com/office/powerpoint/2010/main" val="4179437912"/>
              </p:ext>
            </p:extLst>
          </p:nvPr>
        </p:nvGraphicFramePr>
        <p:xfrm>
          <a:off x="636271" y="1734829"/>
          <a:ext cx="10900091" cy="30733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77633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106C1-85EA-48C4-B450-8E63694F8E1A}"/>
              </a:ext>
            </a:extLst>
          </p:cNvPr>
          <p:cNvSpPr>
            <a:spLocks noGrp="1"/>
          </p:cNvSpPr>
          <p:nvPr>
            <p:ph type="title"/>
          </p:nvPr>
        </p:nvSpPr>
        <p:spPr/>
        <p:txBody>
          <a:bodyPr/>
          <a:lstStyle/>
          <a:p>
            <a:r>
              <a:rPr lang="en-US"/>
              <a:t>SQL Vulnerability Assessment (continued)</a:t>
            </a:r>
          </a:p>
        </p:txBody>
      </p:sp>
      <p:sp>
        <p:nvSpPr>
          <p:cNvPr id="4" name="TextBox 3">
            <a:extLst>
              <a:ext uri="{FF2B5EF4-FFF2-40B4-BE49-F238E27FC236}">
                <a16:creationId xmlns:a16="http://schemas.microsoft.com/office/drawing/2014/main" id="{C36E5CD0-4773-4337-9B95-4F9A5851157A}"/>
              </a:ext>
            </a:extLst>
          </p:cNvPr>
          <p:cNvSpPr txBox="1"/>
          <p:nvPr/>
        </p:nvSpPr>
        <p:spPr>
          <a:xfrm>
            <a:off x="6518785" y="5593824"/>
            <a:ext cx="1090547" cy="415498"/>
          </a:xfrm>
          <a:prstGeom prst="rect">
            <a:avLst/>
          </a:prstGeom>
          <a:noFill/>
        </p:spPr>
        <p:txBody>
          <a:bodyPr wrap="square" lIns="91440" tIns="45720" rIns="91440" bIns="45720" rtlCol="0">
            <a:spAutoFit/>
          </a:bodyPr>
          <a:lstStyle/>
          <a:p>
            <a:pPr marL="0" marR="0" lvl="0" indent="0" algn="ctr" defTabSz="932503"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rPr>
              <a:t>Azure SQL Database</a:t>
            </a:r>
          </a:p>
        </p:txBody>
      </p:sp>
      <p:sp>
        <p:nvSpPr>
          <p:cNvPr id="5" name="Rectangle 4">
            <a:extLst>
              <a:ext uri="{FF2B5EF4-FFF2-40B4-BE49-F238E27FC236}">
                <a16:creationId xmlns:a16="http://schemas.microsoft.com/office/drawing/2014/main" id="{5AD64875-13A7-4028-9CE6-331163CA1021}"/>
              </a:ext>
            </a:extLst>
          </p:cNvPr>
          <p:cNvSpPr/>
          <p:nvPr/>
        </p:nvSpPr>
        <p:spPr>
          <a:xfrm>
            <a:off x="6142033" y="6091539"/>
            <a:ext cx="1945906" cy="276999"/>
          </a:xfrm>
          <a:prstGeom prst="rect">
            <a:avLst/>
          </a:prstGeom>
          <a:noFill/>
          <a:ln>
            <a:noFill/>
          </a:ln>
        </p:spPr>
        <p:txBody>
          <a:bodyPr wrap="square" lIns="91440" tIns="45720" rIns="89630" bIns="4572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rPr>
              <a:t>Vulnerability Assessment</a:t>
            </a:r>
          </a:p>
        </p:txBody>
      </p:sp>
      <p:sp>
        <p:nvSpPr>
          <p:cNvPr id="6" name="Rectangle 5">
            <a:extLst>
              <a:ext uri="{FF2B5EF4-FFF2-40B4-BE49-F238E27FC236}">
                <a16:creationId xmlns:a16="http://schemas.microsoft.com/office/drawing/2014/main" id="{8583C35F-775E-4D15-9A03-3B57940515D0}"/>
              </a:ext>
            </a:extLst>
          </p:cNvPr>
          <p:cNvSpPr/>
          <p:nvPr/>
        </p:nvSpPr>
        <p:spPr bwMode="auto">
          <a:xfrm>
            <a:off x="10215982" y="6091539"/>
            <a:ext cx="1455448" cy="276999"/>
          </a:xfrm>
          <a:prstGeom prst="rect">
            <a:avLst/>
          </a:prstGeom>
          <a:noFill/>
          <a:ln>
            <a:noFill/>
          </a:ln>
        </p:spPr>
        <p:txBody>
          <a:bodyPr wrap="square" lIns="91440" tIns="45720" rIns="8963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rPr>
              <a:t>Developer/DBA </a:t>
            </a:r>
          </a:p>
        </p:txBody>
      </p:sp>
      <p:sp>
        <p:nvSpPr>
          <p:cNvPr id="7" name="TextBox 6">
            <a:extLst>
              <a:ext uri="{FF2B5EF4-FFF2-40B4-BE49-F238E27FC236}">
                <a16:creationId xmlns:a16="http://schemas.microsoft.com/office/drawing/2014/main" id="{9F12974E-E2B9-4462-B8B2-CE67F9DB6AAC}"/>
              </a:ext>
            </a:extLst>
          </p:cNvPr>
          <p:cNvSpPr txBox="1"/>
          <p:nvPr/>
        </p:nvSpPr>
        <p:spPr>
          <a:xfrm>
            <a:off x="7979703" y="5237923"/>
            <a:ext cx="2447666" cy="523220"/>
          </a:xfrm>
          <a:prstGeom prst="rect">
            <a:avLst/>
          </a:prstGeom>
          <a:noFill/>
          <a:ln>
            <a:noFill/>
          </a:ln>
        </p:spPr>
        <p:txBody>
          <a:bodyPr wrap="square" rtlCol="0">
            <a:spAutoFit/>
          </a:bodyPr>
          <a:lstStyle/>
          <a:p>
            <a:pPr marL="0" lvl="2" defTabSz="609198">
              <a:spcBef>
                <a:spcPts val="588"/>
              </a:spcBef>
              <a:spcAft>
                <a:spcPts val="588"/>
              </a:spcAft>
              <a:defRPr/>
            </a:pPr>
            <a:r>
              <a:rPr lang="en-US" sz="14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Identifies, tracks, and resolves SQL security vulnerabilities</a:t>
            </a:r>
          </a:p>
        </p:txBody>
      </p:sp>
      <p:pic>
        <p:nvPicPr>
          <p:cNvPr id="8" name="Picture 7">
            <a:extLst>
              <a:ext uri="{FF2B5EF4-FFF2-40B4-BE49-F238E27FC236}">
                <a16:creationId xmlns:a16="http://schemas.microsoft.com/office/drawing/2014/main" id="{D23E615F-4B80-4486-B8EF-BD5ACB26F170}"/>
              </a:ext>
            </a:extLst>
          </p:cNvPr>
          <p:cNvPicPr>
            <a:picLocks noChangeAspect="1"/>
          </p:cNvPicPr>
          <p:nvPr/>
        </p:nvPicPr>
        <p:blipFill>
          <a:blip r:embed="rId3"/>
          <a:stretch>
            <a:fillRect/>
          </a:stretch>
        </p:blipFill>
        <p:spPr>
          <a:xfrm>
            <a:off x="5867400" y="1524000"/>
            <a:ext cx="4762520" cy="2613622"/>
          </a:xfrm>
          <a:prstGeom prst="rect">
            <a:avLst/>
          </a:prstGeom>
        </p:spPr>
      </p:pic>
      <p:pic>
        <p:nvPicPr>
          <p:cNvPr id="9" name="Picture 8">
            <a:extLst>
              <a:ext uri="{FF2B5EF4-FFF2-40B4-BE49-F238E27FC236}">
                <a16:creationId xmlns:a16="http://schemas.microsoft.com/office/drawing/2014/main" id="{6F09E696-8EAE-429A-92CB-D9E3F1D0AA32}"/>
              </a:ext>
            </a:extLst>
          </p:cNvPr>
          <p:cNvPicPr>
            <a:picLocks noChangeAspect="1"/>
          </p:cNvPicPr>
          <p:nvPr/>
        </p:nvPicPr>
        <p:blipFill>
          <a:blip r:embed="rId4"/>
          <a:stretch>
            <a:fillRect/>
          </a:stretch>
        </p:blipFill>
        <p:spPr>
          <a:xfrm>
            <a:off x="8068720" y="1906606"/>
            <a:ext cx="3856589" cy="2430082"/>
          </a:xfrm>
          <a:prstGeom prst="rect">
            <a:avLst/>
          </a:prstGeom>
        </p:spPr>
      </p:pic>
      <p:sp>
        <p:nvSpPr>
          <p:cNvPr id="10" name="Rectangle 9">
            <a:extLst>
              <a:ext uri="{FF2B5EF4-FFF2-40B4-BE49-F238E27FC236}">
                <a16:creationId xmlns:a16="http://schemas.microsoft.com/office/drawing/2014/main" id="{0AD93648-622B-41BE-9A5E-B50B09004BCC}"/>
              </a:ext>
            </a:extLst>
          </p:cNvPr>
          <p:cNvSpPr/>
          <p:nvPr/>
        </p:nvSpPr>
        <p:spPr>
          <a:xfrm>
            <a:off x="5869840" y="4134662"/>
            <a:ext cx="2108218" cy="276999"/>
          </a:xfrm>
          <a:prstGeom prst="rect">
            <a:avLst/>
          </a:prstGeom>
          <a:noFill/>
          <a:ln>
            <a:noFill/>
          </a:ln>
        </p:spPr>
        <p:txBody>
          <a:bodyPr wrap="square" lIns="91440" tIns="45720" rIns="89630" bIns="45720">
            <a:spAutoFit/>
          </a:bodyPr>
          <a:lstStyle/>
          <a:p>
            <a:pPr marL="0" marR="0" lvl="2" indent="0" defTabSz="621320" eaLnBrk="1" fontAlgn="auto" latinLnBrk="0" hangingPunct="1">
              <a:lnSpc>
                <a:spcPct val="100000"/>
              </a:lnSpc>
              <a:spcBef>
                <a:spcPts val="600"/>
              </a:spcBef>
              <a:spcAft>
                <a:spcPts val="600"/>
              </a:spcAft>
              <a:buClrTx/>
              <a:buSzTx/>
              <a:buFontTx/>
              <a:buNone/>
              <a:tabLst/>
              <a:defRPr/>
            </a:pPr>
            <a:r>
              <a:rPr kumimoji="0" lang="en-US" sz="1200" b="0" i="0" u="none" strike="noStrike" kern="0" cap="none" spc="0" normalizeH="0" baseline="0" noProof="0">
                <a:ln>
                  <a:noFill/>
                </a:ln>
                <a:solidFill>
                  <a:srgbClr val="0078D7"/>
                </a:solidFill>
                <a:effectLst/>
                <a:uLnTx/>
                <a:uFillTx/>
              </a:rPr>
              <a:t>SQL Server on-premises</a:t>
            </a:r>
          </a:p>
        </p:txBody>
      </p:sp>
      <p:sp>
        <p:nvSpPr>
          <p:cNvPr id="11" name="Rectangle 10">
            <a:extLst>
              <a:ext uri="{FF2B5EF4-FFF2-40B4-BE49-F238E27FC236}">
                <a16:creationId xmlns:a16="http://schemas.microsoft.com/office/drawing/2014/main" id="{BD9590FC-6D81-402B-9C71-058BEE4216BE}"/>
              </a:ext>
            </a:extLst>
          </p:cNvPr>
          <p:cNvSpPr/>
          <p:nvPr/>
        </p:nvSpPr>
        <p:spPr>
          <a:xfrm>
            <a:off x="8068720" y="4336688"/>
            <a:ext cx="1805220" cy="276999"/>
          </a:xfrm>
          <a:prstGeom prst="rect">
            <a:avLst/>
          </a:prstGeom>
          <a:noFill/>
          <a:ln>
            <a:noFill/>
          </a:ln>
        </p:spPr>
        <p:txBody>
          <a:bodyPr wrap="square" lIns="91440" tIns="45720" rIns="89630" bIns="45720">
            <a:spAutoFit/>
          </a:bodyPr>
          <a:lstStyle/>
          <a:p>
            <a:pPr marL="0" marR="0" lvl="2" indent="0" defTabSz="621320" eaLnBrk="1" fontAlgn="auto" latinLnBrk="0" hangingPunct="1">
              <a:lnSpc>
                <a:spcPct val="100000"/>
              </a:lnSpc>
              <a:spcBef>
                <a:spcPts val="600"/>
              </a:spcBef>
              <a:spcAft>
                <a:spcPts val="600"/>
              </a:spcAft>
              <a:buClrTx/>
              <a:buSzTx/>
              <a:buFontTx/>
              <a:buNone/>
              <a:tabLst/>
              <a:defRPr/>
            </a:pPr>
            <a:r>
              <a:rPr kumimoji="0" lang="en-US" sz="1200" b="0" i="0" u="none" strike="noStrike" kern="0" cap="none" spc="0" normalizeH="0" baseline="0" noProof="0">
                <a:ln>
                  <a:noFill/>
                </a:ln>
                <a:solidFill>
                  <a:srgbClr val="0078D7"/>
                </a:solidFill>
                <a:effectLst/>
                <a:uLnTx/>
                <a:uFillTx/>
              </a:rPr>
              <a:t>Azure SQL Database</a:t>
            </a:r>
          </a:p>
        </p:txBody>
      </p:sp>
      <p:grpSp>
        <p:nvGrpSpPr>
          <p:cNvPr id="12" name="Group 11">
            <a:extLst>
              <a:ext uri="{FF2B5EF4-FFF2-40B4-BE49-F238E27FC236}">
                <a16:creationId xmlns:a16="http://schemas.microsoft.com/office/drawing/2014/main" id="{10068E3E-0E47-4498-8F1C-D41311F64D60}"/>
              </a:ext>
            </a:extLst>
          </p:cNvPr>
          <p:cNvGrpSpPr/>
          <p:nvPr/>
        </p:nvGrpSpPr>
        <p:grpSpPr>
          <a:xfrm>
            <a:off x="10619224" y="5271265"/>
            <a:ext cx="654976" cy="731812"/>
            <a:chOff x="4120031" y="1997978"/>
            <a:chExt cx="1061570" cy="1186100"/>
          </a:xfrm>
          <a:solidFill>
            <a:srgbClr val="002050">
              <a:lumMod val="10000"/>
              <a:lumOff val="90000"/>
            </a:srgbClr>
          </a:solidFill>
        </p:grpSpPr>
        <p:sp>
          <p:nvSpPr>
            <p:cNvPr id="13" name="Freeform 5">
              <a:extLst>
                <a:ext uri="{FF2B5EF4-FFF2-40B4-BE49-F238E27FC236}">
                  <a16:creationId xmlns:a16="http://schemas.microsoft.com/office/drawing/2014/main" id="{C7FF6E39-D90F-459B-9593-5006949B3D9B}"/>
                </a:ext>
              </a:extLst>
            </p:cNvPr>
            <p:cNvSpPr>
              <a:spLocks noEditPoints="1"/>
            </p:cNvSpPr>
            <p:nvPr/>
          </p:nvSpPr>
          <p:spPr bwMode="auto">
            <a:xfrm>
              <a:off x="4120031" y="1997978"/>
              <a:ext cx="1061570" cy="118610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14" name="Trapezoid 22">
              <a:extLst>
                <a:ext uri="{FF2B5EF4-FFF2-40B4-BE49-F238E27FC236}">
                  <a16:creationId xmlns:a16="http://schemas.microsoft.com/office/drawing/2014/main" id="{0D748209-BF2C-48D6-B1F9-415AB6037B27}"/>
                </a:ext>
              </a:extLst>
            </p:cNvPr>
            <p:cNvSpPr/>
            <p:nvPr/>
          </p:nvSpPr>
          <p:spPr bwMode="auto">
            <a:xfrm rot="10800000">
              <a:off x="4559487" y="2666820"/>
              <a:ext cx="182658" cy="143682"/>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Trapezoid 14">
              <a:extLst>
                <a:ext uri="{FF2B5EF4-FFF2-40B4-BE49-F238E27FC236}">
                  <a16:creationId xmlns:a16="http://schemas.microsoft.com/office/drawing/2014/main" id="{6737DBF4-16AD-4E4C-83BE-37F1CF28F526}"/>
                </a:ext>
              </a:extLst>
            </p:cNvPr>
            <p:cNvSpPr/>
            <p:nvPr/>
          </p:nvSpPr>
          <p:spPr bwMode="auto">
            <a:xfrm>
              <a:off x="4561608" y="2811501"/>
              <a:ext cx="178417" cy="370100"/>
            </a:xfrm>
            <a:prstGeom prst="trapezoid">
              <a:avLst>
                <a:gd name="adj" fmla="val 31603"/>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ounded Rectangle 437">
              <a:extLst>
                <a:ext uri="{FF2B5EF4-FFF2-40B4-BE49-F238E27FC236}">
                  <a16:creationId xmlns:a16="http://schemas.microsoft.com/office/drawing/2014/main" id="{6E63D784-DCBC-4BE8-A86E-E305A88D5E92}"/>
                </a:ext>
              </a:extLst>
            </p:cNvPr>
            <p:cNvSpPr/>
            <p:nvPr/>
          </p:nvSpPr>
          <p:spPr bwMode="auto">
            <a:xfrm>
              <a:off x="4436945" y="2245208"/>
              <a:ext cx="188290" cy="131506"/>
            </a:xfrm>
            <a:prstGeom prst="round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 name="Rounded Rectangle 438">
              <a:extLst>
                <a:ext uri="{FF2B5EF4-FFF2-40B4-BE49-F238E27FC236}">
                  <a16:creationId xmlns:a16="http://schemas.microsoft.com/office/drawing/2014/main" id="{D584808B-5A0A-4268-B9B1-67BFCF371692}"/>
                </a:ext>
              </a:extLst>
            </p:cNvPr>
            <p:cNvSpPr/>
            <p:nvPr/>
          </p:nvSpPr>
          <p:spPr bwMode="auto">
            <a:xfrm>
              <a:off x="4683086" y="2245208"/>
              <a:ext cx="188290" cy="131506"/>
            </a:xfrm>
            <a:prstGeom prst="roundRect">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Freeform 439">
              <a:extLst>
                <a:ext uri="{FF2B5EF4-FFF2-40B4-BE49-F238E27FC236}">
                  <a16:creationId xmlns:a16="http://schemas.microsoft.com/office/drawing/2014/main" id="{0A91C78D-FE43-4021-90A2-934CF8F00BF9}"/>
                </a:ext>
              </a:extLst>
            </p:cNvPr>
            <p:cNvSpPr/>
            <p:nvPr/>
          </p:nvSpPr>
          <p:spPr bwMode="auto">
            <a:xfrm>
              <a:off x="4346729" y="2221759"/>
              <a:ext cx="615643" cy="20899"/>
            </a:xfrm>
            <a:custGeom>
              <a:avLst/>
              <a:gdLst>
                <a:gd name="connsiteX0" fmla="*/ 0 w 701675"/>
                <a:gd name="connsiteY0" fmla="*/ 3175 h 69850"/>
                <a:gd name="connsiteX1" fmla="*/ 66675 w 701675"/>
                <a:gd name="connsiteY1" fmla="*/ 69850 h 69850"/>
                <a:gd name="connsiteX2" fmla="*/ 631825 w 701675"/>
                <a:gd name="connsiteY2" fmla="*/ 69850 h 69850"/>
                <a:gd name="connsiteX3" fmla="*/ 701675 w 701675"/>
                <a:gd name="connsiteY3" fmla="*/ 0 h 69850"/>
              </a:gdLst>
              <a:ahLst/>
              <a:cxnLst>
                <a:cxn ang="0">
                  <a:pos x="connsiteX0" y="connsiteY0"/>
                </a:cxn>
                <a:cxn ang="0">
                  <a:pos x="connsiteX1" y="connsiteY1"/>
                </a:cxn>
                <a:cxn ang="0">
                  <a:pos x="connsiteX2" y="connsiteY2"/>
                </a:cxn>
                <a:cxn ang="0">
                  <a:pos x="connsiteX3" y="connsiteY3"/>
                </a:cxn>
              </a:cxnLst>
              <a:rect l="l" t="t" r="r" b="b"/>
              <a:pathLst>
                <a:path w="701675" h="69850">
                  <a:moveTo>
                    <a:pt x="0" y="3175"/>
                  </a:moveTo>
                  <a:lnTo>
                    <a:pt x="66675" y="69850"/>
                  </a:lnTo>
                  <a:lnTo>
                    <a:pt x="631825" y="69850"/>
                  </a:lnTo>
                  <a:lnTo>
                    <a:pt x="701675" y="0"/>
                  </a:lnTo>
                </a:path>
              </a:pathLst>
            </a:custGeom>
            <a:grpFill/>
            <a:ln w="12700" cap="rnd"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9" name="Freeform 146">
            <a:extLst>
              <a:ext uri="{FF2B5EF4-FFF2-40B4-BE49-F238E27FC236}">
                <a16:creationId xmlns:a16="http://schemas.microsoft.com/office/drawing/2014/main" id="{E19F224F-C236-4832-83B1-A0A10E0EC29C}"/>
              </a:ext>
            </a:extLst>
          </p:cNvPr>
          <p:cNvSpPr>
            <a:spLocks noChangeAspect="1"/>
          </p:cNvSpPr>
          <p:nvPr/>
        </p:nvSpPr>
        <p:spPr bwMode="auto">
          <a:xfrm>
            <a:off x="6279202" y="5043110"/>
            <a:ext cx="1530517" cy="9692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grpSp>
        <p:nvGrpSpPr>
          <p:cNvPr id="20" name="Group 19">
            <a:extLst>
              <a:ext uri="{FF2B5EF4-FFF2-40B4-BE49-F238E27FC236}">
                <a16:creationId xmlns:a16="http://schemas.microsoft.com/office/drawing/2014/main" id="{CBE229AD-F602-4EDA-B39A-433C75F18448}"/>
              </a:ext>
            </a:extLst>
          </p:cNvPr>
          <p:cNvGrpSpPr/>
          <p:nvPr/>
        </p:nvGrpSpPr>
        <p:grpSpPr>
          <a:xfrm>
            <a:off x="6857568" y="5237923"/>
            <a:ext cx="567636" cy="349909"/>
            <a:chOff x="6687838" y="5311874"/>
            <a:chExt cx="625592" cy="385635"/>
          </a:xfrm>
        </p:grpSpPr>
        <p:sp>
          <p:nvSpPr>
            <p:cNvPr id="21" name="Cylinder 812">
              <a:extLst>
                <a:ext uri="{FF2B5EF4-FFF2-40B4-BE49-F238E27FC236}">
                  <a16:creationId xmlns:a16="http://schemas.microsoft.com/office/drawing/2014/main" id="{CD42D752-AB27-4B7F-88D0-8236D1691F06}"/>
                </a:ext>
              </a:extLst>
            </p:cNvPr>
            <p:cNvSpPr/>
            <p:nvPr/>
          </p:nvSpPr>
          <p:spPr bwMode="auto">
            <a:xfrm>
              <a:off x="6687838" y="5311874"/>
              <a:ext cx="293534" cy="385635"/>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700" kern="0">
                  <a:solidFill>
                    <a:srgbClr val="0078D7"/>
                  </a:solidFill>
                  <a:latin typeface="Segoe UI Semibold" panose="020B0702040204020203" pitchFamily="34" charset="0"/>
                  <a:ea typeface="Segoe UI" pitchFamily="34" charset="0"/>
                  <a:cs typeface="Segoe UI Semibold" panose="020B0702040204020203" pitchFamily="34" charset="0"/>
                </a:rPr>
                <a:t>SQL</a:t>
              </a:r>
            </a:p>
          </p:txBody>
        </p:sp>
        <p:sp>
          <p:nvSpPr>
            <p:cNvPr id="22" name="Freeform 271">
              <a:extLst>
                <a:ext uri="{FF2B5EF4-FFF2-40B4-BE49-F238E27FC236}">
                  <a16:creationId xmlns:a16="http://schemas.microsoft.com/office/drawing/2014/main" id="{9DA12EDC-33B9-44CB-91D9-F996D7E9D44F}"/>
                </a:ext>
              </a:extLst>
            </p:cNvPr>
            <p:cNvSpPr>
              <a:spLocks noChangeAspect="1"/>
            </p:cNvSpPr>
            <p:nvPr/>
          </p:nvSpPr>
          <p:spPr bwMode="black">
            <a:xfrm>
              <a:off x="7032568" y="5372313"/>
              <a:ext cx="280862" cy="318915"/>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fontAlgn="base">
                <a:lnSpc>
                  <a:spcPct val="90000"/>
                </a:lnSpc>
                <a:spcBef>
                  <a:spcPct val="0"/>
                </a:spcBef>
                <a:spcAft>
                  <a:spcPct val="0"/>
                </a:spcAft>
                <a:defRPr/>
              </a:pPr>
              <a:endParaRPr lang="en-US" sz="700" kern="0">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23" name="Diagram 22">
            <a:extLst>
              <a:ext uri="{FF2B5EF4-FFF2-40B4-BE49-F238E27FC236}">
                <a16:creationId xmlns:a16="http://schemas.microsoft.com/office/drawing/2014/main" id="{E2CFB2A8-F63C-45D8-AA78-AEB6B2644A21}"/>
              </a:ext>
            </a:extLst>
          </p:cNvPr>
          <p:cNvGraphicFramePr/>
          <p:nvPr>
            <p:extLst>
              <p:ext uri="{D42A27DB-BD31-4B8C-83A1-F6EECF244321}">
                <p14:modId xmlns:p14="http://schemas.microsoft.com/office/powerpoint/2010/main" val="2111033199"/>
              </p:ext>
            </p:extLst>
          </p:nvPr>
        </p:nvGraphicFramePr>
        <p:xfrm>
          <a:off x="655636" y="1329842"/>
          <a:ext cx="4917397" cy="489792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356156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graphicEl>
                                              <a:dgm id="{424CBEF9-BC3B-4483-84E4-582BA6767F6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graphicEl>
                                              <a:dgm id="{92906042-8573-4D62-9645-4DB4D3B7057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graphicEl>
                                              <a:dgm id="{084AE520-A755-4805-A6AB-8C26939AA81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graphicEl>
                                              <a:dgm id="{EFCB8670-142F-4C35-93FE-5128E40FE8FA}"/>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graphicEl>
                                              <a:dgm id="{6350F853-4F22-4E58-9B82-55A8236DCB03}"/>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graphicEl>
                                              <a:dgm id="{4188B5E2-50FD-4A08-9BE4-1C852E0CEF9A}"/>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graphicEl>
                                              <a:dgm id="{0CB9EFFD-D6F4-4AC4-A475-900FB12C136A}"/>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graphicEl>
                                              <a:dgm id="{F553E03E-2F8D-4013-9C77-80464D95687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Sub>
          <a:bldDgm bld="one"/>
        </p:bldSub>
      </p:bldGraphic>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106C1-85EA-48C4-B450-8E63694F8E1A}"/>
              </a:ext>
            </a:extLst>
          </p:cNvPr>
          <p:cNvSpPr>
            <a:spLocks noGrp="1"/>
          </p:cNvSpPr>
          <p:nvPr>
            <p:ph type="title"/>
          </p:nvPr>
        </p:nvSpPr>
        <p:spPr>
          <a:xfrm>
            <a:off x="655638" y="320040"/>
            <a:ext cx="10880725" cy="461665"/>
          </a:xfrm>
        </p:spPr>
        <p:txBody>
          <a:bodyPr/>
          <a:lstStyle/>
          <a:p>
            <a:r>
              <a:rPr lang="en-US"/>
              <a:t>Using Vulnerability Assessment </a:t>
            </a:r>
          </a:p>
        </p:txBody>
      </p:sp>
      <p:sp>
        <p:nvSpPr>
          <p:cNvPr id="4" name="TextBox 3">
            <a:extLst>
              <a:ext uri="{FF2B5EF4-FFF2-40B4-BE49-F238E27FC236}">
                <a16:creationId xmlns:a16="http://schemas.microsoft.com/office/drawing/2014/main" id="{54BB21ED-B7ED-41AA-BA0E-0AAC7292EFEE}"/>
              </a:ext>
            </a:extLst>
          </p:cNvPr>
          <p:cNvSpPr txBox="1"/>
          <p:nvPr/>
        </p:nvSpPr>
        <p:spPr>
          <a:xfrm>
            <a:off x="6213842" y="1408114"/>
            <a:ext cx="3361371" cy="646331"/>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Run a scan  </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Built-in scanning service.</a:t>
            </a:r>
          </a:p>
        </p:txBody>
      </p:sp>
      <p:sp>
        <p:nvSpPr>
          <p:cNvPr id="5" name="TextBox 4">
            <a:extLst>
              <a:ext uri="{FF2B5EF4-FFF2-40B4-BE49-F238E27FC236}">
                <a16:creationId xmlns:a16="http://schemas.microsoft.com/office/drawing/2014/main" id="{BDE89A6B-AD5A-43E6-B97D-273D74F7FB42}"/>
              </a:ext>
            </a:extLst>
          </p:cNvPr>
          <p:cNvSpPr txBox="1"/>
          <p:nvPr/>
        </p:nvSpPr>
        <p:spPr>
          <a:xfrm>
            <a:off x="7634099" y="2425497"/>
            <a:ext cx="2429990" cy="892552"/>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View a report</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All-up assessment of security state.</a:t>
            </a:r>
          </a:p>
        </p:txBody>
      </p:sp>
      <p:sp>
        <p:nvSpPr>
          <p:cNvPr id="6" name="TextBox 5">
            <a:extLst>
              <a:ext uri="{FF2B5EF4-FFF2-40B4-BE49-F238E27FC236}">
                <a16:creationId xmlns:a16="http://schemas.microsoft.com/office/drawing/2014/main" id="{DAD00DE2-2E0B-4937-9A97-0974BFA53574}"/>
              </a:ext>
            </a:extLst>
          </p:cNvPr>
          <p:cNvSpPr txBox="1"/>
          <p:nvPr/>
        </p:nvSpPr>
        <p:spPr>
          <a:xfrm>
            <a:off x="7763668" y="4106508"/>
            <a:ext cx="2703192" cy="1138773"/>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Drill-down to results</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View detailed results and understand how they impact database security.</a:t>
            </a:r>
          </a:p>
        </p:txBody>
      </p:sp>
      <p:sp>
        <p:nvSpPr>
          <p:cNvPr id="7" name="TextBox 6">
            <a:extLst>
              <a:ext uri="{FF2B5EF4-FFF2-40B4-BE49-F238E27FC236}">
                <a16:creationId xmlns:a16="http://schemas.microsoft.com/office/drawing/2014/main" id="{7DD0EDDB-2802-41DB-95AB-64D8D760BA46}"/>
              </a:ext>
            </a:extLst>
          </p:cNvPr>
          <p:cNvSpPr txBox="1"/>
          <p:nvPr/>
        </p:nvSpPr>
        <p:spPr>
          <a:xfrm>
            <a:off x="6213842" y="5252403"/>
            <a:ext cx="2667333" cy="1138773"/>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Remediate issues</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Run scripts that resolve vulnerabilities directly within the report.</a:t>
            </a:r>
          </a:p>
        </p:txBody>
      </p:sp>
      <p:sp>
        <p:nvSpPr>
          <p:cNvPr id="8" name="TextBox 7">
            <a:extLst>
              <a:ext uri="{FF2B5EF4-FFF2-40B4-BE49-F238E27FC236}">
                <a16:creationId xmlns:a16="http://schemas.microsoft.com/office/drawing/2014/main" id="{56098493-B07E-496F-8FE1-0F33CC7FE1A7}"/>
              </a:ext>
            </a:extLst>
          </p:cNvPr>
          <p:cNvSpPr txBox="1"/>
          <p:nvPr/>
        </p:nvSpPr>
        <p:spPr>
          <a:xfrm>
            <a:off x="2730593" y="4439772"/>
            <a:ext cx="2177703" cy="1138773"/>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Set a baseline</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Customize scan requirements based on your environment.</a:t>
            </a:r>
            <a:endPar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sym typeface="Wingdings" panose="05000000000000000000" pitchFamily="2" charset="2"/>
            </a:endParaRPr>
          </a:p>
        </p:txBody>
      </p:sp>
      <p:sp>
        <p:nvSpPr>
          <p:cNvPr id="9" name="TextBox 8">
            <a:extLst>
              <a:ext uri="{FF2B5EF4-FFF2-40B4-BE49-F238E27FC236}">
                <a16:creationId xmlns:a16="http://schemas.microsoft.com/office/drawing/2014/main" id="{17C26963-39B1-4631-9F78-02A71538C907}"/>
              </a:ext>
            </a:extLst>
          </p:cNvPr>
          <p:cNvSpPr txBox="1"/>
          <p:nvPr/>
        </p:nvSpPr>
        <p:spPr>
          <a:xfrm>
            <a:off x="2133600" y="2521955"/>
            <a:ext cx="2203770" cy="1138773"/>
          </a:xfrm>
          <a:prstGeom prst="rect">
            <a:avLst/>
          </a:prstGeom>
          <a:noFill/>
        </p:spPr>
        <p:txBody>
          <a:bodyPr wrap="square" rtlCol="0">
            <a:spAutoFit/>
          </a:bodyPr>
          <a:lstStyle/>
          <a:p>
            <a:pPr defTabSz="914072">
              <a:defRPr/>
            </a:pPr>
            <a:r>
              <a:rPr lang="en-US" sz="2000">
                <a:solidFill>
                  <a:srgbClr val="0078D7"/>
                </a:solidFill>
                <a:latin typeface="Segoe UI Semilight" panose="020B0402040204020203" pitchFamily="34" charset="0"/>
                <a:cs typeface="Segoe UI Semilight" panose="020B0402040204020203" pitchFamily="34" charset="0"/>
              </a:rPr>
              <a:t>Detect deviations</a:t>
            </a:r>
          </a:p>
          <a:p>
            <a:pPr indent="-148" defTabSz="914072">
              <a:defRPr/>
            </a:pPr>
            <a:r>
              <a:rPr lang="en-US" sz="1600">
                <a:gradFill>
                  <a:gsLst>
                    <a:gs pos="1250">
                      <a:srgbClr val="000000"/>
                    </a:gs>
                    <a:gs pos="100000">
                      <a:srgbClr val="000000"/>
                    </a:gs>
                  </a:gsLst>
                  <a:lin ang="5400000" scaled="0"/>
                </a:gradFill>
                <a:latin typeface="Segoe UI Semilight" panose="020B0402040204020203" pitchFamily="34" charset="0"/>
                <a:cs typeface="Segoe UI Semilight" panose="020B0402040204020203" pitchFamily="34" charset="0"/>
              </a:rPr>
              <a:t>Subsequent scans will alert on deviations from your baseline. </a:t>
            </a:r>
          </a:p>
        </p:txBody>
      </p:sp>
      <p:grpSp>
        <p:nvGrpSpPr>
          <p:cNvPr id="10" name="Group 9">
            <a:extLst>
              <a:ext uri="{FF2B5EF4-FFF2-40B4-BE49-F238E27FC236}">
                <a16:creationId xmlns:a16="http://schemas.microsoft.com/office/drawing/2014/main" id="{B3EDC58B-22BF-476D-99AA-FE9105EB3F5A}"/>
              </a:ext>
            </a:extLst>
          </p:cNvPr>
          <p:cNvGrpSpPr/>
          <p:nvPr/>
        </p:nvGrpSpPr>
        <p:grpSpPr>
          <a:xfrm>
            <a:off x="4303814" y="1649186"/>
            <a:ext cx="3377162" cy="3685220"/>
            <a:chOff x="4113068" y="1850877"/>
            <a:chExt cx="3377162" cy="3685220"/>
          </a:xfrm>
        </p:grpSpPr>
        <p:sp>
          <p:nvSpPr>
            <p:cNvPr id="11" name="Freeform: Shape 10">
              <a:extLst>
                <a:ext uri="{FF2B5EF4-FFF2-40B4-BE49-F238E27FC236}">
                  <a16:creationId xmlns:a16="http://schemas.microsoft.com/office/drawing/2014/main" id="{7BF7B3BB-5126-48F2-ADE1-B50E4824AB8E}"/>
                </a:ext>
              </a:extLst>
            </p:cNvPr>
            <p:cNvSpPr/>
            <p:nvPr/>
          </p:nvSpPr>
          <p:spPr bwMode="auto">
            <a:xfrm>
              <a:off x="5258836" y="1850877"/>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sp>
          <p:nvSpPr>
            <p:cNvPr id="12" name="Freeform: Shape 11">
              <a:extLst>
                <a:ext uri="{FF2B5EF4-FFF2-40B4-BE49-F238E27FC236}">
                  <a16:creationId xmlns:a16="http://schemas.microsoft.com/office/drawing/2014/main" id="{E0E9A276-869B-4E02-8DCA-A309E10066EC}"/>
                </a:ext>
              </a:extLst>
            </p:cNvPr>
            <p:cNvSpPr/>
            <p:nvPr/>
          </p:nvSpPr>
          <p:spPr bwMode="auto">
            <a:xfrm rot="10800000">
              <a:off x="5362154" y="4535837"/>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sp>
          <p:nvSpPr>
            <p:cNvPr id="13" name="Freeform: Shape 12">
              <a:extLst>
                <a:ext uri="{FF2B5EF4-FFF2-40B4-BE49-F238E27FC236}">
                  <a16:creationId xmlns:a16="http://schemas.microsoft.com/office/drawing/2014/main" id="{63CFC4DA-8C53-4BCE-AD38-5BC8E1FC84B6}"/>
                </a:ext>
              </a:extLst>
            </p:cNvPr>
            <p:cNvSpPr/>
            <p:nvPr/>
          </p:nvSpPr>
          <p:spPr bwMode="auto">
            <a:xfrm rot="18000000">
              <a:off x="4122044" y="2566855"/>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sp>
          <p:nvSpPr>
            <p:cNvPr id="14" name="Freeform: Shape 13">
              <a:extLst>
                <a:ext uri="{FF2B5EF4-FFF2-40B4-BE49-F238E27FC236}">
                  <a16:creationId xmlns:a16="http://schemas.microsoft.com/office/drawing/2014/main" id="{92085C72-BE8D-48DF-96DF-DC0D873B84E7}"/>
                </a:ext>
              </a:extLst>
            </p:cNvPr>
            <p:cNvSpPr/>
            <p:nvPr/>
          </p:nvSpPr>
          <p:spPr bwMode="auto">
            <a:xfrm rot="7200000">
              <a:off x="6498946" y="3819859"/>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sp>
          <p:nvSpPr>
            <p:cNvPr id="15" name="Freeform: Shape 14">
              <a:extLst>
                <a:ext uri="{FF2B5EF4-FFF2-40B4-BE49-F238E27FC236}">
                  <a16:creationId xmlns:a16="http://schemas.microsoft.com/office/drawing/2014/main" id="{99A393BB-B3C1-4076-8CCC-B345472C2C0A}"/>
                </a:ext>
              </a:extLst>
            </p:cNvPr>
            <p:cNvSpPr/>
            <p:nvPr/>
          </p:nvSpPr>
          <p:spPr bwMode="auto">
            <a:xfrm rot="3600000">
              <a:off x="6447287" y="2477379"/>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sp>
          <p:nvSpPr>
            <p:cNvPr id="16" name="Freeform: Shape 15">
              <a:extLst>
                <a:ext uri="{FF2B5EF4-FFF2-40B4-BE49-F238E27FC236}">
                  <a16:creationId xmlns:a16="http://schemas.microsoft.com/office/drawing/2014/main" id="{8DB64BE2-EEAF-44D8-BBD4-51F1AAA4CEFD}"/>
                </a:ext>
              </a:extLst>
            </p:cNvPr>
            <p:cNvSpPr/>
            <p:nvPr/>
          </p:nvSpPr>
          <p:spPr bwMode="auto">
            <a:xfrm rot="14400000">
              <a:off x="4173703" y="3909335"/>
              <a:ext cx="982308" cy="1000260"/>
            </a:xfrm>
            <a:custGeom>
              <a:avLst/>
              <a:gdLst>
                <a:gd name="connsiteX0" fmla="*/ 0 w 3577771"/>
                <a:gd name="connsiteY0" fmla="*/ 3643086 h 3646715"/>
                <a:gd name="connsiteX1" fmla="*/ 1778000 w 3577771"/>
                <a:gd name="connsiteY1" fmla="*/ 0 h 3646715"/>
                <a:gd name="connsiteX2" fmla="*/ 3577771 w 3577771"/>
                <a:gd name="connsiteY2" fmla="*/ 3646715 h 3646715"/>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09 h 3647038"/>
                <a:gd name="connsiteX1" fmla="*/ 1778000 w 3577771"/>
                <a:gd name="connsiteY1" fmla="*/ 323 h 3647038"/>
                <a:gd name="connsiteX2" fmla="*/ 3577771 w 3577771"/>
                <a:gd name="connsiteY2" fmla="*/ 3647038 h 3647038"/>
                <a:gd name="connsiteX0" fmla="*/ 0 w 3577771"/>
                <a:gd name="connsiteY0" fmla="*/ 3643455 h 3647084"/>
                <a:gd name="connsiteX1" fmla="*/ 1778000 w 3577771"/>
                <a:gd name="connsiteY1" fmla="*/ 369 h 3647084"/>
                <a:gd name="connsiteX2" fmla="*/ 3577771 w 3577771"/>
                <a:gd name="connsiteY2" fmla="*/ 3647084 h 3647084"/>
                <a:gd name="connsiteX0" fmla="*/ 0 w 3577771"/>
                <a:gd name="connsiteY0" fmla="*/ 3643459 h 3647088"/>
                <a:gd name="connsiteX1" fmla="*/ 1778000 w 3577771"/>
                <a:gd name="connsiteY1" fmla="*/ 373 h 3647088"/>
                <a:gd name="connsiteX2" fmla="*/ 3577771 w 3577771"/>
                <a:gd name="connsiteY2" fmla="*/ 3647088 h 3647088"/>
                <a:gd name="connsiteX0" fmla="*/ 0 w 3577771"/>
                <a:gd name="connsiteY0" fmla="*/ 3643460 h 3647089"/>
                <a:gd name="connsiteX1" fmla="*/ 1778000 w 3577771"/>
                <a:gd name="connsiteY1" fmla="*/ 374 h 3647089"/>
                <a:gd name="connsiteX2" fmla="*/ 3577771 w 3577771"/>
                <a:gd name="connsiteY2" fmla="*/ 3647089 h 3647089"/>
                <a:gd name="connsiteX0" fmla="*/ 0 w 3562965"/>
                <a:gd name="connsiteY0" fmla="*/ 3400902 h 3647676"/>
                <a:gd name="connsiteX1" fmla="*/ 1763194 w 3562965"/>
                <a:gd name="connsiteY1" fmla="*/ 961 h 3647676"/>
                <a:gd name="connsiteX2" fmla="*/ 3562965 w 3562965"/>
                <a:gd name="connsiteY2" fmla="*/ 3647676 h 3647676"/>
              </a:gdLst>
              <a:ahLst/>
              <a:cxnLst>
                <a:cxn ang="0">
                  <a:pos x="connsiteX0" y="connsiteY0"/>
                </a:cxn>
                <a:cxn ang="0">
                  <a:pos x="connsiteX1" y="connsiteY1"/>
                </a:cxn>
                <a:cxn ang="0">
                  <a:pos x="connsiteX2" y="connsiteY2"/>
                </a:cxn>
              </a:cxnLst>
              <a:rect l="l" t="t" r="r" b="b"/>
              <a:pathLst>
                <a:path w="3562965" h="3647676">
                  <a:moveTo>
                    <a:pt x="0" y="3400902"/>
                  </a:moveTo>
                  <a:cubicBezTo>
                    <a:pt x="130024" y="1241599"/>
                    <a:pt x="1169367" y="-40168"/>
                    <a:pt x="1763194" y="961"/>
                  </a:cubicBezTo>
                  <a:cubicBezTo>
                    <a:pt x="2357021" y="42090"/>
                    <a:pt x="3367628" y="1563363"/>
                    <a:pt x="3562965" y="3647676"/>
                  </a:cubicBezTo>
                </a:path>
              </a:pathLst>
            </a:custGeom>
            <a:noFill/>
            <a:ln w="12700" cap="flat" cmpd="sng" algn="ctr">
              <a:solidFill>
                <a:srgbClr val="0078D7"/>
              </a:solidFill>
              <a:prstDash val="solid"/>
              <a:headEnd type="none" w="lg" len="lg"/>
              <a:tailEnd type="triangle" w="lg" len="lg"/>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endParaRPr>
            </a:p>
          </p:txBody>
        </p:sp>
      </p:grpSp>
      <p:sp>
        <p:nvSpPr>
          <p:cNvPr id="17" name="Oval 16">
            <a:extLst>
              <a:ext uri="{FF2B5EF4-FFF2-40B4-BE49-F238E27FC236}">
                <a16:creationId xmlns:a16="http://schemas.microsoft.com/office/drawing/2014/main" id="{F6CBF847-E98D-4C33-975E-CEF035C8A6CC}"/>
              </a:ext>
            </a:extLst>
          </p:cNvPr>
          <p:cNvSpPr/>
          <p:nvPr/>
        </p:nvSpPr>
        <p:spPr>
          <a:xfrm>
            <a:off x="5765967" y="1705981"/>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1</a:t>
            </a:r>
          </a:p>
        </p:txBody>
      </p:sp>
      <p:sp>
        <p:nvSpPr>
          <p:cNvPr id="18" name="Oval 17">
            <a:extLst>
              <a:ext uri="{FF2B5EF4-FFF2-40B4-BE49-F238E27FC236}">
                <a16:creationId xmlns:a16="http://schemas.microsoft.com/office/drawing/2014/main" id="{F1EBE68C-17A8-4ECA-A7FA-F8F099691085}"/>
              </a:ext>
            </a:extLst>
          </p:cNvPr>
          <p:cNvSpPr/>
          <p:nvPr/>
        </p:nvSpPr>
        <p:spPr>
          <a:xfrm>
            <a:off x="7180846" y="2458962"/>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2</a:t>
            </a:r>
          </a:p>
        </p:txBody>
      </p:sp>
      <p:sp>
        <p:nvSpPr>
          <p:cNvPr id="19" name="Oval 18">
            <a:extLst>
              <a:ext uri="{FF2B5EF4-FFF2-40B4-BE49-F238E27FC236}">
                <a16:creationId xmlns:a16="http://schemas.microsoft.com/office/drawing/2014/main" id="{FC085CE7-95C2-441C-B86E-D5528FC147B5}"/>
              </a:ext>
            </a:extLst>
          </p:cNvPr>
          <p:cNvSpPr/>
          <p:nvPr/>
        </p:nvSpPr>
        <p:spPr>
          <a:xfrm>
            <a:off x="7283427" y="4076720"/>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3</a:t>
            </a:r>
          </a:p>
        </p:txBody>
      </p:sp>
      <p:sp>
        <p:nvSpPr>
          <p:cNvPr id="20" name="Oval 19">
            <a:extLst>
              <a:ext uri="{FF2B5EF4-FFF2-40B4-BE49-F238E27FC236}">
                <a16:creationId xmlns:a16="http://schemas.microsoft.com/office/drawing/2014/main" id="{059D93F4-C216-4BF4-95F1-99BC52A3F1E7}"/>
              </a:ext>
            </a:extLst>
          </p:cNvPr>
          <p:cNvSpPr/>
          <p:nvPr/>
        </p:nvSpPr>
        <p:spPr>
          <a:xfrm>
            <a:off x="5896984" y="4944381"/>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4</a:t>
            </a:r>
          </a:p>
        </p:txBody>
      </p:sp>
      <p:sp>
        <p:nvSpPr>
          <p:cNvPr id="21" name="Oval 20">
            <a:extLst>
              <a:ext uri="{FF2B5EF4-FFF2-40B4-BE49-F238E27FC236}">
                <a16:creationId xmlns:a16="http://schemas.microsoft.com/office/drawing/2014/main" id="{6D20CA93-D4CD-4932-8434-ED1B522BAF2E}"/>
              </a:ext>
            </a:extLst>
          </p:cNvPr>
          <p:cNvSpPr/>
          <p:nvPr/>
        </p:nvSpPr>
        <p:spPr>
          <a:xfrm>
            <a:off x="4482127" y="4197169"/>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5</a:t>
            </a:r>
          </a:p>
        </p:txBody>
      </p:sp>
      <p:sp>
        <p:nvSpPr>
          <p:cNvPr id="22" name="Oval 21">
            <a:extLst>
              <a:ext uri="{FF2B5EF4-FFF2-40B4-BE49-F238E27FC236}">
                <a16:creationId xmlns:a16="http://schemas.microsoft.com/office/drawing/2014/main" id="{CEFAA354-DA1E-45B6-8049-DD175A770304}"/>
              </a:ext>
            </a:extLst>
          </p:cNvPr>
          <p:cNvSpPr/>
          <p:nvPr/>
        </p:nvSpPr>
        <p:spPr>
          <a:xfrm>
            <a:off x="4405567" y="2595984"/>
            <a:ext cx="316858" cy="316856"/>
          </a:xfrm>
          <a:prstGeom prst="ellipse">
            <a:avLst/>
          </a:prstGeom>
          <a:noFill/>
          <a:ln w="12700" cap="flat" cmpd="sng" algn="ctr">
            <a:noFill/>
            <a:prstDash val="solid"/>
          </a:ln>
          <a:effectLst/>
        </p:spPr>
        <p:txBody>
          <a:bodyPr rtlCol="0" anchor="ctr"/>
          <a:lstStyle/>
          <a:p>
            <a:pPr algn="ctr" defTabSz="914072">
              <a:defRPr/>
            </a:pPr>
            <a:r>
              <a:rPr lang="en-US" sz="2000" kern="0">
                <a:solidFill>
                  <a:srgbClr val="0078D7"/>
                </a:solidFill>
                <a:cs typeface="Segoe UI Semilight" panose="020B0402040204020203" pitchFamily="34" charset="0"/>
              </a:rPr>
              <a:t>6</a:t>
            </a:r>
          </a:p>
        </p:txBody>
      </p:sp>
    </p:spTree>
    <p:extLst>
      <p:ext uri="{BB962C8B-B14F-4D97-AF65-F5344CB8AC3E}">
        <p14:creationId xmlns:p14="http://schemas.microsoft.com/office/powerpoint/2010/main" val="29843741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Vulnerability Assessment</a:t>
            </a:r>
          </a:p>
          <a:p>
            <a:pPr marL="571500" lvl="1" indent="-342900">
              <a:buFont typeface="Arial" panose="020B0604020202020204" pitchFamily="34" charset="0"/>
              <a:buChar char="•"/>
            </a:pPr>
            <a:r>
              <a:rPr lang="en-US"/>
              <a:t>Run a scan, review the report and set a baselin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2787079526"/>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Vulnerability Assessment</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a:t>Exercise 1</a:t>
            </a:r>
            <a:r>
              <a:rPr lang="en-US"/>
              <a:t>: Run a scan, review the report and set a baseline.</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366583079"/>
      </p:ext>
    </p:extLst>
  </p:cSld>
  <p:clrMapOvr>
    <a:masterClrMapping/>
  </p:clrMapOvr>
  <p:transition spd="slow"/>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052679494"/>
      </p:ext>
    </p:extLst>
  </p:cSld>
  <p:clrMapOvr>
    <a:masterClrMapping/>
  </p:clrMapOvr>
  <p:transition spd="slow"/>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417306439"/>
              </p:ext>
            </p:extLst>
          </p:nvPr>
        </p:nvGraphicFramePr>
        <p:xfrm>
          <a:off x="655638" y="1408113"/>
          <a:ext cx="10880725" cy="3392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0827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330C0406-7617-4A08-A9D6-96E04941E1B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Module Summary</a:t>
            </a:r>
          </a:p>
        </p:txBody>
      </p:sp>
      <p:graphicFrame>
        <p:nvGraphicFramePr>
          <p:cNvPr id="6" name="Diagram 5">
            <a:extLst>
              <a:ext uri="{FF2B5EF4-FFF2-40B4-BE49-F238E27FC236}">
                <a16:creationId xmlns:a16="http://schemas.microsoft.com/office/drawing/2014/main" id="{F3715BFE-C7EC-4FE6-B9DF-3730800EAB3C}"/>
              </a:ext>
            </a:extLst>
          </p:cNvPr>
          <p:cNvGraphicFramePr/>
          <p:nvPr>
            <p:extLst>
              <p:ext uri="{D42A27DB-BD31-4B8C-83A1-F6EECF244321}">
                <p14:modId xmlns:p14="http://schemas.microsoft.com/office/powerpoint/2010/main" val="1785573576"/>
              </p:ext>
            </p:extLst>
          </p:nvPr>
        </p:nvGraphicFramePr>
        <p:xfrm>
          <a:off x="5008562" y="630238"/>
          <a:ext cx="6726237" cy="5597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5604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dgm id="{947F9EA5-A53C-4068-87ED-01F93B1B6679}"/>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graphicEl>
                                              <a:dgm id="{3CCEF63C-9790-409A-86A8-E94362D432FC}"/>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graphicEl>
                                              <a:dgm id="{70A3944B-0AAA-49F7-AB74-06AAF27442AE}"/>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graphicEl>
                                              <a:dgm id="{2B7E5D1B-DE75-498C-B845-CB363A7C4CA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graphicEl>
                                              <a:dgm id="{584563E5-6873-417D-91CE-51A973634DF6}"/>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graphicEl>
                                              <a:dgm id="{5D73149A-F8A5-4A67-9A68-8D328FEAED8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graphicEl>
                                              <a:dgm id="{9843E625-64C0-4AB4-8371-71B72D90BA02}"/>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graphicEl>
                                              <a:dgm id="{3D05CF5A-8A45-438A-AF9C-80B398D007FF}"/>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graphicEl>
                                              <a:dgm id="{8AB84A2A-018B-4FE9-9B75-B9E22F701A2B}"/>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graphicEl>
                                              <a:dgm id="{779B6E45-19B8-4417-B310-C93BB0090CC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079162" cy="604798"/>
          </a:xfrm>
        </p:spPr>
        <p:txBody>
          <a:bodyPr/>
          <a:lstStyle/>
          <a:p>
            <a:r>
              <a:rPr lang="en-US"/>
              <a:t>Lesson 2:  Implement Azure Active Directory Security</a:t>
            </a:r>
          </a:p>
        </p:txBody>
      </p:sp>
    </p:spTree>
    <p:extLst>
      <p:ext uri="{BB962C8B-B14F-4D97-AF65-F5344CB8AC3E}">
        <p14:creationId xmlns:p14="http://schemas.microsoft.com/office/powerpoint/2010/main" val="289400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leverage Azure Active Directory security for authenticating connections to a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E6A75-1CB9-4CFF-B3F9-E8D18109E6DD}"/>
              </a:ext>
            </a:extLst>
          </p:cNvPr>
          <p:cNvSpPr>
            <a:spLocks noGrp="1"/>
          </p:cNvSpPr>
          <p:nvPr>
            <p:ph type="title"/>
          </p:nvPr>
        </p:nvSpPr>
        <p:spPr/>
        <p:txBody>
          <a:bodyPr/>
          <a:lstStyle/>
          <a:p>
            <a:r>
              <a:rPr lang="en-US"/>
              <a:t>Azure Active Directory(AAD) Security</a:t>
            </a:r>
          </a:p>
        </p:txBody>
      </p:sp>
      <p:graphicFrame>
        <p:nvGraphicFramePr>
          <p:cNvPr id="65" name="Content Placeholder 64">
            <a:extLst>
              <a:ext uri="{FF2B5EF4-FFF2-40B4-BE49-F238E27FC236}">
                <a16:creationId xmlns:a16="http://schemas.microsoft.com/office/drawing/2014/main" id="{CDCE79F0-0194-4236-9987-3FF01EC2C5BC}"/>
              </a:ext>
            </a:extLst>
          </p:cNvPr>
          <p:cNvGraphicFramePr>
            <a:graphicFrameLocks noGrp="1"/>
          </p:cNvGraphicFramePr>
          <p:nvPr>
            <p:ph sz="quarter" idx="13"/>
            <p:extLst>
              <p:ext uri="{D42A27DB-BD31-4B8C-83A1-F6EECF244321}">
                <p14:modId xmlns:p14="http://schemas.microsoft.com/office/powerpoint/2010/main" val="3807784473"/>
              </p:ext>
            </p:extLst>
          </p:nvPr>
        </p:nvGraphicFramePr>
        <p:xfrm>
          <a:off x="655638" y="1408114"/>
          <a:ext cx="570766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a:extLst>
              <a:ext uri="{FF2B5EF4-FFF2-40B4-BE49-F238E27FC236}">
                <a16:creationId xmlns:a16="http://schemas.microsoft.com/office/drawing/2014/main" id="{BD8DF26E-8654-472D-984F-ACB901B7F602}"/>
              </a:ext>
            </a:extLst>
          </p:cNvPr>
          <p:cNvGrpSpPr/>
          <p:nvPr/>
        </p:nvGrpSpPr>
        <p:grpSpPr>
          <a:xfrm>
            <a:off x="6553200" y="1524000"/>
            <a:ext cx="4882736" cy="4387300"/>
            <a:chOff x="6930524" y="1670736"/>
            <a:chExt cx="4776169" cy="4288726"/>
          </a:xfrm>
        </p:grpSpPr>
        <p:sp>
          <p:nvSpPr>
            <p:cNvPr id="5" name="Freeform 128">
              <a:extLst>
                <a:ext uri="{FF2B5EF4-FFF2-40B4-BE49-F238E27FC236}">
                  <a16:creationId xmlns:a16="http://schemas.microsoft.com/office/drawing/2014/main" id="{C6372E2F-5490-4CE7-8653-2553CB51AE2A}"/>
                </a:ext>
              </a:extLst>
            </p:cNvPr>
            <p:cNvSpPr>
              <a:spLocks noChangeAspect="1"/>
            </p:cNvSpPr>
            <p:nvPr/>
          </p:nvSpPr>
          <p:spPr bwMode="auto">
            <a:xfrm flipH="1">
              <a:off x="6930524" y="2028688"/>
              <a:ext cx="3994442" cy="2206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rgbClr val="002050"/>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33333"/>
                </a:solidFill>
                <a:effectLst/>
                <a:uLnTx/>
                <a:uFillTx/>
              </a:endParaRPr>
            </a:p>
          </p:txBody>
        </p:sp>
        <p:sp>
          <p:nvSpPr>
            <p:cNvPr id="6" name="TextBox 5">
              <a:extLst>
                <a:ext uri="{FF2B5EF4-FFF2-40B4-BE49-F238E27FC236}">
                  <a16:creationId xmlns:a16="http://schemas.microsoft.com/office/drawing/2014/main" id="{4856C91E-F2F1-4978-A1E3-CAC7CD9A43BD}"/>
                </a:ext>
              </a:extLst>
            </p:cNvPr>
            <p:cNvSpPr txBox="1"/>
            <p:nvPr/>
          </p:nvSpPr>
          <p:spPr>
            <a:xfrm>
              <a:off x="8091038" y="1670736"/>
              <a:ext cx="1815942" cy="286306"/>
            </a:xfrm>
            <a:prstGeom prst="rect">
              <a:avLst/>
            </a:prstGeom>
            <a:noFill/>
          </p:spPr>
          <p:txBody>
            <a:bodyPr wrap="square" rtlCol="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a:ln>
                    <a:noFill/>
                  </a:ln>
                  <a:solidFill>
                    <a:srgbClr val="0078D7"/>
                  </a:solidFill>
                  <a:effectLst/>
                  <a:uLnTx/>
                  <a:uFillTx/>
                </a:rPr>
                <a:t>Azure SQL Database</a:t>
              </a:r>
            </a:p>
          </p:txBody>
        </p:sp>
        <p:sp>
          <p:nvSpPr>
            <p:cNvPr id="7" name="Freeform 228">
              <a:extLst>
                <a:ext uri="{FF2B5EF4-FFF2-40B4-BE49-F238E27FC236}">
                  <a16:creationId xmlns:a16="http://schemas.microsoft.com/office/drawing/2014/main" id="{670DCC48-FF23-414D-BFAF-1B32E7591B82}"/>
                </a:ext>
              </a:extLst>
            </p:cNvPr>
            <p:cNvSpPr>
              <a:spLocks noEditPoints="1"/>
            </p:cNvSpPr>
            <p:nvPr/>
          </p:nvSpPr>
          <p:spPr bwMode="auto">
            <a:xfrm flipH="1">
              <a:off x="7488652" y="2774241"/>
              <a:ext cx="918429" cy="1208896"/>
            </a:xfrm>
            <a:prstGeom prst="can">
              <a:avLst>
                <a:gd name="adj" fmla="val 39781"/>
              </a:avLst>
            </a:prstGeom>
            <a:noFill/>
            <a:ln w="12700">
              <a:solidFill>
                <a:srgbClr val="002050"/>
              </a:solidFill>
            </a:ln>
          </p:spPr>
          <p:txBody>
            <a:bodyPr vert="horz" wrap="square" lIns="93260" tIns="373041" rIns="93260" bIns="279781" numCol="1" anchor="ctr" anchorCtr="0" compatLnSpc="1">
              <a:prstTxWarp prst="textNoShape">
                <a:avLst/>
              </a:prstTxWarp>
            </a:bodyPr>
            <a:lstStyle/>
            <a:p>
              <a:pPr marL="0" marR="0" lvl="0" indent="0" algn="ctr" defTabSz="951304" eaLnBrk="1" fontAlgn="auto" latinLnBrk="0" hangingPunct="1">
                <a:lnSpc>
                  <a:spcPct val="100000"/>
                </a:lnSpc>
                <a:spcBef>
                  <a:spcPts val="612"/>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cs typeface="Segoe UI Semibold" panose="020B0702040204020203" pitchFamily="34" charset="0"/>
                </a:rPr>
                <a:t>Customer 1</a:t>
              </a:r>
            </a:p>
            <a:p>
              <a:pPr marL="0" marR="0" lvl="0" indent="0" algn="ctr" defTabSz="951304" eaLnBrk="1" fontAlgn="auto" latinLnBrk="0" hangingPunct="1">
                <a:lnSpc>
                  <a:spcPct val="100000"/>
                </a:lnSpc>
                <a:spcBef>
                  <a:spcPts val="612"/>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cs typeface="Segoe UI Semibold" panose="020B0702040204020203" pitchFamily="34" charset="0"/>
                </a:rPr>
                <a:t>Customer 2</a:t>
              </a:r>
            </a:p>
            <a:p>
              <a:pPr marL="0" marR="0" lvl="0" indent="0" algn="ctr" defTabSz="951304" eaLnBrk="1" fontAlgn="auto" latinLnBrk="0" hangingPunct="1">
                <a:lnSpc>
                  <a:spcPct val="100000"/>
                </a:lnSpc>
                <a:spcBef>
                  <a:spcPts val="612"/>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cs typeface="Segoe UI Semibold" panose="020B0702040204020203" pitchFamily="34" charset="0"/>
                </a:rPr>
                <a:t>Customer 3</a:t>
              </a:r>
            </a:p>
          </p:txBody>
        </p:sp>
        <p:sp>
          <p:nvSpPr>
            <p:cNvPr id="8" name="Freeform 5">
              <a:extLst>
                <a:ext uri="{FF2B5EF4-FFF2-40B4-BE49-F238E27FC236}">
                  <a16:creationId xmlns:a16="http://schemas.microsoft.com/office/drawing/2014/main" id="{5ADFF549-F46E-4530-93B8-AF1D2B042D06}"/>
                </a:ext>
              </a:extLst>
            </p:cNvPr>
            <p:cNvSpPr>
              <a:spLocks noEditPoints="1"/>
            </p:cNvSpPr>
            <p:nvPr/>
          </p:nvSpPr>
          <p:spPr bwMode="auto">
            <a:xfrm>
              <a:off x="9501878" y="5543221"/>
              <a:ext cx="372537" cy="41624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9" name="Freeform 5">
              <a:extLst>
                <a:ext uri="{FF2B5EF4-FFF2-40B4-BE49-F238E27FC236}">
                  <a16:creationId xmlns:a16="http://schemas.microsoft.com/office/drawing/2014/main" id="{86B7B8A5-298E-4029-B3BD-232B57DB1D77}"/>
                </a:ext>
              </a:extLst>
            </p:cNvPr>
            <p:cNvSpPr>
              <a:spLocks noEditPoints="1"/>
            </p:cNvSpPr>
            <p:nvPr/>
          </p:nvSpPr>
          <p:spPr bwMode="auto">
            <a:xfrm>
              <a:off x="10379056" y="5543221"/>
              <a:ext cx="372537" cy="41624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sp>
          <p:nvSpPr>
            <p:cNvPr id="10" name="Freeform 5">
              <a:extLst>
                <a:ext uri="{FF2B5EF4-FFF2-40B4-BE49-F238E27FC236}">
                  <a16:creationId xmlns:a16="http://schemas.microsoft.com/office/drawing/2014/main" id="{6CB3971F-8EAF-4B85-93CE-BE4EE334CB74}"/>
                </a:ext>
              </a:extLst>
            </p:cNvPr>
            <p:cNvSpPr>
              <a:spLocks noEditPoints="1"/>
            </p:cNvSpPr>
            <p:nvPr/>
          </p:nvSpPr>
          <p:spPr bwMode="auto">
            <a:xfrm>
              <a:off x="11262017" y="5543221"/>
              <a:ext cx="372537" cy="41624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cxnSp>
          <p:nvCxnSpPr>
            <p:cNvPr id="11" name="Connector: Elbow 10">
              <a:extLst>
                <a:ext uri="{FF2B5EF4-FFF2-40B4-BE49-F238E27FC236}">
                  <a16:creationId xmlns:a16="http://schemas.microsoft.com/office/drawing/2014/main" id="{EBE39CCE-05B8-42CF-B6D9-23D4B99F0974}"/>
                </a:ext>
              </a:extLst>
            </p:cNvPr>
            <p:cNvCxnSpPr>
              <a:cxnSpLocks/>
              <a:endCxn id="8" idx="1"/>
            </p:cNvCxnSpPr>
            <p:nvPr/>
          </p:nvCxnSpPr>
          <p:spPr>
            <a:xfrm>
              <a:off x="8396074" y="3715658"/>
              <a:ext cx="1293587" cy="1827565"/>
            </a:xfrm>
            <a:prstGeom prst="bentConnector3">
              <a:avLst>
                <a:gd name="adj1" fmla="val 99692"/>
              </a:avLst>
            </a:prstGeom>
            <a:noFill/>
            <a:ln w="12700" cap="flat" cmpd="sng" algn="ctr">
              <a:solidFill>
                <a:srgbClr val="002050"/>
              </a:solidFill>
              <a:prstDash val="solid"/>
              <a:headEnd type="none"/>
              <a:tailEnd type="none"/>
            </a:ln>
            <a:effectLst/>
          </p:spPr>
        </p:cxnSp>
        <p:cxnSp>
          <p:nvCxnSpPr>
            <p:cNvPr id="12" name="Connector: Elbow 11">
              <a:extLst>
                <a:ext uri="{FF2B5EF4-FFF2-40B4-BE49-F238E27FC236}">
                  <a16:creationId xmlns:a16="http://schemas.microsoft.com/office/drawing/2014/main" id="{D9A93832-3BB7-45B0-9CB0-89A18B7346FF}"/>
                </a:ext>
              </a:extLst>
            </p:cNvPr>
            <p:cNvCxnSpPr>
              <a:cxnSpLocks/>
              <a:endCxn id="9" idx="1"/>
            </p:cNvCxnSpPr>
            <p:nvPr/>
          </p:nvCxnSpPr>
          <p:spPr>
            <a:xfrm>
              <a:off x="8396074" y="3497262"/>
              <a:ext cx="2170765" cy="2045961"/>
            </a:xfrm>
            <a:prstGeom prst="bentConnector3">
              <a:avLst>
                <a:gd name="adj1" fmla="val 99987"/>
              </a:avLst>
            </a:prstGeom>
            <a:noFill/>
            <a:ln w="12700" cap="flat" cmpd="sng" algn="ctr">
              <a:solidFill>
                <a:srgbClr val="002050"/>
              </a:solidFill>
              <a:prstDash val="solid"/>
              <a:headEnd type="none"/>
              <a:tailEnd type="none"/>
            </a:ln>
            <a:effectLst/>
          </p:spPr>
        </p:cxnSp>
        <p:cxnSp>
          <p:nvCxnSpPr>
            <p:cNvPr id="13" name="Connector: Elbow 12">
              <a:extLst>
                <a:ext uri="{FF2B5EF4-FFF2-40B4-BE49-F238E27FC236}">
                  <a16:creationId xmlns:a16="http://schemas.microsoft.com/office/drawing/2014/main" id="{05E2773E-825E-445F-9D05-175ABAB74215}"/>
                </a:ext>
              </a:extLst>
            </p:cNvPr>
            <p:cNvCxnSpPr>
              <a:cxnSpLocks/>
              <a:endCxn id="10" idx="1"/>
            </p:cNvCxnSpPr>
            <p:nvPr/>
          </p:nvCxnSpPr>
          <p:spPr>
            <a:xfrm>
              <a:off x="8396074" y="3271519"/>
              <a:ext cx="3053726" cy="2271703"/>
            </a:xfrm>
            <a:prstGeom prst="bentConnector3">
              <a:avLst>
                <a:gd name="adj1" fmla="val 99869"/>
              </a:avLst>
            </a:prstGeom>
            <a:noFill/>
            <a:ln w="12700" cap="flat" cmpd="sng" algn="ctr">
              <a:solidFill>
                <a:srgbClr val="002050"/>
              </a:solidFill>
              <a:prstDash val="solid"/>
              <a:headEnd type="none"/>
              <a:tailEnd type="none"/>
            </a:ln>
            <a:effectLst/>
          </p:spPr>
        </p:cxnSp>
        <p:grpSp>
          <p:nvGrpSpPr>
            <p:cNvPr id="14" name="Group 13">
              <a:extLst>
                <a:ext uri="{FF2B5EF4-FFF2-40B4-BE49-F238E27FC236}">
                  <a16:creationId xmlns:a16="http://schemas.microsoft.com/office/drawing/2014/main" id="{5323B51E-9851-4C3B-8C46-8F4DF9D3424E}"/>
                </a:ext>
              </a:extLst>
            </p:cNvPr>
            <p:cNvGrpSpPr/>
            <p:nvPr/>
          </p:nvGrpSpPr>
          <p:grpSpPr>
            <a:xfrm>
              <a:off x="8789796" y="3022382"/>
              <a:ext cx="892303" cy="893600"/>
              <a:chOff x="6422185" y="3376868"/>
              <a:chExt cx="694738" cy="695748"/>
            </a:xfrm>
          </p:grpSpPr>
          <p:sp>
            <p:nvSpPr>
              <p:cNvPr id="59" name="Freeform: Shape 58">
                <a:extLst>
                  <a:ext uri="{FF2B5EF4-FFF2-40B4-BE49-F238E27FC236}">
                    <a16:creationId xmlns:a16="http://schemas.microsoft.com/office/drawing/2014/main" id="{60791467-AC4D-4F27-B8C8-EF5A15007D6C}"/>
                  </a:ext>
                </a:extLst>
              </p:cNvPr>
              <p:cNvSpPr/>
              <p:nvPr/>
            </p:nvSpPr>
            <p:spPr bwMode="auto">
              <a:xfrm>
                <a:off x="6422185" y="3376868"/>
                <a:ext cx="694738" cy="6957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solidFill>
                <a:srgbClr val="FFFFFF"/>
              </a:solidFill>
              <a:ln w="12700" cap="flat" cmpd="sng" algn="ctr">
                <a:solidFill>
                  <a:srgbClr val="00205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60" name="Straight Connector 59">
                <a:extLst>
                  <a:ext uri="{FF2B5EF4-FFF2-40B4-BE49-F238E27FC236}">
                    <a16:creationId xmlns:a16="http://schemas.microsoft.com/office/drawing/2014/main" id="{8DBF34DF-7BE2-4318-A56C-714DB7CA1597}"/>
                  </a:ext>
                </a:extLst>
              </p:cNvPr>
              <p:cNvCxnSpPr/>
              <p:nvPr/>
            </p:nvCxnSpPr>
            <p:spPr>
              <a:xfrm>
                <a:off x="6769554" y="3524250"/>
                <a:ext cx="0" cy="398689"/>
              </a:xfrm>
              <a:prstGeom prst="line">
                <a:avLst/>
              </a:prstGeom>
              <a:noFill/>
              <a:ln w="12700" cap="flat" cmpd="sng" algn="ctr">
                <a:solidFill>
                  <a:srgbClr val="002050"/>
                </a:solidFill>
                <a:prstDash val="solid"/>
                <a:headEnd type="oval"/>
                <a:tailEnd type="oval"/>
              </a:ln>
              <a:effectLst/>
            </p:spPr>
          </p:cxnSp>
          <p:cxnSp>
            <p:nvCxnSpPr>
              <p:cNvPr id="61" name="Straight Connector 60">
                <a:extLst>
                  <a:ext uri="{FF2B5EF4-FFF2-40B4-BE49-F238E27FC236}">
                    <a16:creationId xmlns:a16="http://schemas.microsoft.com/office/drawing/2014/main" id="{85EACB5E-91DF-4114-8941-D9217C98F7B3}"/>
                  </a:ext>
                </a:extLst>
              </p:cNvPr>
              <p:cNvCxnSpPr/>
              <p:nvPr/>
            </p:nvCxnSpPr>
            <p:spPr>
              <a:xfrm flipV="1">
                <a:off x="6769554" y="3781425"/>
                <a:ext cx="202746" cy="141514"/>
              </a:xfrm>
              <a:prstGeom prst="line">
                <a:avLst/>
              </a:prstGeom>
              <a:noFill/>
              <a:ln w="12700" cap="flat" cmpd="sng" algn="ctr">
                <a:solidFill>
                  <a:srgbClr val="002050"/>
                </a:solidFill>
                <a:prstDash val="solid"/>
                <a:headEnd type="oval"/>
                <a:tailEnd type="oval"/>
              </a:ln>
              <a:effectLst/>
            </p:spPr>
          </p:cxnSp>
          <p:cxnSp>
            <p:nvCxnSpPr>
              <p:cNvPr id="62" name="Straight Connector 61">
                <a:extLst>
                  <a:ext uri="{FF2B5EF4-FFF2-40B4-BE49-F238E27FC236}">
                    <a16:creationId xmlns:a16="http://schemas.microsoft.com/office/drawing/2014/main" id="{B1CDAE94-2F59-46F3-B1D5-DD17697DF141}"/>
                  </a:ext>
                </a:extLst>
              </p:cNvPr>
              <p:cNvCxnSpPr/>
              <p:nvPr/>
            </p:nvCxnSpPr>
            <p:spPr>
              <a:xfrm>
                <a:off x="6769553" y="3524250"/>
                <a:ext cx="202746" cy="257175"/>
              </a:xfrm>
              <a:prstGeom prst="line">
                <a:avLst/>
              </a:prstGeom>
              <a:noFill/>
              <a:ln w="12700" cap="flat" cmpd="sng" algn="ctr">
                <a:solidFill>
                  <a:srgbClr val="002050"/>
                </a:solidFill>
                <a:prstDash val="solid"/>
                <a:headEnd type="oval"/>
                <a:tailEnd type="oval"/>
              </a:ln>
              <a:effectLst/>
            </p:spPr>
          </p:cxnSp>
          <p:cxnSp>
            <p:nvCxnSpPr>
              <p:cNvPr id="63" name="Straight Connector 62">
                <a:extLst>
                  <a:ext uri="{FF2B5EF4-FFF2-40B4-BE49-F238E27FC236}">
                    <a16:creationId xmlns:a16="http://schemas.microsoft.com/office/drawing/2014/main" id="{A80DB38E-2D31-488D-88CE-021A9E277602}"/>
                  </a:ext>
                </a:extLst>
              </p:cNvPr>
              <p:cNvCxnSpPr>
                <a:cxnSpLocks/>
              </p:cNvCxnSpPr>
              <p:nvPr/>
            </p:nvCxnSpPr>
            <p:spPr>
              <a:xfrm flipH="1" flipV="1">
                <a:off x="6571270" y="3781425"/>
                <a:ext cx="202746" cy="141514"/>
              </a:xfrm>
              <a:prstGeom prst="line">
                <a:avLst/>
              </a:prstGeom>
              <a:noFill/>
              <a:ln w="12700" cap="flat" cmpd="sng" algn="ctr">
                <a:solidFill>
                  <a:srgbClr val="002050"/>
                </a:solidFill>
                <a:prstDash val="solid"/>
                <a:headEnd type="oval"/>
                <a:tailEnd type="oval"/>
              </a:ln>
              <a:effectLst/>
            </p:spPr>
          </p:cxnSp>
          <p:cxnSp>
            <p:nvCxnSpPr>
              <p:cNvPr id="64" name="Straight Connector 63">
                <a:extLst>
                  <a:ext uri="{FF2B5EF4-FFF2-40B4-BE49-F238E27FC236}">
                    <a16:creationId xmlns:a16="http://schemas.microsoft.com/office/drawing/2014/main" id="{D2AAB6BB-776E-48CC-B879-D94C462CD80E}"/>
                  </a:ext>
                </a:extLst>
              </p:cNvPr>
              <p:cNvCxnSpPr>
                <a:cxnSpLocks/>
              </p:cNvCxnSpPr>
              <p:nvPr/>
            </p:nvCxnSpPr>
            <p:spPr>
              <a:xfrm flipH="1">
                <a:off x="6571269" y="3524250"/>
                <a:ext cx="202746" cy="257175"/>
              </a:xfrm>
              <a:prstGeom prst="line">
                <a:avLst/>
              </a:prstGeom>
              <a:noFill/>
              <a:ln w="12700" cap="flat" cmpd="sng" algn="ctr">
                <a:solidFill>
                  <a:srgbClr val="002050"/>
                </a:solidFill>
                <a:prstDash val="solid"/>
                <a:headEnd type="oval"/>
                <a:tailEnd type="oval"/>
              </a:ln>
              <a:effectLst/>
            </p:spPr>
          </p:cxnSp>
        </p:grpSp>
        <p:grpSp>
          <p:nvGrpSpPr>
            <p:cNvPr id="15" name="Group 14">
              <a:extLst>
                <a:ext uri="{FF2B5EF4-FFF2-40B4-BE49-F238E27FC236}">
                  <a16:creationId xmlns:a16="http://schemas.microsoft.com/office/drawing/2014/main" id="{DF3731C8-F203-4AD5-A5CA-E9A7FDAA8763}"/>
                </a:ext>
              </a:extLst>
            </p:cNvPr>
            <p:cNvGrpSpPr/>
            <p:nvPr/>
          </p:nvGrpSpPr>
          <p:grpSpPr>
            <a:xfrm>
              <a:off x="9510634" y="4461018"/>
              <a:ext cx="349726" cy="349726"/>
              <a:chOff x="1517650" y="1863725"/>
              <a:chExt cx="177800" cy="177800"/>
            </a:xfrm>
            <a:solidFill>
              <a:srgbClr val="FFFFFF"/>
            </a:solidFill>
          </p:grpSpPr>
          <p:sp>
            <p:nvSpPr>
              <p:cNvPr id="57" name="Oval 56">
                <a:extLst>
                  <a:ext uri="{FF2B5EF4-FFF2-40B4-BE49-F238E27FC236}">
                    <a16:creationId xmlns:a16="http://schemas.microsoft.com/office/drawing/2014/main" id="{9980D4F7-E5AA-4F4D-9B90-71CB5C018399}"/>
                  </a:ext>
                </a:extLst>
              </p:cNvPr>
              <p:cNvSpPr/>
              <p:nvPr/>
            </p:nvSpPr>
            <p:spPr bwMode="auto">
              <a:xfrm>
                <a:off x="1517650" y="1863725"/>
                <a:ext cx="177800" cy="177800"/>
              </a:xfrm>
              <a:prstGeom prst="ellipse">
                <a:avLst/>
              </a:prstGeom>
              <a:grpFill/>
              <a:ln w="12700" cap="flat" cmpd="sng" algn="ctr">
                <a:solidFill>
                  <a:srgbClr val="002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Freeform 5">
                <a:extLst>
                  <a:ext uri="{FF2B5EF4-FFF2-40B4-BE49-F238E27FC236}">
                    <a16:creationId xmlns:a16="http://schemas.microsoft.com/office/drawing/2014/main" id="{07F28BCB-6B77-45D5-9E27-5C2B27419F86}"/>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6" name="Group 15">
              <a:extLst>
                <a:ext uri="{FF2B5EF4-FFF2-40B4-BE49-F238E27FC236}">
                  <a16:creationId xmlns:a16="http://schemas.microsoft.com/office/drawing/2014/main" id="{B5202E3B-4ADA-40A7-8A44-5C3CBBE5B194}"/>
                </a:ext>
              </a:extLst>
            </p:cNvPr>
            <p:cNvGrpSpPr/>
            <p:nvPr/>
          </p:nvGrpSpPr>
          <p:grpSpPr>
            <a:xfrm>
              <a:off x="11270184" y="4461018"/>
              <a:ext cx="349726" cy="349726"/>
              <a:chOff x="1517650" y="1863725"/>
              <a:chExt cx="177800" cy="177800"/>
            </a:xfrm>
            <a:solidFill>
              <a:srgbClr val="FFFFFF"/>
            </a:solidFill>
          </p:grpSpPr>
          <p:sp>
            <p:nvSpPr>
              <p:cNvPr id="55" name="Oval 54">
                <a:extLst>
                  <a:ext uri="{FF2B5EF4-FFF2-40B4-BE49-F238E27FC236}">
                    <a16:creationId xmlns:a16="http://schemas.microsoft.com/office/drawing/2014/main" id="{6A496B00-F25B-4ABE-9D42-8FE743CEDF01}"/>
                  </a:ext>
                </a:extLst>
              </p:cNvPr>
              <p:cNvSpPr/>
              <p:nvPr/>
            </p:nvSpPr>
            <p:spPr bwMode="auto">
              <a:xfrm>
                <a:off x="1517650" y="1863725"/>
                <a:ext cx="177800" cy="177800"/>
              </a:xfrm>
              <a:prstGeom prst="ellipse">
                <a:avLst/>
              </a:prstGeom>
              <a:grpFill/>
              <a:ln w="12700" cap="flat" cmpd="sng" algn="ctr">
                <a:solidFill>
                  <a:srgbClr val="00205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5">
                <a:extLst>
                  <a:ext uri="{FF2B5EF4-FFF2-40B4-BE49-F238E27FC236}">
                    <a16:creationId xmlns:a16="http://schemas.microsoft.com/office/drawing/2014/main" id="{8A4B4DE4-3C1E-48B3-8294-3873086676F9}"/>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cap="flat" cmpd="sng" algn="ctr">
                <a:solidFill>
                  <a:srgbClr val="002050"/>
                </a:solidFill>
                <a:prstDash val="solid"/>
                <a:headEnd type="none" w="med" len="med"/>
                <a:tailEnd type="none" w="med" len="me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CA6FC54A-1396-4D67-9AD5-50FCC7E5A040}"/>
                </a:ext>
              </a:extLst>
            </p:cNvPr>
            <p:cNvGrpSpPr/>
            <p:nvPr/>
          </p:nvGrpSpPr>
          <p:grpSpPr>
            <a:xfrm>
              <a:off x="10389838" y="4461018"/>
              <a:ext cx="349726" cy="349726"/>
              <a:chOff x="10186176" y="4373944"/>
              <a:chExt cx="342900" cy="342900"/>
            </a:xfrm>
            <a:solidFill>
              <a:srgbClr val="FFFFFF"/>
            </a:solidFill>
          </p:grpSpPr>
          <p:sp>
            <p:nvSpPr>
              <p:cNvPr id="51" name="Oval 50">
                <a:extLst>
                  <a:ext uri="{FF2B5EF4-FFF2-40B4-BE49-F238E27FC236}">
                    <a16:creationId xmlns:a16="http://schemas.microsoft.com/office/drawing/2014/main" id="{0C8C21C0-4277-4573-BAE6-15B8F13C7A5E}"/>
                  </a:ext>
                </a:extLst>
              </p:cNvPr>
              <p:cNvSpPr/>
              <p:nvPr/>
            </p:nvSpPr>
            <p:spPr bwMode="auto">
              <a:xfrm>
                <a:off x="10186176" y="4373944"/>
                <a:ext cx="342900" cy="342900"/>
              </a:xfrm>
              <a:prstGeom prst="ellipse">
                <a:avLst/>
              </a:prstGeom>
              <a:grpFill/>
              <a:ln w="12700" cap="flat" cmpd="sng" algn="ctr">
                <a:solidFill>
                  <a:srgbClr val="DC3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57784BD6-6E08-47F6-97F4-2DC9E09AC80A}"/>
                  </a:ext>
                </a:extLst>
              </p:cNvPr>
              <p:cNvGrpSpPr/>
              <p:nvPr/>
            </p:nvGrpSpPr>
            <p:grpSpPr>
              <a:xfrm>
                <a:off x="10269178" y="4457700"/>
                <a:ext cx="176896" cy="175388"/>
                <a:chOff x="10239438" y="4431953"/>
                <a:chExt cx="236132" cy="234118"/>
              </a:xfrm>
              <a:grpFill/>
            </p:grpSpPr>
            <p:cxnSp>
              <p:nvCxnSpPr>
                <p:cNvPr id="53" name="Straight Connector 52">
                  <a:extLst>
                    <a:ext uri="{FF2B5EF4-FFF2-40B4-BE49-F238E27FC236}">
                      <a16:creationId xmlns:a16="http://schemas.microsoft.com/office/drawing/2014/main" id="{8DB0B5ED-13E6-4062-8D73-5163C3DD706C}"/>
                    </a:ext>
                  </a:extLst>
                </p:cNvPr>
                <p:cNvCxnSpPr>
                  <a:cxnSpLocks/>
                </p:cNvCxnSpPr>
                <p:nvPr/>
              </p:nvCxnSpPr>
              <p:spPr>
                <a:xfrm>
                  <a:off x="10248141" y="4437632"/>
                  <a:ext cx="218727" cy="222761"/>
                </a:xfrm>
                <a:prstGeom prst="line">
                  <a:avLst/>
                </a:prstGeom>
                <a:grpFill/>
                <a:ln w="12700" cap="flat" cmpd="sng" algn="ctr">
                  <a:solidFill>
                    <a:srgbClr val="DC3C00"/>
                  </a:solidFill>
                  <a:prstDash val="solid"/>
                  <a:headEnd type="none"/>
                  <a:tailEnd type="none"/>
                </a:ln>
                <a:effectLst/>
              </p:spPr>
            </p:cxnSp>
            <p:cxnSp>
              <p:nvCxnSpPr>
                <p:cNvPr id="54" name="Straight Connector 53">
                  <a:extLst>
                    <a:ext uri="{FF2B5EF4-FFF2-40B4-BE49-F238E27FC236}">
                      <a16:creationId xmlns:a16="http://schemas.microsoft.com/office/drawing/2014/main" id="{E61C746B-72AA-458F-9F79-9D5246A0973C}"/>
                    </a:ext>
                  </a:extLst>
                </p:cNvPr>
                <p:cNvCxnSpPr>
                  <a:cxnSpLocks/>
                </p:cNvCxnSpPr>
                <p:nvPr/>
              </p:nvCxnSpPr>
              <p:spPr>
                <a:xfrm flipV="1">
                  <a:off x="10239438" y="4431953"/>
                  <a:ext cx="236132" cy="234118"/>
                </a:xfrm>
                <a:prstGeom prst="line">
                  <a:avLst/>
                </a:prstGeom>
                <a:grpFill/>
                <a:ln w="12700" cap="flat" cmpd="sng" algn="ctr">
                  <a:solidFill>
                    <a:srgbClr val="DC3C00"/>
                  </a:solidFill>
                  <a:prstDash val="solid"/>
                  <a:headEnd type="none"/>
                  <a:tailEnd type="none"/>
                </a:ln>
                <a:effectLst/>
              </p:spPr>
            </p:cxnSp>
          </p:grpSp>
        </p:grpSp>
        <p:grpSp>
          <p:nvGrpSpPr>
            <p:cNvPr id="18" name="Group 17">
              <a:extLst>
                <a:ext uri="{FF2B5EF4-FFF2-40B4-BE49-F238E27FC236}">
                  <a16:creationId xmlns:a16="http://schemas.microsoft.com/office/drawing/2014/main" id="{4081B3D7-E927-477D-B53C-6F1FDF82A2BF}"/>
                </a:ext>
              </a:extLst>
            </p:cNvPr>
            <p:cNvGrpSpPr/>
            <p:nvPr/>
          </p:nvGrpSpPr>
          <p:grpSpPr>
            <a:xfrm>
              <a:off x="9421853" y="4972941"/>
              <a:ext cx="523289" cy="323096"/>
              <a:chOff x="5941623" y="5377251"/>
              <a:chExt cx="513075" cy="316790"/>
            </a:xfrm>
            <a:solidFill>
              <a:srgbClr val="FFFFFF"/>
            </a:solidFill>
          </p:grpSpPr>
          <p:sp>
            <p:nvSpPr>
              <p:cNvPr id="41" name="Freeform 5">
                <a:extLst>
                  <a:ext uri="{FF2B5EF4-FFF2-40B4-BE49-F238E27FC236}">
                    <a16:creationId xmlns:a16="http://schemas.microsoft.com/office/drawing/2014/main" id="{4A1F33C2-708A-4352-8477-08E0DBA8E810}"/>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grpFill/>
              <a:ln w="12700">
                <a:solidFill>
                  <a:srgbClr val="002050"/>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42" name="Group 41">
                <a:extLst>
                  <a:ext uri="{FF2B5EF4-FFF2-40B4-BE49-F238E27FC236}">
                    <a16:creationId xmlns:a16="http://schemas.microsoft.com/office/drawing/2014/main" id="{3ED50EF2-C082-42A7-8775-797FA61C9613}"/>
                  </a:ext>
                </a:extLst>
              </p:cNvPr>
              <p:cNvGrpSpPr/>
              <p:nvPr/>
            </p:nvGrpSpPr>
            <p:grpSpPr>
              <a:xfrm>
                <a:off x="5990185" y="5422371"/>
                <a:ext cx="180414" cy="173363"/>
                <a:chOff x="5990185" y="5422371"/>
                <a:chExt cx="142642" cy="137067"/>
              </a:xfrm>
              <a:grpFill/>
            </p:grpSpPr>
            <p:sp>
              <p:nvSpPr>
                <p:cNvPr id="49" name="Rectangle 6">
                  <a:extLst>
                    <a:ext uri="{FF2B5EF4-FFF2-40B4-BE49-F238E27FC236}">
                      <a16:creationId xmlns:a16="http://schemas.microsoft.com/office/drawing/2014/main" id="{A775AA84-D1C4-4DD4-B29F-A1DC3E58D111}"/>
                    </a:ext>
                  </a:extLst>
                </p:cNvPr>
                <p:cNvSpPr>
                  <a:spLocks noChangeArrowheads="1"/>
                </p:cNvSpPr>
                <p:nvPr/>
              </p:nvSpPr>
              <p:spPr bwMode="auto">
                <a:xfrm>
                  <a:off x="5990185" y="5422371"/>
                  <a:ext cx="142642" cy="137067"/>
                </a:xfrm>
                <a:prstGeom prst="rect">
                  <a:avLst/>
                </a:prstGeom>
                <a:grpFill/>
                <a:ln w="12700">
                  <a:solidFill>
                    <a:srgbClr val="002050"/>
                  </a:solidFill>
                  <a:miter lim="800000"/>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50" name="Freeform 5">
                  <a:extLst>
                    <a:ext uri="{FF2B5EF4-FFF2-40B4-BE49-F238E27FC236}">
                      <a16:creationId xmlns:a16="http://schemas.microsoft.com/office/drawing/2014/main" id="{962266E0-7C63-45FA-9B10-8560B711E23E}"/>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rgbClr val="00205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43" name="Group 42">
                <a:extLst>
                  <a:ext uri="{FF2B5EF4-FFF2-40B4-BE49-F238E27FC236}">
                    <a16:creationId xmlns:a16="http://schemas.microsoft.com/office/drawing/2014/main" id="{CF945DE9-0104-4C08-92F6-C3F932A1765C}"/>
                  </a:ext>
                </a:extLst>
              </p:cNvPr>
              <p:cNvGrpSpPr/>
              <p:nvPr/>
            </p:nvGrpSpPr>
            <p:grpSpPr>
              <a:xfrm>
                <a:off x="6207205" y="5419654"/>
                <a:ext cx="211466" cy="162957"/>
                <a:chOff x="6183874" y="5419654"/>
                <a:chExt cx="234797" cy="162957"/>
              </a:xfrm>
              <a:grpFill/>
            </p:grpSpPr>
            <p:cxnSp>
              <p:nvCxnSpPr>
                <p:cNvPr id="45" name="Straight Connector 44">
                  <a:extLst>
                    <a:ext uri="{FF2B5EF4-FFF2-40B4-BE49-F238E27FC236}">
                      <a16:creationId xmlns:a16="http://schemas.microsoft.com/office/drawing/2014/main" id="{0BFD84CB-0A52-4BA9-835B-C76829D7917E}"/>
                    </a:ext>
                  </a:extLst>
                </p:cNvPr>
                <p:cNvCxnSpPr>
                  <a:cxnSpLocks/>
                </p:cNvCxnSpPr>
                <p:nvPr/>
              </p:nvCxnSpPr>
              <p:spPr>
                <a:xfrm>
                  <a:off x="6183874" y="5419654"/>
                  <a:ext cx="234797" cy="0"/>
                </a:xfrm>
                <a:prstGeom prst="line">
                  <a:avLst/>
                </a:prstGeom>
                <a:grpFill/>
                <a:ln w="12700" cap="flat" cmpd="sng" algn="ctr">
                  <a:solidFill>
                    <a:srgbClr val="002050"/>
                  </a:solidFill>
                  <a:prstDash val="solid"/>
                  <a:headEnd type="none"/>
                  <a:tailEnd type="none"/>
                </a:ln>
                <a:effectLst/>
              </p:spPr>
            </p:cxnSp>
            <p:cxnSp>
              <p:nvCxnSpPr>
                <p:cNvPr id="46" name="Straight Connector 45">
                  <a:extLst>
                    <a:ext uri="{FF2B5EF4-FFF2-40B4-BE49-F238E27FC236}">
                      <a16:creationId xmlns:a16="http://schemas.microsoft.com/office/drawing/2014/main" id="{A1ACDFF4-2381-4D04-BA9F-82DC9080940F}"/>
                    </a:ext>
                  </a:extLst>
                </p:cNvPr>
                <p:cNvCxnSpPr/>
                <p:nvPr/>
              </p:nvCxnSpPr>
              <p:spPr>
                <a:xfrm>
                  <a:off x="6183874" y="5473973"/>
                  <a:ext cx="234797" cy="0"/>
                </a:xfrm>
                <a:prstGeom prst="line">
                  <a:avLst/>
                </a:prstGeom>
                <a:grpFill/>
                <a:ln w="12700" cap="flat" cmpd="sng" algn="ctr">
                  <a:solidFill>
                    <a:srgbClr val="002050"/>
                  </a:solidFill>
                  <a:prstDash val="solid"/>
                  <a:headEnd type="none"/>
                  <a:tailEnd type="none"/>
                </a:ln>
                <a:effectLst/>
              </p:spPr>
            </p:cxnSp>
            <p:cxnSp>
              <p:nvCxnSpPr>
                <p:cNvPr id="47" name="Straight Connector 46">
                  <a:extLst>
                    <a:ext uri="{FF2B5EF4-FFF2-40B4-BE49-F238E27FC236}">
                      <a16:creationId xmlns:a16="http://schemas.microsoft.com/office/drawing/2014/main" id="{787D6050-D026-40BC-90D9-F0A302E779A3}"/>
                    </a:ext>
                  </a:extLst>
                </p:cNvPr>
                <p:cNvCxnSpPr>
                  <a:cxnSpLocks/>
                </p:cNvCxnSpPr>
                <p:nvPr/>
              </p:nvCxnSpPr>
              <p:spPr>
                <a:xfrm>
                  <a:off x="6183874" y="5528292"/>
                  <a:ext cx="234797" cy="0"/>
                </a:xfrm>
                <a:prstGeom prst="line">
                  <a:avLst/>
                </a:prstGeom>
                <a:grpFill/>
                <a:ln w="12700" cap="flat" cmpd="sng" algn="ctr">
                  <a:solidFill>
                    <a:srgbClr val="002050"/>
                  </a:solidFill>
                  <a:prstDash val="solid"/>
                  <a:headEnd type="none"/>
                  <a:tailEnd type="none"/>
                </a:ln>
                <a:effectLst/>
              </p:spPr>
            </p:cxnSp>
            <p:cxnSp>
              <p:nvCxnSpPr>
                <p:cNvPr id="48" name="Straight Connector 47">
                  <a:extLst>
                    <a:ext uri="{FF2B5EF4-FFF2-40B4-BE49-F238E27FC236}">
                      <a16:creationId xmlns:a16="http://schemas.microsoft.com/office/drawing/2014/main" id="{DA88FEE5-BC7C-4BB1-B70D-4907B841B9A3}"/>
                    </a:ext>
                  </a:extLst>
                </p:cNvPr>
                <p:cNvCxnSpPr/>
                <p:nvPr/>
              </p:nvCxnSpPr>
              <p:spPr>
                <a:xfrm>
                  <a:off x="6183874" y="5582611"/>
                  <a:ext cx="234797" cy="0"/>
                </a:xfrm>
                <a:prstGeom prst="line">
                  <a:avLst/>
                </a:prstGeom>
                <a:grpFill/>
                <a:ln w="12700" cap="flat" cmpd="sng" algn="ctr">
                  <a:solidFill>
                    <a:srgbClr val="002050"/>
                  </a:solidFill>
                  <a:prstDash val="solid"/>
                  <a:headEnd type="none"/>
                  <a:tailEnd type="none"/>
                </a:ln>
                <a:effectLst/>
              </p:spPr>
            </p:cxnSp>
          </p:grpSp>
          <p:cxnSp>
            <p:nvCxnSpPr>
              <p:cNvPr id="44" name="Straight Connector 43">
                <a:extLst>
                  <a:ext uri="{FF2B5EF4-FFF2-40B4-BE49-F238E27FC236}">
                    <a16:creationId xmlns:a16="http://schemas.microsoft.com/office/drawing/2014/main" id="{1502F079-7289-46F9-87E5-BF11806A49F6}"/>
                  </a:ext>
                </a:extLst>
              </p:cNvPr>
              <p:cNvCxnSpPr>
                <a:cxnSpLocks/>
              </p:cNvCxnSpPr>
              <p:nvPr/>
            </p:nvCxnSpPr>
            <p:spPr>
              <a:xfrm>
                <a:off x="5978022" y="5636931"/>
                <a:ext cx="440649" cy="0"/>
              </a:xfrm>
              <a:prstGeom prst="line">
                <a:avLst/>
              </a:prstGeom>
              <a:grpFill/>
              <a:ln w="12700" cap="flat" cmpd="sng" algn="ctr">
                <a:solidFill>
                  <a:srgbClr val="002050"/>
                </a:solidFill>
                <a:prstDash val="solid"/>
                <a:headEnd type="none"/>
                <a:tailEnd type="none"/>
              </a:ln>
              <a:effectLst/>
            </p:spPr>
          </p:cxnSp>
        </p:grpSp>
        <p:grpSp>
          <p:nvGrpSpPr>
            <p:cNvPr id="19" name="Group 18">
              <a:extLst>
                <a:ext uri="{FF2B5EF4-FFF2-40B4-BE49-F238E27FC236}">
                  <a16:creationId xmlns:a16="http://schemas.microsoft.com/office/drawing/2014/main" id="{D7493723-8F0F-492A-8D6C-63F1723CF994}"/>
                </a:ext>
              </a:extLst>
            </p:cNvPr>
            <p:cNvGrpSpPr/>
            <p:nvPr/>
          </p:nvGrpSpPr>
          <p:grpSpPr>
            <a:xfrm>
              <a:off x="10302629" y="4972941"/>
              <a:ext cx="523289" cy="323096"/>
              <a:chOff x="5941623" y="5377251"/>
              <a:chExt cx="513075" cy="316790"/>
            </a:xfrm>
            <a:solidFill>
              <a:srgbClr val="FFFFFF"/>
            </a:solidFill>
          </p:grpSpPr>
          <p:sp>
            <p:nvSpPr>
              <p:cNvPr id="31" name="Freeform 5">
                <a:extLst>
                  <a:ext uri="{FF2B5EF4-FFF2-40B4-BE49-F238E27FC236}">
                    <a16:creationId xmlns:a16="http://schemas.microsoft.com/office/drawing/2014/main" id="{3695DE5E-0572-453D-BE89-9B927E4DF58B}"/>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grpFill/>
              <a:ln w="12700">
                <a:solidFill>
                  <a:srgbClr val="0078D7"/>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2" name="Group 31">
                <a:extLst>
                  <a:ext uri="{FF2B5EF4-FFF2-40B4-BE49-F238E27FC236}">
                    <a16:creationId xmlns:a16="http://schemas.microsoft.com/office/drawing/2014/main" id="{D8E2751A-A941-4E80-A2AD-026334C4021F}"/>
                  </a:ext>
                </a:extLst>
              </p:cNvPr>
              <p:cNvGrpSpPr/>
              <p:nvPr/>
            </p:nvGrpSpPr>
            <p:grpSpPr>
              <a:xfrm>
                <a:off x="5990185" y="5422371"/>
                <a:ext cx="180414" cy="173363"/>
                <a:chOff x="5990185" y="5422371"/>
                <a:chExt cx="142642" cy="137067"/>
              </a:xfrm>
              <a:grpFill/>
            </p:grpSpPr>
            <p:sp>
              <p:nvSpPr>
                <p:cNvPr id="39" name="Rectangle 6">
                  <a:extLst>
                    <a:ext uri="{FF2B5EF4-FFF2-40B4-BE49-F238E27FC236}">
                      <a16:creationId xmlns:a16="http://schemas.microsoft.com/office/drawing/2014/main" id="{656AB88F-D0FE-4B5E-ABA7-B133F7DD04D0}"/>
                    </a:ext>
                  </a:extLst>
                </p:cNvPr>
                <p:cNvSpPr>
                  <a:spLocks noChangeArrowheads="1"/>
                </p:cNvSpPr>
                <p:nvPr/>
              </p:nvSpPr>
              <p:spPr bwMode="auto">
                <a:xfrm>
                  <a:off x="5990185" y="5422371"/>
                  <a:ext cx="142642" cy="137067"/>
                </a:xfrm>
                <a:prstGeom prst="rect">
                  <a:avLst/>
                </a:prstGeom>
                <a:grpFill/>
                <a:ln w="12700">
                  <a:solidFill>
                    <a:srgbClr val="0078D7"/>
                  </a:solidFill>
                  <a:miter lim="800000"/>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40" name="Freeform 5">
                  <a:extLst>
                    <a:ext uri="{FF2B5EF4-FFF2-40B4-BE49-F238E27FC236}">
                      <a16:creationId xmlns:a16="http://schemas.microsoft.com/office/drawing/2014/main" id="{D74D5CAA-0AE8-4414-A79F-1B14FBBAB3EB}"/>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rgbClr val="DC3C0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33" name="Group 32">
                <a:extLst>
                  <a:ext uri="{FF2B5EF4-FFF2-40B4-BE49-F238E27FC236}">
                    <a16:creationId xmlns:a16="http://schemas.microsoft.com/office/drawing/2014/main" id="{D4ADB928-DC94-46AE-BF6F-AE78D0711790}"/>
                  </a:ext>
                </a:extLst>
              </p:cNvPr>
              <p:cNvGrpSpPr/>
              <p:nvPr/>
            </p:nvGrpSpPr>
            <p:grpSpPr>
              <a:xfrm>
                <a:off x="6207205" y="5419654"/>
                <a:ext cx="211466" cy="162957"/>
                <a:chOff x="6183874" y="5419654"/>
                <a:chExt cx="234797" cy="162957"/>
              </a:xfrm>
              <a:grpFill/>
            </p:grpSpPr>
            <p:cxnSp>
              <p:nvCxnSpPr>
                <p:cNvPr id="35" name="Straight Connector 34">
                  <a:extLst>
                    <a:ext uri="{FF2B5EF4-FFF2-40B4-BE49-F238E27FC236}">
                      <a16:creationId xmlns:a16="http://schemas.microsoft.com/office/drawing/2014/main" id="{52341D14-A4C4-4BCD-8D96-A82CE835A147}"/>
                    </a:ext>
                  </a:extLst>
                </p:cNvPr>
                <p:cNvCxnSpPr>
                  <a:cxnSpLocks/>
                </p:cNvCxnSpPr>
                <p:nvPr/>
              </p:nvCxnSpPr>
              <p:spPr>
                <a:xfrm>
                  <a:off x="6183874" y="5419654"/>
                  <a:ext cx="234797" cy="0"/>
                </a:xfrm>
                <a:prstGeom prst="line">
                  <a:avLst/>
                </a:prstGeom>
                <a:grpFill/>
                <a:ln w="12700" cap="flat" cmpd="sng" algn="ctr">
                  <a:solidFill>
                    <a:srgbClr val="DC3C00"/>
                  </a:solidFill>
                  <a:prstDash val="solid"/>
                  <a:headEnd type="none"/>
                  <a:tailEnd type="none"/>
                </a:ln>
                <a:effectLst/>
              </p:spPr>
            </p:cxnSp>
            <p:cxnSp>
              <p:nvCxnSpPr>
                <p:cNvPr id="36" name="Straight Connector 35">
                  <a:extLst>
                    <a:ext uri="{FF2B5EF4-FFF2-40B4-BE49-F238E27FC236}">
                      <a16:creationId xmlns:a16="http://schemas.microsoft.com/office/drawing/2014/main" id="{849F91C6-E135-4879-8E85-8FBC2D0C33ED}"/>
                    </a:ext>
                  </a:extLst>
                </p:cNvPr>
                <p:cNvCxnSpPr/>
                <p:nvPr/>
              </p:nvCxnSpPr>
              <p:spPr>
                <a:xfrm>
                  <a:off x="6183874" y="5473973"/>
                  <a:ext cx="234797" cy="0"/>
                </a:xfrm>
                <a:prstGeom prst="line">
                  <a:avLst/>
                </a:prstGeom>
                <a:grpFill/>
                <a:ln w="12700" cap="flat" cmpd="sng" algn="ctr">
                  <a:solidFill>
                    <a:srgbClr val="0078D7"/>
                  </a:solidFill>
                  <a:prstDash val="solid"/>
                  <a:headEnd type="none"/>
                  <a:tailEnd type="none"/>
                </a:ln>
                <a:effectLst/>
              </p:spPr>
            </p:cxnSp>
            <p:cxnSp>
              <p:nvCxnSpPr>
                <p:cNvPr id="37" name="Straight Connector 36">
                  <a:extLst>
                    <a:ext uri="{FF2B5EF4-FFF2-40B4-BE49-F238E27FC236}">
                      <a16:creationId xmlns:a16="http://schemas.microsoft.com/office/drawing/2014/main" id="{9B48224A-7196-4975-9717-943D68AE319E}"/>
                    </a:ext>
                  </a:extLst>
                </p:cNvPr>
                <p:cNvCxnSpPr>
                  <a:cxnSpLocks/>
                </p:cNvCxnSpPr>
                <p:nvPr/>
              </p:nvCxnSpPr>
              <p:spPr>
                <a:xfrm>
                  <a:off x="6183874" y="5528292"/>
                  <a:ext cx="234797" cy="0"/>
                </a:xfrm>
                <a:prstGeom prst="line">
                  <a:avLst/>
                </a:prstGeom>
                <a:grpFill/>
                <a:ln w="12700" cap="flat" cmpd="sng" algn="ctr">
                  <a:solidFill>
                    <a:srgbClr val="0078D7"/>
                  </a:solidFill>
                  <a:prstDash val="solid"/>
                  <a:headEnd type="none"/>
                  <a:tailEnd type="none"/>
                </a:ln>
                <a:effectLst/>
              </p:spPr>
            </p:cxnSp>
            <p:cxnSp>
              <p:nvCxnSpPr>
                <p:cNvPr id="38" name="Straight Connector 37">
                  <a:extLst>
                    <a:ext uri="{FF2B5EF4-FFF2-40B4-BE49-F238E27FC236}">
                      <a16:creationId xmlns:a16="http://schemas.microsoft.com/office/drawing/2014/main" id="{B6FF9981-EC3A-4BA1-A113-B5B4DB211A44}"/>
                    </a:ext>
                  </a:extLst>
                </p:cNvPr>
                <p:cNvCxnSpPr/>
                <p:nvPr/>
              </p:nvCxnSpPr>
              <p:spPr>
                <a:xfrm>
                  <a:off x="6183874" y="5582611"/>
                  <a:ext cx="234797" cy="0"/>
                </a:xfrm>
                <a:prstGeom prst="line">
                  <a:avLst/>
                </a:prstGeom>
                <a:grpFill/>
                <a:ln w="12700" cap="flat" cmpd="sng" algn="ctr">
                  <a:solidFill>
                    <a:srgbClr val="DC3C00"/>
                  </a:solidFill>
                  <a:prstDash val="solid"/>
                  <a:headEnd type="none"/>
                  <a:tailEnd type="none"/>
                </a:ln>
                <a:effectLst/>
              </p:spPr>
            </p:cxnSp>
          </p:grpSp>
          <p:cxnSp>
            <p:nvCxnSpPr>
              <p:cNvPr id="34" name="Straight Connector 33">
                <a:extLst>
                  <a:ext uri="{FF2B5EF4-FFF2-40B4-BE49-F238E27FC236}">
                    <a16:creationId xmlns:a16="http://schemas.microsoft.com/office/drawing/2014/main" id="{17CF5DF7-23C9-49A5-A17D-5333EF3DA2DD}"/>
                  </a:ext>
                </a:extLst>
              </p:cNvPr>
              <p:cNvCxnSpPr>
                <a:cxnSpLocks/>
              </p:cNvCxnSpPr>
              <p:nvPr/>
            </p:nvCxnSpPr>
            <p:spPr>
              <a:xfrm>
                <a:off x="5978022" y="5636931"/>
                <a:ext cx="440649" cy="0"/>
              </a:xfrm>
              <a:prstGeom prst="line">
                <a:avLst/>
              </a:prstGeom>
              <a:grpFill/>
              <a:ln w="12700" cap="flat" cmpd="sng" algn="ctr">
                <a:solidFill>
                  <a:srgbClr val="DC3C00"/>
                </a:solidFill>
                <a:prstDash val="solid"/>
                <a:headEnd type="none"/>
                <a:tailEnd type="none"/>
              </a:ln>
              <a:effectLst/>
            </p:spPr>
          </p:cxnSp>
        </p:grpSp>
        <p:grpSp>
          <p:nvGrpSpPr>
            <p:cNvPr id="20" name="Group 19">
              <a:extLst>
                <a:ext uri="{FF2B5EF4-FFF2-40B4-BE49-F238E27FC236}">
                  <a16:creationId xmlns:a16="http://schemas.microsoft.com/office/drawing/2014/main" id="{DA6B81EF-F84E-47D5-A220-B49E79159E7C}"/>
                </a:ext>
              </a:extLst>
            </p:cNvPr>
            <p:cNvGrpSpPr/>
            <p:nvPr/>
          </p:nvGrpSpPr>
          <p:grpSpPr>
            <a:xfrm>
              <a:off x="11183404" y="4972941"/>
              <a:ext cx="523289" cy="323096"/>
              <a:chOff x="5941623" y="5377251"/>
              <a:chExt cx="513075" cy="316790"/>
            </a:xfrm>
            <a:solidFill>
              <a:srgbClr val="FFFFFF"/>
            </a:solidFill>
          </p:grpSpPr>
          <p:sp>
            <p:nvSpPr>
              <p:cNvPr id="21" name="Freeform 5">
                <a:extLst>
                  <a:ext uri="{FF2B5EF4-FFF2-40B4-BE49-F238E27FC236}">
                    <a16:creationId xmlns:a16="http://schemas.microsoft.com/office/drawing/2014/main" id="{E383EEF8-A817-4ADD-AED4-4AF581D40618}"/>
                  </a:ext>
                </a:extLst>
              </p:cNvPr>
              <p:cNvSpPr>
                <a:spLocks/>
              </p:cNvSpPr>
              <p:nvPr/>
            </p:nvSpPr>
            <p:spPr bwMode="auto">
              <a:xfrm>
                <a:off x="5941623" y="5377251"/>
                <a:ext cx="513075" cy="316790"/>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grpFill/>
              <a:ln w="12700">
                <a:solidFill>
                  <a:srgbClr val="002050"/>
                </a:solid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22" name="Group 21">
                <a:extLst>
                  <a:ext uri="{FF2B5EF4-FFF2-40B4-BE49-F238E27FC236}">
                    <a16:creationId xmlns:a16="http://schemas.microsoft.com/office/drawing/2014/main" id="{F074A743-A73F-4745-A823-862D83C96169}"/>
                  </a:ext>
                </a:extLst>
              </p:cNvPr>
              <p:cNvGrpSpPr/>
              <p:nvPr/>
            </p:nvGrpSpPr>
            <p:grpSpPr>
              <a:xfrm>
                <a:off x="5990185" y="5422371"/>
                <a:ext cx="180414" cy="173363"/>
                <a:chOff x="5990185" y="5422371"/>
                <a:chExt cx="142642" cy="137067"/>
              </a:xfrm>
              <a:grpFill/>
            </p:grpSpPr>
            <p:sp>
              <p:nvSpPr>
                <p:cNvPr id="29" name="Rectangle 6">
                  <a:extLst>
                    <a:ext uri="{FF2B5EF4-FFF2-40B4-BE49-F238E27FC236}">
                      <a16:creationId xmlns:a16="http://schemas.microsoft.com/office/drawing/2014/main" id="{F3DC65EB-ABF1-4550-A919-A763C1097070}"/>
                    </a:ext>
                  </a:extLst>
                </p:cNvPr>
                <p:cNvSpPr>
                  <a:spLocks noChangeArrowheads="1"/>
                </p:cNvSpPr>
                <p:nvPr/>
              </p:nvSpPr>
              <p:spPr bwMode="auto">
                <a:xfrm>
                  <a:off x="5990185" y="5422371"/>
                  <a:ext cx="142642" cy="137067"/>
                </a:xfrm>
                <a:prstGeom prst="rect">
                  <a:avLst/>
                </a:prstGeom>
                <a:grpFill/>
                <a:ln w="12700">
                  <a:solidFill>
                    <a:srgbClr val="002050"/>
                  </a:solidFill>
                  <a:miter lim="800000"/>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0" name="Freeform 5">
                  <a:extLst>
                    <a:ext uri="{FF2B5EF4-FFF2-40B4-BE49-F238E27FC236}">
                      <a16:creationId xmlns:a16="http://schemas.microsoft.com/office/drawing/2014/main" id="{9802B89A-B745-4B3E-A63B-5263EB64E35F}"/>
                    </a:ext>
                  </a:extLst>
                </p:cNvPr>
                <p:cNvSpPr>
                  <a:spLocks noEditPoints="1"/>
                </p:cNvSpPr>
                <p:nvPr/>
              </p:nvSpPr>
              <p:spPr bwMode="auto">
                <a:xfrm>
                  <a:off x="6021726" y="5446458"/>
                  <a:ext cx="79561" cy="8889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rgbClr val="00205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grpSp>
            <p:nvGrpSpPr>
              <p:cNvPr id="23" name="Group 22">
                <a:extLst>
                  <a:ext uri="{FF2B5EF4-FFF2-40B4-BE49-F238E27FC236}">
                    <a16:creationId xmlns:a16="http://schemas.microsoft.com/office/drawing/2014/main" id="{C7D8C959-F9EE-4163-8BF4-26D501AD144C}"/>
                  </a:ext>
                </a:extLst>
              </p:cNvPr>
              <p:cNvGrpSpPr/>
              <p:nvPr/>
            </p:nvGrpSpPr>
            <p:grpSpPr>
              <a:xfrm>
                <a:off x="6207205" y="5419654"/>
                <a:ext cx="211466" cy="162957"/>
                <a:chOff x="6183874" y="5419654"/>
                <a:chExt cx="234797" cy="162957"/>
              </a:xfrm>
              <a:grpFill/>
            </p:grpSpPr>
            <p:cxnSp>
              <p:nvCxnSpPr>
                <p:cNvPr id="25" name="Straight Connector 24">
                  <a:extLst>
                    <a:ext uri="{FF2B5EF4-FFF2-40B4-BE49-F238E27FC236}">
                      <a16:creationId xmlns:a16="http://schemas.microsoft.com/office/drawing/2014/main" id="{82CAE751-1921-4610-8D9E-FB171A2F15A0}"/>
                    </a:ext>
                  </a:extLst>
                </p:cNvPr>
                <p:cNvCxnSpPr>
                  <a:cxnSpLocks/>
                </p:cNvCxnSpPr>
                <p:nvPr/>
              </p:nvCxnSpPr>
              <p:spPr>
                <a:xfrm>
                  <a:off x="6183874" y="5419654"/>
                  <a:ext cx="234797" cy="0"/>
                </a:xfrm>
                <a:prstGeom prst="line">
                  <a:avLst/>
                </a:prstGeom>
                <a:grpFill/>
                <a:ln w="12700" cap="flat" cmpd="sng" algn="ctr">
                  <a:solidFill>
                    <a:srgbClr val="002050"/>
                  </a:solidFill>
                  <a:prstDash val="solid"/>
                  <a:headEnd type="none"/>
                  <a:tailEnd type="none"/>
                </a:ln>
                <a:effectLst/>
              </p:spPr>
            </p:cxnSp>
            <p:cxnSp>
              <p:nvCxnSpPr>
                <p:cNvPr id="26" name="Straight Connector 25">
                  <a:extLst>
                    <a:ext uri="{FF2B5EF4-FFF2-40B4-BE49-F238E27FC236}">
                      <a16:creationId xmlns:a16="http://schemas.microsoft.com/office/drawing/2014/main" id="{B3F03E2F-2DFB-4E90-AB4B-795B55DC0449}"/>
                    </a:ext>
                  </a:extLst>
                </p:cNvPr>
                <p:cNvCxnSpPr/>
                <p:nvPr/>
              </p:nvCxnSpPr>
              <p:spPr>
                <a:xfrm>
                  <a:off x="6183874" y="5473973"/>
                  <a:ext cx="234797" cy="0"/>
                </a:xfrm>
                <a:prstGeom prst="line">
                  <a:avLst/>
                </a:prstGeom>
                <a:grpFill/>
                <a:ln w="12700" cap="flat" cmpd="sng" algn="ctr">
                  <a:solidFill>
                    <a:srgbClr val="002050"/>
                  </a:solidFill>
                  <a:prstDash val="solid"/>
                  <a:headEnd type="none"/>
                  <a:tailEnd type="none"/>
                </a:ln>
                <a:effectLst/>
              </p:spPr>
            </p:cxnSp>
            <p:cxnSp>
              <p:nvCxnSpPr>
                <p:cNvPr id="27" name="Straight Connector 26">
                  <a:extLst>
                    <a:ext uri="{FF2B5EF4-FFF2-40B4-BE49-F238E27FC236}">
                      <a16:creationId xmlns:a16="http://schemas.microsoft.com/office/drawing/2014/main" id="{EBFF1528-C1AD-4C28-B504-5AE9047BB4F1}"/>
                    </a:ext>
                  </a:extLst>
                </p:cNvPr>
                <p:cNvCxnSpPr>
                  <a:cxnSpLocks/>
                </p:cNvCxnSpPr>
                <p:nvPr/>
              </p:nvCxnSpPr>
              <p:spPr>
                <a:xfrm>
                  <a:off x="6183874" y="5528292"/>
                  <a:ext cx="234797" cy="0"/>
                </a:xfrm>
                <a:prstGeom prst="line">
                  <a:avLst/>
                </a:prstGeom>
                <a:grpFill/>
                <a:ln w="12700" cap="flat" cmpd="sng" algn="ctr">
                  <a:solidFill>
                    <a:srgbClr val="002050"/>
                  </a:solidFill>
                  <a:prstDash val="solid"/>
                  <a:headEnd type="none"/>
                  <a:tailEnd type="none"/>
                </a:ln>
                <a:effectLst/>
              </p:spPr>
            </p:cxnSp>
            <p:cxnSp>
              <p:nvCxnSpPr>
                <p:cNvPr id="28" name="Straight Connector 27">
                  <a:extLst>
                    <a:ext uri="{FF2B5EF4-FFF2-40B4-BE49-F238E27FC236}">
                      <a16:creationId xmlns:a16="http://schemas.microsoft.com/office/drawing/2014/main" id="{28DD402F-3C23-4619-B38C-00D54E07F428}"/>
                    </a:ext>
                  </a:extLst>
                </p:cNvPr>
                <p:cNvCxnSpPr/>
                <p:nvPr/>
              </p:nvCxnSpPr>
              <p:spPr>
                <a:xfrm>
                  <a:off x="6183874" y="5582611"/>
                  <a:ext cx="234797" cy="0"/>
                </a:xfrm>
                <a:prstGeom prst="line">
                  <a:avLst/>
                </a:prstGeom>
                <a:grpFill/>
                <a:ln w="12700" cap="flat" cmpd="sng" algn="ctr">
                  <a:solidFill>
                    <a:srgbClr val="002050"/>
                  </a:solidFill>
                  <a:prstDash val="solid"/>
                  <a:headEnd type="none"/>
                  <a:tailEnd type="none"/>
                </a:ln>
                <a:effectLst/>
              </p:spPr>
            </p:cxnSp>
          </p:grpSp>
          <p:cxnSp>
            <p:nvCxnSpPr>
              <p:cNvPr id="24" name="Straight Connector 23">
                <a:extLst>
                  <a:ext uri="{FF2B5EF4-FFF2-40B4-BE49-F238E27FC236}">
                    <a16:creationId xmlns:a16="http://schemas.microsoft.com/office/drawing/2014/main" id="{AACB250E-B9F0-409D-A436-10FEE9CA33DA}"/>
                  </a:ext>
                </a:extLst>
              </p:cNvPr>
              <p:cNvCxnSpPr>
                <a:cxnSpLocks/>
              </p:cNvCxnSpPr>
              <p:nvPr/>
            </p:nvCxnSpPr>
            <p:spPr>
              <a:xfrm>
                <a:off x="5978022" y="5636931"/>
                <a:ext cx="440649" cy="0"/>
              </a:xfrm>
              <a:prstGeom prst="line">
                <a:avLst/>
              </a:prstGeom>
              <a:grpFill/>
              <a:ln w="12700" cap="flat" cmpd="sng" algn="ctr">
                <a:solidFill>
                  <a:srgbClr val="002050"/>
                </a:solidFill>
                <a:prstDash val="solid"/>
                <a:headEnd type="none"/>
                <a:tailEnd type="none"/>
              </a:ln>
              <a:effectLst/>
            </p:spPr>
          </p:cxnSp>
        </p:grpSp>
      </p:grpSp>
    </p:spTree>
    <p:extLst>
      <p:ext uri="{BB962C8B-B14F-4D97-AF65-F5344CB8AC3E}">
        <p14:creationId xmlns:p14="http://schemas.microsoft.com/office/powerpoint/2010/main" val="79008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E6A75-1CB9-4CFF-B3F9-E8D18109E6DD}"/>
              </a:ext>
            </a:extLst>
          </p:cNvPr>
          <p:cNvSpPr>
            <a:spLocks noGrp="1"/>
          </p:cNvSpPr>
          <p:nvPr>
            <p:ph type="title"/>
          </p:nvPr>
        </p:nvSpPr>
        <p:spPr/>
        <p:txBody>
          <a:bodyPr/>
          <a:lstStyle/>
          <a:p>
            <a:r>
              <a:rPr lang="en-US"/>
              <a:t>Three Types of AAD Authentication</a:t>
            </a:r>
          </a:p>
        </p:txBody>
      </p:sp>
      <p:graphicFrame>
        <p:nvGraphicFramePr>
          <p:cNvPr id="5" name="Content Placeholder 4">
            <a:extLst>
              <a:ext uri="{FF2B5EF4-FFF2-40B4-BE49-F238E27FC236}">
                <a16:creationId xmlns:a16="http://schemas.microsoft.com/office/drawing/2014/main" id="{995DE8B3-90BB-4E43-8AB2-C7B23E25B00A}"/>
              </a:ext>
            </a:extLst>
          </p:cNvPr>
          <p:cNvGraphicFramePr>
            <a:graphicFrameLocks noGrp="1"/>
          </p:cNvGraphicFramePr>
          <p:nvPr>
            <p:ph sz="quarter" idx="13"/>
            <p:extLst>
              <p:ext uri="{D42A27DB-BD31-4B8C-83A1-F6EECF244321}">
                <p14:modId xmlns:p14="http://schemas.microsoft.com/office/powerpoint/2010/main" val="96732944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5858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E6A75-1CB9-4CFF-B3F9-E8D18109E6DD}"/>
              </a:ext>
            </a:extLst>
          </p:cNvPr>
          <p:cNvSpPr>
            <a:spLocks noGrp="1"/>
          </p:cNvSpPr>
          <p:nvPr>
            <p:ph type="title"/>
          </p:nvPr>
        </p:nvSpPr>
        <p:spPr/>
        <p:txBody>
          <a:bodyPr/>
          <a:lstStyle/>
          <a:p>
            <a:r>
              <a:rPr lang="en-US"/>
              <a:t>Benefits of AAD Authentication</a:t>
            </a:r>
          </a:p>
        </p:txBody>
      </p:sp>
      <p:graphicFrame>
        <p:nvGraphicFramePr>
          <p:cNvPr id="4" name="Content Placeholder 3">
            <a:extLst>
              <a:ext uri="{FF2B5EF4-FFF2-40B4-BE49-F238E27FC236}">
                <a16:creationId xmlns:a16="http://schemas.microsoft.com/office/drawing/2014/main" id="{4E7FB55A-2C6D-400F-8F89-6CCD7B42531C}"/>
              </a:ext>
            </a:extLst>
          </p:cNvPr>
          <p:cNvGraphicFramePr>
            <a:graphicFrameLocks noGrp="1"/>
          </p:cNvGraphicFramePr>
          <p:nvPr>
            <p:ph sz="quarter" idx="13"/>
            <p:extLst>
              <p:ext uri="{D42A27DB-BD31-4B8C-83A1-F6EECF244321}">
                <p14:modId xmlns:p14="http://schemas.microsoft.com/office/powerpoint/2010/main" val="2320551384"/>
              </p:ext>
            </p:extLst>
          </p:nvPr>
        </p:nvGraphicFramePr>
        <p:xfrm>
          <a:off x="655638" y="1219200"/>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30716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E6A75-1CB9-4CFF-B3F9-E8D18109E6DD}"/>
              </a:ext>
            </a:extLst>
          </p:cNvPr>
          <p:cNvSpPr>
            <a:spLocks noGrp="1"/>
          </p:cNvSpPr>
          <p:nvPr>
            <p:ph type="title"/>
          </p:nvPr>
        </p:nvSpPr>
        <p:spPr/>
        <p:txBody>
          <a:bodyPr/>
          <a:lstStyle/>
          <a:p>
            <a:r>
              <a:rPr lang="en-US"/>
              <a:t>Trust architecture</a:t>
            </a:r>
          </a:p>
        </p:txBody>
      </p:sp>
      <p:sp>
        <p:nvSpPr>
          <p:cNvPr id="4" name="Freeform 128">
            <a:extLst>
              <a:ext uri="{FF2B5EF4-FFF2-40B4-BE49-F238E27FC236}">
                <a16:creationId xmlns:a16="http://schemas.microsoft.com/office/drawing/2014/main" id="{FB5E89BB-7667-4B44-B1BC-9D0A370CCE0A}"/>
              </a:ext>
            </a:extLst>
          </p:cNvPr>
          <p:cNvSpPr>
            <a:spLocks noChangeAspect="1"/>
          </p:cNvSpPr>
          <p:nvPr/>
        </p:nvSpPr>
        <p:spPr bwMode="auto">
          <a:xfrm flipH="1">
            <a:off x="7219425" y="2031476"/>
            <a:ext cx="3466643" cy="19150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2050">
              <a:lumMod val="10000"/>
              <a:lumOff val="90000"/>
            </a:srgbClr>
          </a:solidFill>
          <a:ln w="12700">
            <a:solidFill>
              <a:srgbClr val="0078D7"/>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33333"/>
              </a:solidFill>
              <a:effectLst/>
              <a:uLnTx/>
              <a:uFillTx/>
            </a:endParaRPr>
          </a:p>
        </p:txBody>
      </p:sp>
      <p:sp>
        <p:nvSpPr>
          <p:cNvPr id="5" name="TextBox 4">
            <a:extLst>
              <a:ext uri="{FF2B5EF4-FFF2-40B4-BE49-F238E27FC236}">
                <a16:creationId xmlns:a16="http://schemas.microsoft.com/office/drawing/2014/main" id="{5C6E7A23-7A19-49BD-AC57-55D80F40AA4B}"/>
              </a:ext>
            </a:extLst>
          </p:cNvPr>
          <p:cNvSpPr txBox="1"/>
          <p:nvPr/>
        </p:nvSpPr>
        <p:spPr>
          <a:xfrm>
            <a:off x="3587372" y="4564467"/>
            <a:ext cx="1906014"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SQL Server Management Suite</a:t>
            </a:r>
          </a:p>
        </p:txBody>
      </p:sp>
      <p:sp>
        <p:nvSpPr>
          <p:cNvPr id="6" name="TextBox 5">
            <a:extLst>
              <a:ext uri="{FF2B5EF4-FFF2-40B4-BE49-F238E27FC236}">
                <a16:creationId xmlns:a16="http://schemas.microsoft.com/office/drawing/2014/main" id="{0D7D4D8E-7B07-4DA5-BCEB-BE46CB3F153D}"/>
              </a:ext>
            </a:extLst>
          </p:cNvPr>
          <p:cNvSpPr txBox="1"/>
          <p:nvPr/>
        </p:nvSpPr>
        <p:spPr>
          <a:xfrm>
            <a:off x="6827722" y="5033760"/>
            <a:ext cx="2769982"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Azure Active Directory Authentication Library for SQL Server (ADALSQL)</a:t>
            </a:r>
          </a:p>
        </p:txBody>
      </p:sp>
      <p:sp>
        <p:nvSpPr>
          <p:cNvPr id="7" name="Text Placeholder 4">
            <a:extLst>
              <a:ext uri="{FF2B5EF4-FFF2-40B4-BE49-F238E27FC236}">
                <a16:creationId xmlns:a16="http://schemas.microsoft.com/office/drawing/2014/main" id="{A6304FEA-03ED-4B98-B11C-8D6D1F6C780C}"/>
              </a:ext>
            </a:extLst>
          </p:cNvPr>
          <p:cNvSpPr txBox="1">
            <a:spLocks/>
          </p:cNvSpPr>
          <p:nvPr/>
        </p:nvSpPr>
        <p:spPr>
          <a:xfrm>
            <a:off x="1680705" y="1193276"/>
            <a:ext cx="5566293" cy="461665"/>
          </a:xfrm>
          <a:prstGeom prst="rect">
            <a:avLst/>
          </a:prstGeom>
          <a:solidFill>
            <a:schemeClr val="accent2"/>
          </a:solidFill>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a:pPr>
            <a:r>
              <a:rPr kumimoji="0" lang="en-US"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Azure Active Directory and Azure SQL Database</a:t>
            </a:r>
          </a:p>
        </p:txBody>
      </p:sp>
      <p:sp>
        <p:nvSpPr>
          <p:cNvPr id="8" name="TextBox 7">
            <a:extLst>
              <a:ext uri="{FF2B5EF4-FFF2-40B4-BE49-F238E27FC236}">
                <a16:creationId xmlns:a16="http://schemas.microsoft.com/office/drawing/2014/main" id="{824EB180-4F74-4FBB-AC79-8E6E316151A4}"/>
              </a:ext>
            </a:extLst>
          </p:cNvPr>
          <p:cNvSpPr txBox="1"/>
          <p:nvPr/>
        </p:nvSpPr>
        <p:spPr>
          <a:xfrm>
            <a:off x="3587372" y="5033760"/>
            <a:ext cx="1906014"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SQL Server Data Tools</a:t>
            </a:r>
          </a:p>
        </p:txBody>
      </p:sp>
      <p:sp>
        <p:nvSpPr>
          <p:cNvPr id="9" name="TextBox 8">
            <a:extLst>
              <a:ext uri="{FF2B5EF4-FFF2-40B4-BE49-F238E27FC236}">
                <a16:creationId xmlns:a16="http://schemas.microsoft.com/office/drawing/2014/main" id="{486F7301-24B8-4A1D-8F0C-0B7D903D1698}"/>
              </a:ext>
            </a:extLst>
          </p:cNvPr>
          <p:cNvSpPr txBox="1"/>
          <p:nvPr/>
        </p:nvSpPr>
        <p:spPr>
          <a:xfrm>
            <a:off x="2265994" y="2031476"/>
            <a:ext cx="2097014" cy="1915023"/>
          </a:xfrm>
          <a:prstGeom prst="rect">
            <a:avLst/>
          </a:prstGeom>
          <a:solidFill>
            <a:srgbClr val="FFFFFF">
              <a:lumMod val="95000"/>
            </a:srgbClr>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37160" tIns="73152" rIns="137160" bIns="73152"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78D7"/>
                </a:solidFill>
                <a:effectLst/>
                <a:uLnTx/>
                <a:uFillTx/>
                <a:cs typeface="Segoe UI Semilight" panose="020B0402040204020203" pitchFamily="34" charset="0"/>
              </a:rPr>
              <a:t>On-premises active directory</a:t>
            </a:r>
          </a:p>
        </p:txBody>
      </p:sp>
      <p:sp>
        <p:nvSpPr>
          <p:cNvPr id="10" name="TextBox 9">
            <a:extLst>
              <a:ext uri="{FF2B5EF4-FFF2-40B4-BE49-F238E27FC236}">
                <a16:creationId xmlns:a16="http://schemas.microsoft.com/office/drawing/2014/main" id="{3DD450BE-6FBF-4369-A150-694B7BDFADC7}"/>
              </a:ext>
            </a:extLst>
          </p:cNvPr>
          <p:cNvSpPr txBox="1"/>
          <p:nvPr/>
        </p:nvSpPr>
        <p:spPr>
          <a:xfrm>
            <a:off x="8112271" y="3334833"/>
            <a:ext cx="909484"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Azure Active Directory</a:t>
            </a:r>
          </a:p>
        </p:txBody>
      </p:sp>
      <p:sp>
        <p:nvSpPr>
          <p:cNvPr id="11" name="TextBox 10">
            <a:extLst>
              <a:ext uri="{FF2B5EF4-FFF2-40B4-BE49-F238E27FC236}">
                <a16:creationId xmlns:a16="http://schemas.microsoft.com/office/drawing/2014/main" id="{0068A21E-CEE4-4C51-BDCB-263AC8A43FD8}"/>
              </a:ext>
            </a:extLst>
          </p:cNvPr>
          <p:cNvSpPr txBox="1"/>
          <p:nvPr/>
        </p:nvSpPr>
        <p:spPr>
          <a:xfrm>
            <a:off x="9103224" y="3334833"/>
            <a:ext cx="966012"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Azure</a:t>
            </a:r>
            <a:b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b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SQL Database</a:t>
            </a:r>
          </a:p>
        </p:txBody>
      </p:sp>
      <p:grpSp>
        <p:nvGrpSpPr>
          <p:cNvPr id="12" name="Group 11">
            <a:extLst>
              <a:ext uri="{FF2B5EF4-FFF2-40B4-BE49-F238E27FC236}">
                <a16:creationId xmlns:a16="http://schemas.microsoft.com/office/drawing/2014/main" id="{20CAE06E-5858-4630-B042-4DB68D2D7B3D}"/>
              </a:ext>
            </a:extLst>
          </p:cNvPr>
          <p:cNvGrpSpPr/>
          <p:nvPr/>
        </p:nvGrpSpPr>
        <p:grpSpPr>
          <a:xfrm>
            <a:off x="3664851" y="2877797"/>
            <a:ext cx="433418" cy="434048"/>
            <a:chOff x="2488308" y="3211976"/>
            <a:chExt cx="433418" cy="434048"/>
          </a:xfrm>
        </p:grpSpPr>
        <p:sp>
          <p:nvSpPr>
            <p:cNvPr id="13" name="Freeform: Shape 12">
              <a:extLst>
                <a:ext uri="{FF2B5EF4-FFF2-40B4-BE49-F238E27FC236}">
                  <a16:creationId xmlns:a16="http://schemas.microsoft.com/office/drawing/2014/main" id="{D2A84A66-08B4-4182-8B1A-8B18107FBE71}"/>
                </a:ext>
              </a:extLst>
            </p:cNvPr>
            <p:cNvSpPr/>
            <p:nvPr/>
          </p:nvSpPr>
          <p:spPr bwMode="auto">
            <a:xfrm>
              <a:off x="2488308" y="3211976"/>
              <a:ext cx="433418" cy="4340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noFill/>
            <a:ln w="1270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nvGrpSpPr>
            <p:cNvPr id="14" name="Group 13">
              <a:extLst>
                <a:ext uri="{FF2B5EF4-FFF2-40B4-BE49-F238E27FC236}">
                  <a16:creationId xmlns:a16="http://schemas.microsoft.com/office/drawing/2014/main" id="{80E16558-81B4-49CB-A8BA-4CFEC34B89D6}"/>
                </a:ext>
              </a:extLst>
            </p:cNvPr>
            <p:cNvGrpSpPr/>
            <p:nvPr/>
          </p:nvGrpSpPr>
          <p:grpSpPr>
            <a:xfrm>
              <a:off x="2600674" y="3323167"/>
              <a:ext cx="211470" cy="210234"/>
              <a:chOff x="2581315" y="3303921"/>
              <a:chExt cx="250187" cy="248726"/>
            </a:xfrm>
          </p:grpSpPr>
          <p:cxnSp>
            <p:nvCxnSpPr>
              <p:cNvPr id="15" name="Straight Connector 14">
                <a:extLst>
                  <a:ext uri="{FF2B5EF4-FFF2-40B4-BE49-F238E27FC236}">
                    <a16:creationId xmlns:a16="http://schemas.microsoft.com/office/drawing/2014/main" id="{14D5C219-A2F9-4952-9DE3-8907400FB2FB}"/>
                  </a:ext>
                </a:extLst>
              </p:cNvPr>
              <p:cNvCxnSpPr/>
              <p:nvPr/>
            </p:nvCxnSpPr>
            <p:spPr>
              <a:xfrm>
                <a:off x="2705017" y="3303921"/>
                <a:ext cx="0" cy="248725"/>
              </a:xfrm>
              <a:prstGeom prst="line">
                <a:avLst/>
              </a:prstGeom>
              <a:noFill/>
              <a:ln w="12700" cap="flat" cmpd="sng" algn="ctr">
                <a:solidFill>
                  <a:srgbClr val="0078D7"/>
                </a:solidFill>
                <a:prstDash val="solid"/>
                <a:headEnd type="oval"/>
                <a:tailEnd type="oval"/>
              </a:ln>
              <a:effectLst/>
            </p:spPr>
          </p:cxnSp>
          <p:cxnSp>
            <p:nvCxnSpPr>
              <p:cNvPr id="16" name="Straight Connector 15">
                <a:extLst>
                  <a:ext uri="{FF2B5EF4-FFF2-40B4-BE49-F238E27FC236}">
                    <a16:creationId xmlns:a16="http://schemas.microsoft.com/office/drawing/2014/main" id="{2E5D6801-1F41-4668-9315-9CE4E8DC8257}"/>
                  </a:ext>
                </a:extLst>
              </p:cNvPr>
              <p:cNvCxnSpPr/>
              <p:nvPr/>
            </p:nvCxnSpPr>
            <p:spPr>
              <a:xfrm flipV="1">
                <a:off x="2705017" y="3464362"/>
                <a:ext cx="126485" cy="88285"/>
              </a:xfrm>
              <a:prstGeom prst="line">
                <a:avLst/>
              </a:prstGeom>
              <a:noFill/>
              <a:ln w="12700" cap="flat" cmpd="sng" algn="ctr">
                <a:solidFill>
                  <a:srgbClr val="0078D7"/>
                </a:solidFill>
                <a:prstDash val="solid"/>
                <a:headEnd type="oval"/>
                <a:tailEnd type="oval"/>
              </a:ln>
              <a:effectLst/>
            </p:spPr>
          </p:cxnSp>
          <p:cxnSp>
            <p:nvCxnSpPr>
              <p:cNvPr id="17" name="Straight Connector 16">
                <a:extLst>
                  <a:ext uri="{FF2B5EF4-FFF2-40B4-BE49-F238E27FC236}">
                    <a16:creationId xmlns:a16="http://schemas.microsoft.com/office/drawing/2014/main" id="{DA5C8CB8-9088-41BE-94A8-331174594757}"/>
                  </a:ext>
                </a:extLst>
              </p:cNvPr>
              <p:cNvCxnSpPr/>
              <p:nvPr/>
            </p:nvCxnSpPr>
            <p:spPr>
              <a:xfrm>
                <a:off x="2705016" y="3303921"/>
                <a:ext cx="126485" cy="160441"/>
              </a:xfrm>
              <a:prstGeom prst="line">
                <a:avLst/>
              </a:prstGeom>
              <a:noFill/>
              <a:ln w="12700" cap="flat" cmpd="sng" algn="ctr">
                <a:solidFill>
                  <a:srgbClr val="0078D7"/>
                </a:solidFill>
                <a:prstDash val="solid"/>
                <a:headEnd type="oval"/>
                <a:tailEnd type="oval"/>
              </a:ln>
              <a:effectLst/>
            </p:spPr>
          </p:cxnSp>
          <p:cxnSp>
            <p:nvCxnSpPr>
              <p:cNvPr id="18" name="Straight Connector 17">
                <a:extLst>
                  <a:ext uri="{FF2B5EF4-FFF2-40B4-BE49-F238E27FC236}">
                    <a16:creationId xmlns:a16="http://schemas.microsoft.com/office/drawing/2014/main" id="{0C97E2C1-F1BC-412B-A7B3-84C29D026796}"/>
                  </a:ext>
                </a:extLst>
              </p:cNvPr>
              <p:cNvCxnSpPr>
                <a:cxnSpLocks/>
              </p:cNvCxnSpPr>
              <p:nvPr/>
            </p:nvCxnSpPr>
            <p:spPr>
              <a:xfrm flipH="1" flipV="1">
                <a:off x="2581316" y="3464362"/>
                <a:ext cx="126485" cy="88285"/>
              </a:xfrm>
              <a:prstGeom prst="line">
                <a:avLst/>
              </a:prstGeom>
              <a:noFill/>
              <a:ln w="12700" cap="flat" cmpd="sng" algn="ctr">
                <a:solidFill>
                  <a:srgbClr val="0078D7"/>
                </a:solidFill>
                <a:prstDash val="solid"/>
                <a:headEnd type="oval"/>
                <a:tailEnd type="oval"/>
              </a:ln>
              <a:effectLst/>
            </p:spPr>
          </p:cxnSp>
          <p:cxnSp>
            <p:nvCxnSpPr>
              <p:cNvPr id="19" name="Straight Connector 18">
                <a:extLst>
                  <a:ext uri="{FF2B5EF4-FFF2-40B4-BE49-F238E27FC236}">
                    <a16:creationId xmlns:a16="http://schemas.microsoft.com/office/drawing/2014/main" id="{9E51DFD7-7D08-422A-885C-780E2CB2F45E}"/>
                  </a:ext>
                </a:extLst>
              </p:cNvPr>
              <p:cNvCxnSpPr>
                <a:cxnSpLocks/>
              </p:cNvCxnSpPr>
              <p:nvPr/>
            </p:nvCxnSpPr>
            <p:spPr>
              <a:xfrm flipH="1">
                <a:off x="2581315" y="3303921"/>
                <a:ext cx="126485" cy="160441"/>
              </a:xfrm>
              <a:prstGeom prst="line">
                <a:avLst/>
              </a:prstGeom>
              <a:noFill/>
              <a:ln w="12700" cap="flat" cmpd="sng" algn="ctr">
                <a:solidFill>
                  <a:srgbClr val="0078D7"/>
                </a:solidFill>
                <a:prstDash val="solid"/>
                <a:headEnd type="oval"/>
                <a:tailEnd type="oval"/>
              </a:ln>
              <a:effectLst/>
            </p:spPr>
          </p:cxnSp>
        </p:grpSp>
      </p:grpSp>
      <p:sp>
        <p:nvSpPr>
          <p:cNvPr id="20" name="TextBox 19">
            <a:extLst>
              <a:ext uri="{FF2B5EF4-FFF2-40B4-BE49-F238E27FC236}">
                <a16:creationId xmlns:a16="http://schemas.microsoft.com/office/drawing/2014/main" id="{7BA98F8F-D199-4054-B262-A4F6BFF47763}"/>
              </a:ext>
            </a:extLst>
          </p:cNvPr>
          <p:cNvSpPr txBox="1"/>
          <p:nvPr/>
        </p:nvSpPr>
        <p:spPr>
          <a:xfrm>
            <a:off x="3631603" y="3348232"/>
            <a:ext cx="499916"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ADFS</a:t>
            </a:r>
          </a:p>
        </p:txBody>
      </p:sp>
      <p:grpSp>
        <p:nvGrpSpPr>
          <p:cNvPr id="21" name="Group 20">
            <a:extLst>
              <a:ext uri="{FF2B5EF4-FFF2-40B4-BE49-F238E27FC236}">
                <a16:creationId xmlns:a16="http://schemas.microsoft.com/office/drawing/2014/main" id="{BDD7DE83-ECF3-4D41-9581-3476C6E3BEC4}"/>
              </a:ext>
            </a:extLst>
          </p:cNvPr>
          <p:cNvGrpSpPr/>
          <p:nvPr/>
        </p:nvGrpSpPr>
        <p:grpSpPr>
          <a:xfrm>
            <a:off x="8350304" y="2877797"/>
            <a:ext cx="433418" cy="434048"/>
            <a:chOff x="2488308" y="3211976"/>
            <a:chExt cx="433418" cy="434048"/>
          </a:xfrm>
        </p:grpSpPr>
        <p:sp>
          <p:nvSpPr>
            <p:cNvPr id="22" name="Freeform: Shape 21">
              <a:extLst>
                <a:ext uri="{FF2B5EF4-FFF2-40B4-BE49-F238E27FC236}">
                  <a16:creationId xmlns:a16="http://schemas.microsoft.com/office/drawing/2014/main" id="{23966F9D-18EC-4DCA-B541-5308213BB866}"/>
                </a:ext>
              </a:extLst>
            </p:cNvPr>
            <p:cNvSpPr/>
            <p:nvPr/>
          </p:nvSpPr>
          <p:spPr bwMode="auto">
            <a:xfrm>
              <a:off x="2488308" y="3211976"/>
              <a:ext cx="433418" cy="434048"/>
            </a:xfrm>
            <a:custGeom>
              <a:avLst/>
              <a:gdLst>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04529 w 694738"/>
                <a:gd name="connsiteY5" fmla="*/ 156095 h 695748"/>
                <a:gd name="connsiteX0" fmla="*/ 347369 w 694738"/>
                <a:gd name="connsiteY0" fmla="*/ 0 h 695748"/>
                <a:gd name="connsiteX1" fmla="*/ 390210 w 694738"/>
                <a:gd name="connsiteY1" fmla="*/ 156095 h 695748"/>
                <a:gd name="connsiteX2" fmla="*/ 694738 w 694738"/>
                <a:gd name="connsiteY2" fmla="*/ 408190 h 695748"/>
                <a:gd name="connsiteX3" fmla="*/ 347369 w 694738"/>
                <a:gd name="connsiteY3" fmla="*/ 695748 h 695748"/>
                <a:gd name="connsiteX4" fmla="*/ 0 w 694738"/>
                <a:gd name="connsiteY4" fmla="*/ 408190 h 695748"/>
                <a:gd name="connsiteX5" fmla="*/ 347369 w 694738"/>
                <a:gd name="connsiteY5" fmla="*/ 0 h 695748"/>
                <a:gd name="connsiteX0" fmla="*/ 347369 w 694738"/>
                <a:gd name="connsiteY0" fmla="*/ 0 h 695748"/>
                <a:gd name="connsiteX1" fmla="*/ 694738 w 694738"/>
                <a:gd name="connsiteY1" fmla="*/ 408190 h 695748"/>
                <a:gd name="connsiteX2" fmla="*/ 347369 w 694738"/>
                <a:gd name="connsiteY2" fmla="*/ 695748 h 695748"/>
                <a:gd name="connsiteX3" fmla="*/ 0 w 694738"/>
                <a:gd name="connsiteY3" fmla="*/ 408190 h 695748"/>
                <a:gd name="connsiteX4" fmla="*/ 347369 w 694738"/>
                <a:gd name="connsiteY4" fmla="*/ 0 h 695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4738" h="695748">
                  <a:moveTo>
                    <a:pt x="347369" y="0"/>
                  </a:moveTo>
                  <a:lnTo>
                    <a:pt x="694738" y="408190"/>
                  </a:lnTo>
                  <a:lnTo>
                    <a:pt x="347369" y="695748"/>
                  </a:lnTo>
                  <a:lnTo>
                    <a:pt x="0" y="408190"/>
                  </a:lnTo>
                  <a:lnTo>
                    <a:pt x="347369" y="0"/>
                  </a:lnTo>
                  <a:close/>
                </a:path>
              </a:pathLst>
            </a:custGeom>
            <a:noFill/>
            <a:ln w="1270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nvGrpSpPr>
            <p:cNvPr id="23" name="Group 22">
              <a:extLst>
                <a:ext uri="{FF2B5EF4-FFF2-40B4-BE49-F238E27FC236}">
                  <a16:creationId xmlns:a16="http://schemas.microsoft.com/office/drawing/2014/main" id="{9B119B71-0998-4402-B79A-B0CACC888354}"/>
                </a:ext>
              </a:extLst>
            </p:cNvPr>
            <p:cNvGrpSpPr/>
            <p:nvPr/>
          </p:nvGrpSpPr>
          <p:grpSpPr>
            <a:xfrm>
              <a:off x="2600674" y="3323167"/>
              <a:ext cx="211470" cy="210234"/>
              <a:chOff x="2581315" y="3303921"/>
              <a:chExt cx="250187" cy="248726"/>
            </a:xfrm>
          </p:grpSpPr>
          <p:cxnSp>
            <p:nvCxnSpPr>
              <p:cNvPr id="24" name="Straight Connector 23">
                <a:extLst>
                  <a:ext uri="{FF2B5EF4-FFF2-40B4-BE49-F238E27FC236}">
                    <a16:creationId xmlns:a16="http://schemas.microsoft.com/office/drawing/2014/main" id="{1DAEAF91-C6A1-40FF-A812-C40059036659}"/>
                  </a:ext>
                </a:extLst>
              </p:cNvPr>
              <p:cNvCxnSpPr/>
              <p:nvPr/>
            </p:nvCxnSpPr>
            <p:spPr>
              <a:xfrm>
                <a:off x="2705017" y="3303921"/>
                <a:ext cx="0" cy="248725"/>
              </a:xfrm>
              <a:prstGeom prst="line">
                <a:avLst/>
              </a:prstGeom>
              <a:noFill/>
              <a:ln w="12700" cap="flat" cmpd="sng" algn="ctr">
                <a:solidFill>
                  <a:srgbClr val="0078D7"/>
                </a:solidFill>
                <a:prstDash val="solid"/>
                <a:headEnd type="oval"/>
                <a:tailEnd type="oval"/>
              </a:ln>
              <a:effectLst/>
            </p:spPr>
          </p:cxnSp>
          <p:cxnSp>
            <p:nvCxnSpPr>
              <p:cNvPr id="25" name="Straight Connector 24">
                <a:extLst>
                  <a:ext uri="{FF2B5EF4-FFF2-40B4-BE49-F238E27FC236}">
                    <a16:creationId xmlns:a16="http://schemas.microsoft.com/office/drawing/2014/main" id="{7D870A21-C08F-445F-8E8C-0DDAC6F723C9}"/>
                  </a:ext>
                </a:extLst>
              </p:cNvPr>
              <p:cNvCxnSpPr/>
              <p:nvPr/>
            </p:nvCxnSpPr>
            <p:spPr>
              <a:xfrm flipV="1">
                <a:off x="2705017" y="3464362"/>
                <a:ext cx="126485" cy="88285"/>
              </a:xfrm>
              <a:prstGeom prst="line">
                <a:avLst/>
              </a:prstGeom>
              <a:noFill/>
              <a:ln w="12700" cap="flat" cmpd="sng" algn="ctr">
                <a:solidFill>
                  <a:srgbClr val="0078D7"/>
                </a:solidFill>
                <a:prstDash val="solid"/>
                <a:headEnd type="oval"/>
                <a:tailEnd type="oval"/>
              </a:ln>
              <a:effectLst/>
            </p:spPr>
          </p:cxnSp>
          <p:cxnSp>
            <p:nvCxnSpPr>
              <p:cNvPr id="26" name="Straight Connector 25">
                <a:extLst>
                  <a:ext uri="{FF2B5EF4-FFF2-40B4-BE49-F238E27FC236}">
                    <a16:creationId xmlns:a16="http://schemas.microsoft.com/office/drawing/2014/main" id="{F4071F70-8F51-4B7E-938F-20298719900D}"/>
                  </a:ext>
                </a:extLst>
              </p:cNvPr>
              <p:cNvCxnSpPr/>
              <p:nvPr/>
            </p:nvCxnSpPr>
            <p:spPr>
              <a:xfrm>
                <a:off x="2705016" y="3303921"/>
                <a:ext cx="126485" cy="160441"/>
              </a:xfrm>
              <a:prstGeom prst="line">
                <a:avLst/>
              </a:prstGeom>
              <a:noFill/>
              <a:ln w="12700" cap="flat" cmpd="sng" algn="ctr">
                <a:solidFill>
                  <a:srgbClr val="0078D7"/>
                </a:solidFill>
                <a:prstDash val="solid"/>
                <a:headEnd type="oval"/>
                <a:tailEnd type="oval"/>
              </a:ln>
              <a:effectLst/>
            </p:spPr>
          </p:cxnSp>
          <p:cxnSp>
            <p:nvCxnSpPr>
              <p:cNvPr id="27" name="Straight Connector 26">
                <a:extLst>
                  <a:ext uri="{FF2B5EF4-FFF2-40B4-BE49-F238E27FC236}">
                    <a16:creationId xmlns:a16="http://schemas.microsoft.com/office/drawing/2014/main" id="{BB4E048C-8995-4F8B-9141-5EF26EB94F5B}"/>
                  </a:ext>
                </a:extLst>
              </p:cNvPr>
              <p:cNvCxnSpPr>
                <a:cxnSpLocks/>
              </p:cNvCxnSpPr>
              <p:nvPr/>
            </p:nvCxnSpPr>
            <p:spPr>
              <a:xfrm flipH="1" flipV="1">
                <a:off x="2581316" y="3464362"/>
                <a:ext cx="126485" cy="88285"/>
              </a:xfrm>
              <a:prstGeom prst="line">
                <a:avLst/>
              </a:prstGeom>
              <a:noFill/>
              <a:ln w="12700" cap="flat" cmpd="sng" algn="ctr">
                <a:solidFill>
                  <a:srgbClr val="0078D7"/>
                </a:solidFill>
                <a:prstDash val="solid"/>
                <a:headEnd type="oval"/>
                <a:tailEnd type="oval"/>
              </a:ln>
              <a:effectLst/>
            </p:spPr>
          </p:cxnSp>
          <p:cxnSp>
            <p:nvCxnSpPr>
              <p:cNvPr id="28" name="Straight Connector 27">
                <a:extLst>
                  <a:ext uri="{FF2B5EF4-FFF2-40B4-BE49-F238E27FC236}">
                    <a16:creationId xmlns:a16="http://schemas.microsoft.com/office/drawing/2014/main" id="{C1761A25-84E9-4339-A98F-B5F6710D50A9}"/>
                  </a:ext>
                </a:extLst>
              </p:cNvPr>
              <p:cNvCxnSpPr>
                <a:cxnSpLocks/>
              </p:cNvCxnSpPr>
              <p:nvPr/>
            </p:nvCxnSpPr>
            <p:spPr>
              <a:xfrm flipH="1">
                <a:off x="2581315" y="3303921"/>
                <a:ext cx="126485" cy="160441"/>
              </a:xfrm>
              <a:prstGeom prst="line">
                <a:avLst/>
              </a:prstGeom>
              <a:noFill/>
              <a:ln w="12700" cap="flat" cmpd="sng" algn="ctr">
                <a:solidFill>
                  <a:srgbClr val="0078D7"/>
                </a:solidFill>
                <a:prstDash val="solid"/>
                <a:headEnd type="oval"/>
                <a:tailEnd type="oval"/>
              </a:ln>
              <a:effectLst/>
            </p:spPr>
          </p:cxnSp>
        </p:grpSp>
      </p:grpSp>
      <p:sp>
        <p:nvSpPr>
          <p:cNvPr id="29" name="Cylinder 513">
            <a:extLst>
              <a:ext uri="{FF2B5EF4-FFF2-40B4-BE49-F238E27FC236}">
                <a16:creationId xmlns:a16="http://schemas.microsoft.com/office/drawing/2014/main" id="{6982C4C4-4402-4401-97B3-3022FD3380FA}"/>
              </a:ext>
            </a:extLst>
          </p:cNvPr>
          <p:cNvSpPr/>
          <p:nvPr/>
        </p:nvSpPr>
        <p:spPr bwMode="auto">
          <a:xfrm>
            <a:off x="9417102" y="2871910"/>
            <a:ext cx="338257" cy="444388"/>
          </a:xfrm>
          <a:prstGeom prst="can">
            <a:avLst>
              <a:gd name="adj" fmla="val 39530"/>
            </a:avLst>
          </a:prstGeom>
          <a:solidFill>
            <a:srgbClr val="0078D7"/>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Light"/>
              <a:ea typeface="Segoe UI" pitchFamily="34" charset="0"/>
              <a:cs typeface="Segoe UI" pitchFamily="34" charset="0"/>
            </a:endParaRPr>
          </a:p>
        </p:txBody>
      </p:sp>
      <p:grpSp>
        <p:nvGrpSpPr>
          <p:cNvPr id="30" name="Group 29">
            <a:extLst>
              <a:ext uri="{FF2B5EF4-FFF2-40B4-BE49-F238E27FC236}">
                <a16:creationId xmlns:a16="http://schemas.microsoft.com/office/drawing/2014/main" id="{4D676E42-E5EB-49AB-95C9-77AA10E19B9C}"/>
              </a:ext>
            </a:extLst>
          </p:cNvPr>
          <p:cNvGrpSpPr/>
          <p:nvPr/>
        </p:nvGrpSpPr>
        <p:grpSpPr>
          <a:xfrm>
            <a:off x="2554958" y="2645419"/>
            <a:ext cx="358197" cy="208812"/>
            <a:chOff x="1139959" y="2543175"/>
            <a:chExt cx="617171" cy="359780"/>
          </a:xfrm>
        </p:grpSpPr>
        <p:grpSp>
          <p:nvGrpSpPr>
            <p:cNvPr id="31" name="Group 30">
              <a:extLst>
                <a:ext uri="{FF2B5EF4-FFF2-40B4-BE49-F238E27FC236}">
                  <a16:creationId xmlns:a16="http://schemas.microsoft.com/office/drawing/2014/main" id="{E48F7805-BF36-4AC2-870D-E909B611D999}"/>
                </a:ext>
              </a:extLst>
            </p:cNvPr>
            <p:cNvGrpSpPr/>
            <p:nvPr/>
          </p:nvGrpSpPr>
          <p:grpSpPr>
            <a:xfrm>
              <a:off x="1139959" y="2557546"/>
              <a:ext cx="235352" cy="343452"/>
              <a:chOff x="1103506" y="2567788"/>
              <a:chExt cx="405526" cy="591791"/>
            </a:xfrm>
          </p:grpSpPr>
          <p:sp>
            <p:nvSpPr>
              <p:cNvPr id="33" name="Freeform: Shape 32">
                <a:extLst>
                  <a:ext uri="{FF2B5EF4-FFF2-40B4-BE49-F238E27FC236}">
                    <a16:creationId xmlns:a16="http://schemas.microsoft.com/office/drawing/2014/main" id="{D119167F-8000-41F6-A63B-62874DDD11B6}"/>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34" name="Rectangle 33">
                <a:extLst>
                  <a:ext uri="{FF2B5EF4-FFF2-40B4-BE49-F238E27FC236}">
                    <a16:creationId xmlns:a16="http://schemas.microsoft.com/office/drawing/2014/main" id="{B1DE0382-7CEE-4474-B550-DA004C2B3D72}"/>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32" name="Freeform 5">
              <a:extLst>
                <a:ext uri="{FF2B5EF4-FFF2-40B4-BE49-F238E27FC236}">
                  <a16:creationId xmlns:a16="http://schemas.microsoft.com/office/drawing/2014/main" id="{C2254BED-0332-44C1-AA06-5BE20E12D7CC}"/>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grpSp>
        <p:nvGrpSpPr>
          <p:cNvPr id="35" name="Group 34">
            <a:extLst>
              <a:ext uri="{FF2B5EF4-FFF2-40B4-BE49-F238E27FC236}">
                <a16:creationId xmlns:a16="http://schemas.microsoft.com/office/drawing/2014/main" id="{322BE684-9984-4962-968A-1CD22DDA8D13}"/>
              </a:ext>
            </a:extLst>
          </p:cNvPr>
          <p:cNvGrpSpPr/>
          <p:nvPr/>
        </p:nvGrpSpPr>
        <p:grpSpPr>
          <a:xfrm>
            <a:off x="2554958" y="2988275"/>
            <a:ext cx="358197" cy="208812"/>
            <a:chOff x="1139959" y="2543175"/>
            <a:chExt cx="617171" cy="359780"/>
          </a:xfrm>
        </p:grpSpPr>
        <p:grpSp>
          <p:nvGrpSpPr>
            <p:cNvPr id="36" name="Group 35">
              <a:extLst>
                <a:ext uri="{FF2B5EF4-FFF2-40B4-BE49-F238E27FC236}">
                  <a16:creationId xmlns:a16="http://schemas.microsoft.com/office/drawing/2014/main" id="{24165A04-85DB-454E-A2F9-F5B94507DB3F}"/>
                </a:ext>
              </a:extLst>
            </p:cNvPr>
            <p:cNvGrpSpPr/>
            <p:nvPr/>
          </p:nvGrpSpPr>
          <p:grpSpPr>
            <a:xfrm>
              <a:off x="1139959" y="2557546"/>
              <a:ext cx="235352" cy="343452"/>
              <a:chOff x="1103506" y="2567788"/>
              <a:chExt cx="405526" cy="591791"/>
            </a:xfrm>
          </p:grpSpPr>
          <p:sp>
            <p:nvSpPr>
              <p:cNvPr id="38" name="Freeform: Shape 37">
                <a:extLst>
                  <a:ext uri="{FF2B5EF4-FFF2-40B4-BE49-F238E27FC236}">
                    <a16:creationId xmlns:a16="http://schemas.microsoft.com/office/drawing/2014/main" id="{C2ADA938-9436-4F62-83AD-1B76DD2AC655}"/>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39" name="Rectangle 38">
                <a:extLst>
                  <a:ext uri="{FF2B5EF4-FFF2-40B4-BE49-F238E27FC236}">
                    <a16:creationId xmlns:a16="http://schemas.microsoft.com/office/drawing/2014/main" id="{DF0DCCB1-F1B7-482E-A7BB-0F642A88A86C}"/>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37" name="Freeform 5">
              <a:extLst>
                <a:ext uri="{FF2B5EF4-FFF2-40B4-BE49-F238E27FC236}">
                  <a16:creationId xmlns:a16="http://schemas.microsoft.com/office/drawing/2014/main" id="{B529A4D3-88CB-43A1-BDA7-25BBBE4131AC}"/>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grpSp>
        <p:nvGrpSpPr>
          <p:cNvPr id="40" name="Group 39">
            <a:extLst>
              <a:ext uri="{FF2B5EF4-FFF2-40B4-BE49-F238E27FC236}">
                <a16:creationId xmlns:a16="http://schemas.microsoft.com/office/drawing/2014/main" id="{72470205-AA5D-4F51-8DCA-4CED178C7688}"/>
              </a:ext>
            </a:extLst>
          </p:cNvPr>
          <p:cNvGrpSpPr/>
          <p:nvPr/>
        </p:nvGrpSpPr>
        <p:grpSpPr>
          <a:xfrm>
            <a:off x="2554958" y="3331131"/>
            <a:ext cx="358197" cy="208812"/>
            <a:chOff x="1139959" y="2543175"/>
            <a:chExt cx="617171" cy="359780"/>
          </a:xfrm>
        </p:grpSpPr>
        <p:grpSp>
          <p:nvGrpSpPr>
            <p:cNvPr id="41" name="Group 40">
              <a:extLst>
                <a:ext uri="{FF2B5EF4-FFF2-40B4-BE49-F238E27FC236}">
                  <a16:creationId xmlns:a16="http://schemas.microsoft.com/office/drawing/2014/main" id="{65BC64D6-4B5C-49A6-BF69-C8A2B4ACB741}"/>
                </a:ext>
              </a:extLst>
            </p:cNvPr>
            <p:cNvGrpSpPr/>
            <p:nvPr/>
          </p:nvGrpSpPr>
          <p:grpSpPr>
            <a:xfrm>
              <a:off x="1139959" y="2557546"/>
              <a:ext cx="235352" cy="343452"/>
              <a:chOff x="1103506" y="2567788"/>
              <a:chExt cx="405526" cy="591791"/>
            </a:xfrm>
          </p:grpSpPr>
          <p:sp>
            <p:nvSpPr>
              <p:cNvPr id="43" name="Freeform: Shape 42">
                <a:extLst>
                  <a:ext uri="{FF2B5EF4-FFF2-40B4-BE49-F238E27FC236}">
                    <a16:creationId xmlns:a16="http://schemas.microsoft.com/office/drawing/2014/main" id="{CD6440B6-000B-4A05-9FEF-CFD37291BD1E}"/>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44" name="Rectangle 43">
                <a:extLst>
                  <a:ext uri="{FF2B5EF4-FFF2-40B4-BE49-F238E27FC236}">
                    <a16:creationId xmlns:a16="http://schemas.microsoft.com/office/drawing/2014/main" id="{9DF148FD-04EA-4F50-AB65-01E9DACD5B21}"/>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42" name="Freeform 5">
              <a:extLst>
                <a:ext uri="{FF2B5EF4-FFF2-40B4-BE49-F238E27FC236}">
                  <a16:creationId xmlns:a16="http://schemas.microsoft.com/office/drawing/2014/main" id="{658D2F18-5781-47D6-9489-F7C2EFBEA27C}"/>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sp>
        <p:nvSpPr>
          <p:cNvPr id="45" name="TextBox 44">
            <a:extLst>
              <a:ext uri="{FF2B5EF4-FFF2-40B4-BE49-F238E27FC236}">
                <a16:creationId xmlns:a16="http://schemas.microsoft.com/office/drawing/2014/main" id="{E46E16E4-3CE7-4AB1-B516-55A9D97CA1DE}"/>
              </a:ext>
            </a:extLst>
          </p:cNvPr>
          <p:cNvSpPr txBox="1"/>
          <p:nvPr/>
        </p:nvSpPr>
        <p:spPr>
          <a:xfrm>
            <a:off x="5835863" y="4456801"/>
            <a:ext cx="860616" cy="261610"/>
          </a:xfrm>
          <a:prstGeom prst="rect">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78D7"/>
                </a:solidFill>
                <a:effectLst/>
                <a:uLnTx/>
                <a:uFillTx/>
                <a:cs typeface="Segoe UI Semilight" panose="020B0402040204020203" pitchFamily="34" charset="0"/>
              </a:rPr>
              <a:t>ADALSQL</a:t>
            </a:r>
          </a:p>
        </p:txBody>
      </p:sp>
      <p:sp>
        <p:nvSpPr>
          <p:cNvPr id="46" name="TextBox 45">
            <a:extLst>
              <a:ext uri="{FF2B5EF4-FFF2-40B4-BE49-F238E27FC236}">
                <a16:creationId xmlns:a16="http://schemas.microsoft.com/office/drawing/2014/main" id="{8D9BDABD-295B-4E9D-8E2C-B12F8FCCD119}"/>
              </a:ext>
            </a:extLst>
          </p:cNvPr>
          <p:cNvSpPr txBox="1"/>
          <p:nvPr/>
        </p:nvSpPr>
        <p:spPr>
          <a:xfrm>
            <a:off x="5835863" y="4718411"/>
            <a:ext cx="860616" cy="430887"/>
          </a:xfrm>
          <a:prstGeom prst="rect">
            <a:avLst/>
          </a:prstGeom>
          <a:solidFill>
            <a:srgbClr val="737373"/>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cs typeface="Segoe UI Semilight" panose="020B0402040204020203" pitchFamily="34" charset="0"/>
              </a:rPr>
              <a:t>ADO .NET 4.6</a:t>
            </a:r>
          </a:p>
        </p:txBody>
      </p:sp>
      <p:cxnSp>
        <p:nvCxnSpPr>
          <p:cNvPr id="47" name="Straight Arrow Connector 46">
            <a:extLst>
              <a:ext uri="{FF2B5EF4-FFF2-40B4-BE49-F238E27FC236}">
                <a16:creationId xmlns:a16="http://schemas.microsoft.com/office/drawing/2014/main" id="{E9AE1B4E-9605-4EB9-BA8A-77D5C7780ADE}"/>
              </a:ext>
            </a:extLst>
          </p:cNvPr>
          <p:cNvCxnSpPr/>
          <p:nvPr/>
        </p:nvCxnSpPr>
        <p:spPr>
          <a:xfrm flipH="1" flipV="1">
            <a:off x="3244895" y="4933854"/>
            <a:ext cx="2590968" cy="1"/>
          </a:xfrm>
          <a:prstGeom prst="straightConnector1">
            <a:avLst/>
          </a:prstGeom>
          <a:noFill/>
          <a:ln w="12700" cap="flat" cmpd="sng" algn="ctr">
            <a:solidFill>
              <a:srgbClr val="0078D7"/>
            </a:solidFill>
            <a:prstDash val="solid"/>
            <a:headEnd type="triangle"/>
            <a:tailEnd type="triangle"/>
          </a:ln>
          <a:effectLst/>
        </p:spPr>
      </p:cxnSp>
      <p:cxnSp>
        <p:nvCxnSpPr>
          <p:cNvPr id="48" name="Connector: Elbow 47">
            <a:extLst>
              <a:ext uri="{FF2B5EF4-FFF2-40B4-BE49-F238E27FC236}">
                <a16:creationId xmlns:a16="http://schemas.microsoft.com/office/drawing/2014/main" id="{F0449859-6A6A-4898-91BD-E67E274505D0}"/>
              </a:ext>
            </a:extLst>
          </p:cNvPr>
          <p:cNvCxnSpPr>
            <a:stCxn id="11" idx="2"/>
            <a:endCxn id="46" idx="3"/>
          </p:cNvCxnSpPr>
          <p:nvPr/>
        </p:nvCxnSpPr>
        <p:spPr>
          <a:xfrm rot="5400000">
            <a:off x="7541899" y="2889524"/>
            <a:ext cx="1198912" cy="2889751"/>
          </a:xfrm>
          <a:prstGeom prst="bentConnector2">
            <a:avLst/>
          </a:prstGeom>
          <a:noFill/>
          <a:ln w="12700" cap="flat" cmpd="sng" algn="ctr">
            <a:solidFill>
              <a:srgbClr val="0078D7"/>
            </a:solidFill>
            <a:prstDash val="solid"/>
            <a:headEnd type="triangle"/>
            <a:tailEnd type="triangle"/>
          </a:ln>
          <a:effectLst/>
        </p:spPr>
      </p:cxnSp>
      <p:cxnSp>
        <p:nvCxnSpPr>
          <p:cNvPr id="49" name="Connector: Elbow 48">
            <a:extLst>
              <a:ext uri="{FF2B5EF4-FFF2-40B4-BE49-F238E27FC236}">
                <a16:creationId xmlns:a16="http://schemas.microsoft.com/office/drawing/2014/main" id="{CB545480-2FA7-4DF2-8DE2-D165595CA5F9}"/>
              </a:ext>
            </a:extLst>
          </p:cNvPr>
          <p:cNvCxnSpPr>
            <a:stCxn id="10" idx="2"/>
            <a:endCxn id="45" idx="3"/>
          </p:cNvCxnSpPr>
          <p:nvPr/>
        </p:nvCxnSpPr>
        <p:spPr>
          <a:xfrm rot="5400000">
            <a:off x="7205415" y="3226007"/>
            <a:ext cx="852663" cy="1870534"/>
          </a:xfrm>
          <a:prstGeom prst="bentConnector2">
            <a:avLst/>
          </a:prstGeom>
          <a:noFill/>
          <a:ln w="12700" cap="flat" cmpd="sng" algn="ctr">
            <a:solidFill>
              <a:srgbClr val="0078D7"/>
            </a:solidFill>
            <a:prstDash val="solid"/>
            <a:headEnd type="triangle"/>
            <a:tailEnd type="triangle"/>
          </a:ln>
          <a:effectLst/>
        </p:spPr>
      </p:cxnSp>
      <p:cxnSp>
        <p:nvCxnSpPr>
          <p:cNvPr id="50" name="Connector: Elbow 49">
            <a:extLst>
              <a:ext uri="{FF2B5EF4-FFF2-40B4-BE49-F238E27FC236}">
                <a16:creationId xmlns:a16="http://schemas.microsoft.com/office/drawing/2014/main" id="{17884CC8-C41A-4881-AF35-045A0F713797}"/>
              </a:ext>
            </a:extLst>
          </p:cNvPr>
          <p:cNvCxnSpPr>
            <a:cxnSpLocks/>
            <a:stCxn id="20" idx="3"/>
            <a:endCxn id="45" idx="0"/>
          </p:cNvCxnSpPr>
          <p:nvPr/>
        </p:nvCxnSpPr>
        <p:spPr>
          <a:xfrm>
            <a:off x="4131519" y="3471343"/>
            <a:ext cx="2134652" cy="985458"/>
          </a:xfrm>
          <a:prstGeom prst="bentConnector2">
            <a:avLst/>
          </a:prstGeom>
          <a:noFill/>
          <a:ln w="12700" cap="flat" cmpd="sng" algn="ctr">
            <a:solidFill>
              <a:srgbClr val="0078D7"/>
            </a:solidFill>
            <a:prstDash val="solid"/>
            <a:headEnd type="triangle"/>
            <a:tailEnd type="triangle"/>
          </a:ln>
          <a:effectLst/>
        </p:spPr>
      </p:cxnSp>
      <p:cxnSp>
        <p:nvCxnSpPr>
          <p:cNvPr id="51" name="Straight Connector 50">
            <a:extLst>
              <a:ext uri="{FF2B5EF4-FFF2-40B4-BE49-F238E27FC236}">
                <a16:creationId xmlns:a16="http://schemas.microsoft.com/office/drawing/2014/main" id="{2C849710-51D1-4B8B-8A38-B4899943A350}"/>
              </a:ext>
            </a:extLst>
          </p:cNvPr>
          <p:cNvCxnSpPr>
            <a:cxnSpLocks/>
          </p:cNvCxnSpPr>
          <p:nvPr/>
        </p:nvCxnSpPr>
        <p:spPr>
          <a:xfrm>
            <a:off x="2940440" y="3092681"/>
            <a:ext cx="629997" cy="0"/>
          </a:xfrm>
          <a:prstGeom prst="line">
            <a:avLst/>
          </a:prstGeom>
          <a:noFill/>
          <a:ln w="12700" cap="flat" cmpd="sng" algn="ctr">
            <a:solidFill>
              <a:srgbClr val="0078D7"/>
            </a:solidFill>
            <a:prstDash val="dash"/>
            <a:headEnd type="none"/>
            <a:tailEnd type="none"/>
          </a:ln>
          <a:effectLst/>
        </p:spPr>
      </p:cxnSp>
      <p:cxnSp>
        <p:nvCxnSpPr>
          <p:cNvPr id="52" name="Connector: Elbow 51">
            <a:extLst>
              <a:ext uri="{FF2B5EF4-FFF2-40B4-BE49-F238E27FC236}">
                <a16:creationId xmlns:a16="http://schemas.microsoft.com/office/drawing/2014/main" id="{D8E744B5-21B7-40B2-A673-72DE04672C7B}"/>
              </a:ext>
            </a:extLst>
          </p:cNvPr>
          <p:cNvCxnSpPr>
            <a:cxnSpLocks/>
          </p:cNvCxnSpPr>
          <p:nvPr/>
        </p:nvCxnSpPr>
        <p:spPr>
          <a:xfrm>
            <a:off x="2930899" y="2754297"/>
            <a:ext cx="9541" cy="685712"/>
          </a:xfrm>
          <a:prstGeom prst="bentConnector3">
            <a:avLst>
              <a:gd name="adj1" fmla="val 1800000"/>
            </a:avLst>
          </a:prstGeom>
          <a:noFill/>
          <a:ln w="12700" cap="flat" cmpd="sng" algn="ctr">
            <a:solidFill>
              <a:srgbClr val="0078D7"/>
            </a:solidFill>
            <a:prstDash val="dash"/>
            <a:headEnd type="none"/>
            <a:tailEnd type="none"/>
          </a:ln>
          <a:effectLst/>
        </p:spPr>
      </p:cxnSp>
      <p:grpSp>
        <p:nvGrpSpPr>
          <p:cNvPr id="53" name="Group 52">
            <a:extLst>
              <a:ext uri="{FF2B5EF4-FFF2-40B4-BE49-F238E27FC236}">
                <a16:creationId xmlns:a16="http://schemas.microsoft.com/office/drawing/2014/main" id="{A0419982-A0F1-4EAF-8357-DDFC1A49B571}"/>
              </a:ext>
            </a:extLst>
          </p:cNvPr>
          <p:cNvGrpSpPr/>
          <p:nvPr/>
        </p:nvGrpSpPr>
        <p:grpSpPr>
          <a:xfrm>
            <a:off x="7549397" y="2715091"/>
            <a:ext cx="358197" cy="208812"/>
            <a:chOff x="1139959" y="2543175"/>
            <a:chExt cx="617171" cy="359780"/>
          </a:xfrm>
        </p:grpSpPr>
        <p:grpSp>
          <p:nvGrpSpPr>
            <p:cNvPr id="54" name="Group 53">
              <a:extLst>
                <a:ext uri="{FF2B5EF4-FFF2-40B4-BE49-F238E27FC236}">
                  <a16:creationId xmlns:a16="http://schemas.microsoft.com/office/drawing/2014/main" id="{D4D1A07E-7DE2-4C00-8F56-33A5F61B7103}"/>
                </a:ext>
              </a:extLst>
            </p:cNvPr>
            <p:cNvGrpSpPr/>
            <p:nvPr/>
          </p:nvGrpSpPr>
          <p:grpSpPr>
            <a:xfrm>
              <a:off x="1139959" y="2557546"/>
              <a:ext cx="235352" cy="343452"/>
              <a:chOff x="1103506" y="2567788"/>
              <a:chExt cx="405526" cy="591791"/>
            </a:xfrm>
          </p:grpSpPr>
          <p:sp>
            <p:nvSpPr>
              <p:cNvPr id="56" name="Freeform: Shape 55">
                <a:extLst>
                  <a:ext uri="{FF2B5EF4-FFF2-40B4-BE49-F238E27FC236}">
                    <a16:creationId xmlns:a16="http://schemas.microsoft.com/office/drawing/2014/main" id="{7B7A60A3-1D38-47A7-B9B4-36923996599B}"/>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57" name="Rectangle 56">
                <a:extLst>
                  <a:ext uri="{FF2B5EF4-FFF2-40B4-BE49-F238E27FC236}">
                    <a16:creationId xmlns:a16="http://schemas.microsoft.com/office/drawing/2014/main" id="{0A078816-0FCC-4181-8243-87C280DBCD7C}"/>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55" name="Freeform 5">
              <a:extLst>
                <a:ext uri="{FF2B5EF4-FFF2-40B4-BE49-F238E27FC236}">
                  <a16:creationId xmlns:a16="http://schemas.microsoft.com/office/drawing/2014/main" id="{16109BBE-74B1-495A-90AD-42AED9130405}"/>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grpSp>
        <p:nvGrpSpPr>
          <p:cNvPr id="58" name="Group 57">
            <a:extLst>
              <a:ext uri="{FF2B5EF4-FFF2-40B4-BE49-F238E27FC236}">
                <a16:creationId xmlns:a16="http://schemas.microsoft.com/office/drawing/2014/main" id="{8DC637EA-1996-4BD8-8532-4AD063382244}"/>
              </a:ext>
            </a:extLst>
          </p:cNvPr>
          <p:cNvGrpSpPr/>
          <p:nvPr/>
        </p:nvGrpSpPr>
        <p:grpSpPr>
          <a:xfrm>
            <a:off x="7549397" y="3057947"/>
            <a:ext cx="358197" cy="208812"/>
            <a:chOff x="1139959" y="2543175"/>
            <a:chExt cx="617171" cy="359780"/>
          </a:xfrm>
        </p:grpSpPr>
        <p:grpSp>
          <p:nvGrpSpPr>
            <p:cNvPr id="59" name="Group 58">
              <a:extLst>
                <a:ext uri="{FF2B5EF4-FFF2-40B4-BE49-F238E27FC236}">
                  <a16:creationId xmlns:a16="http://schemas.microsoft.com/office/drawing/2014/main" id="{7C647584-6DCF-4353-BDB8-8F7714DE135C}"/>
                </a:ext>
              </a:extLst>
            </p:cNvPr>
            <p:cNvGrpSpPr/>
            <p:nvPr/>
          </p:nvGrpSpPr>
          <p:grpSpPr>
            <a:xfrm>
              <a:off x="1139959" y="2557546"/>
              <a:ext cx="235352" cy="343452"/>
              <a:chOff x="1103506" y="2567788"/>
              <a:chExt cx="405526" cy="591791"/>
            </a:xfrm>
          </p:grpSpPr>
          <p:sp>
            <p:nvSpPr>
              <p:cNvPr id="61" name="Freeform: Shape 60">
                <a:extLst>
                  <a:ext uri="{FF2B5EF4-FFF2-40B4-BE49-F238E27FC236}">
                    <a16:creationId xmlns:a16="http://schemas.microsoft.com/office/drawing/2014/main" id="{72EB4C25-72F1-483A-B5A2-8E7BEF80D9B1}"/>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62" name="Rectangle 61">
                <a:extLst>
                  <a:ext uri="{FF2B5EF4-FFF2-40B4-BE49-F238E27FC236}">
                    <a16:creationId xmlns:a16="http://schemas.microsoft.com/office/drawing/2014/main" id="{EC67BBDE-3C28-400E-A216-66824945C52C}"/>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60" name="Freeform 5">
              <a:extLst>
                <a:ext uri="{FF2B5EF4-FFF2-40B4-BE49-F238E27FC236}">
                  <a16:creationId xmlns:a16="http://schemas.microsoft.com/office/drawing/2014/main" id="{BE450D6F-3C7B-4225-B015-5D69A0BAE08C}"/>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grpSp>
        <p:nvGrpSpPr>
          <p:cNvPr id="63" name="Group 62">
            <a:extLst>
              <a:ext uri="{FF2B5EF4-FFF2-40B4-BE49-F238E27FC236}">
                <a16:creationId xmlns:a16="http://schemas.microsoft.com/office/drawing/2014/main" id="{D6320D41-BFA4-48DF-BC71-2805BEDD32D2}"/>
              </a:ext>
            </a:extLst>
          </p:cNvPr>
          <p:cNvGrpSpPr/>
          <p:nvPr/>
        </p:nvGrpSpPr>
        <p:grpSpPr>
          <a:xfrm>
            <a:off x="7549397" y="3400803"/>
            <a:ext cx="358197" cy="208812"/>
            <a:chOff x="1139959" y="2543175"/>
            <a:chExt cx="617171" cy="359780"/>
          </a:xfrm>
        </p:grpSpPr>
        <p:grpSp>
          <p:nvGrpSpPr>
            <p:cNvPr id="64" name="Group 63">
              <a:extLst>
                <a:ext uri="{FF2B5EF4-FFF2-40B4-BE49-F238E27FC236}">
                  <a16:creationId xmlns:a16="http://schemas.microsoft.com/office/drawing/2014/main" id="{775961DB-98A7-4C6B-AC78-55B52C28FED4}"/>
                </a:ext>
              </a:extLst>
            </p:cNvPr>
            <p:cNvGrpSpPr/>
            <p:nvPr/>
          </p:nvGrpSpPr>
          <p:grpSpPr>
            <a:xfrm>
              <a:off x="1139959" y="2557546"/>
              <a:ext cx="235352" cy="343452"/>
              <a:chOff x="1103506" y="2567788"/>
              <a:chExt cx="405526" cy="591791"/>
            </a:xfrm>
          </p:grpSpPr>
          <p:sp>
            <p:nvSpPr>
              <p:cNvPr id="66" name="Freeform: Shape 65">
                <a:extLst>
                  <a:ext uri="{FF2B5EF4-FFF2-40B4-BE49-F238E27FC236}">
                    <a16:creationId xmlns:a16="http://schemas.microsoft.com/office/drawing/2014/main" id="{390BAA91-058C-4E37-B132-4FF5E834100B}"/>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67" name="Rectangle 66">
                <a:extLst>
                  <a:ext uri="{FF2B5EF4-FFF2-40B4-BE49-F238E27FC236}">
                    <a16:creationId xmlns:a16="http://schemas.microsoft.com/office/drawing/2014/main" id="{32179CBD-F739-48BF-9272-315719B67D5B}"/>
                  </a:ext>
                </a:extLst>
              </p:cNvPr>
              <p:cNvSpPr/>
              <p:nvPr/>
            </p:nvSpPr>
            <p:spPr bwMode="auto">
              <a:xfrm>
                <a:off x="1103506" y="2816110"/>
                <a:ext cx="405526" cy="343469"/>
              </a:xfrm>
              <a:prstGeom prst="rect">
                <a:avLst/>
              </a:prstGeom>
              <a:solidFill>
                <a:srgbClr val="505050"/>
              </a:solid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65" name="Freeform 5">
              <a:extLst>
                <a:ext uri="{FF2B5EF4-FFF2-40B4-BE49-F238E27FC236}">
                  <a16:creationId xmlns:a16="http://schemas.microsoft.com/office/drawing/2014/main" id="{50949609-DE76-44BA-BC51-F9D8ECFCCD55}"/>
                </a:ext>
              </a:extLst>
            </p:cNvPr>
            <p:cNvSpPr>
              <a:spLocks noEditPoints="1"/>
            </p:cNvSpPr>
            <p:nvPr/>
          </p:nvSpPr>
          <p:spPr bwMode="auto">
            <a:xfrm>
              <a:off x="1435125" y="2543175"/>
              <a:ext cx="322005" cy="3597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cxnSp>
        <p:nvCxnSpPr>
          <p:cNvPr id="68" name="Straight Connector 67">
            <a:extLst>
              <a:ext uri="{FF2B5EF4-FFF2-40B4-BE49-F238E27FC236}">
                <a16:creationId xmlns:a16="http://schemas.microsoft.com/office/drawing/2014/main" id="{4BE8840B-543F-4918-9128-1CDCC09EEA39}"/>
              </a:ext>
            </a:extLst>
          </p:cNvPr>
          <p:cNvCxnSpPr>
            <a:cxnSpLocks/>
          </p:cNvCxnSpPr>
          <p:nvPr/>
        </p:nvCxnSpPr>
        <p:spPr>
          <a:xfrm>
            <a:off x="7934879" y="3162353"/>
            <a:ext cx="348033" cy="0"/>
          </a:xfrm>
          <a:prstGeom prst="line">
            <a:avLst/>
          </a:prstGeom>
          <a:noFill/>
          <a:ln w="12700" cap="flat" cmpd="sng" algn="ctr">
            <a:solidFill>
              <a:srgbClr val="0078D7"/>
            </a:solidFill>
            <a:prstDash val="dash"/>
            <a:headEnd type="none"/>
            <a:tailEnd type="none"/>
          </a:ln>
          <a:effectLst/>
        </p:spPr>
      </p:cxnSp>
      <p:cxnSp>
        <p:nvCxnSpPr>
          <p:cNvPr id="69" name="Connector: Elbow 68">
            <a:extLst>
              <a:ext uri="{FF2B5EF4-FFF2-40B4-BE49-F238E27FC236}">
                <a16:creationId xmlns:a16="http://schemas.microsoft.com/office/drawing/2014/main" id="{D8C482C5-2A32-42DD-BB84-D1C70C908953}"/>
              </a:ext>
            </a:extLst>
          </p:cNvPr>
          <p:cNvCxnSpPr>
            <a:cxnSpLocks/>
          </p:cNvCxnSpPr>
          <p:nvPr/>
        </p:nvCxnSpPr>
        <p:spPr>
          <a:xfrm>
            <a:off x="7925338" y="2823969"/>
            <a:ext cx="9541" cy="685712"/>
          </a:xfrm>
          <a:prstGeom prst="bentConnector3">
            <a:avLst>
              <a:gd name="adj1" fmla="val 1800000"/>
            </a:avLst>
          </a:prstGeom>
          <a:noFill/>
          <a:ln w="12700" cap="flat" cmpd="sng" algn="ctr">
            <a:solidFill>
              <a:srgbClr val="0078D7"/>
            </a:solidFill>
            <a:prstDash val="dash"/>
            <a:headEnd type="none"/>
            <a:tailEnd type="none"/>
          </a:ln>
          <a:effectLst/>
        </p:spPr>
      </p:cxnSp>
      <p:grpSp>
        <p:nvGrpSpPr>
          <p:cNvPr id="70" name="Group 69">
            <a:extLst>
              <a:ext uri="{FF2B5EF4-FFF2-40B4-BE49-F238E27FC236}">
                <a16:creationId xmlns:a16="http://schemas.microsoft.com/office/drawing/2014/main" id="{4F474C55-2EAD-44E7-BC57-C02DC87D1D48}"/>
              </a:ext>
            </a:extLst>
          </p:cNvPr>
          <p:cNvGrpSpPr/>
          <p:nvPr/>
        </p:nvGrpSpPr>
        <p:grpSpPr>
          <a:xfrm>
            <a:off x="2523131" y="4680052"/>
            <a:ext cx="619568" cy="527052"/>
            <a:chOff x="2107244" y="1575258"/>
            <a:chExt cx="310993" cy="264555"/>
          </a:xfrm>
          <a:solidFill>
            <a:srgbClr val="002050">
              <a:lumMod val="10000"/>
              <a:lumOff val="90000"/>
            </a:srgbClr>
          </a:solidFill>
        </p:grpSpPr>
        <p:grpSp>
          <p:nvGrpSpPr>
            <p:cNvPr id="71" name="Group 70">
              <a:extLst>
                <a:ext uri="{FF2B5EF4-FFF2-40B4-BE49-F238E27FC236}">
                  <a16:creationId xmlns:a16="http://schemas.microsoft.com/office/drawing/2014/main" id="{15E23DA9-78D8-4A61-938C-1CFADF0125D6}"/>
                </a:ext>
              </a:extLst>
            </p:cNvPr>
            <p:cNvGrpSpPr/>
            <p:nvPr/>
          </p:nvGrpSpPr>
          <p:grpSpPr>
            <a:xfrm>
              <a:off x="2107244" y="1575258"/>
              <a:ext cx="310993" cy="264555"/>
              <a:chOff x="2107244" y="1575258"/>
              <a:chExt cx="310993" cy="264555"/>
            </a:xfrm>
            <a:grpFill/>
          </p:grpSpPr>
          <p:sp>
            <p:nvSpPr>
              <p:cNvPr id="79" name="Rectangle 9">
                <a:extLst>
                  <a:ext uri="{FF2B5EF4-FFF2-40B4-BE49-F238E27FC236}">
                    <a16:creationId xmlns:a16="http://schemas.microsoft.com/office/drawing/2014/main" id="{94FF05EA-493B-4A23-AA78-C92D2FD8C002}"/>
                  </a:ext>
                </a:extLst>
              </p:cNvPr>
              <p:cNvSpPr>
                <a:spLocks noChangeArrowheads="1"/>
              </p:cNvSpPr>
              <p:nvPr/>
            </p:nvSpPr>
            <p:spPr bwMode="auto">
              <a:xfrm>
                <a:off x="2107244" y="1575258"/>
                <a:ext cx="310993" cy="264555"/>
              </a:xfrm>
              <a:prstGeom prst="rect">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80" name="Line 10">
                <a:extLst>
                  <a:ext uri="{FF2B5EF4-FFF2-40B4-BE49-F238E27FC236}">
                    <a16:creationId xmlns:a16="http://schemas.microsoft.com/office/drawing/2014/main" id="{E82AB1FC-7292-4603-81B4-1880016531AA}"/>
                  </a:ext>
                </a:extLst>
              </p:cNvPr>
              <p:cNvSpPr>
                <a:spLocks noChangeShapeType="1"/>
              </p:cNvSpPr>
              <p:nvPr/>
            </p:nvSpPr>
            <p:spPr bwMode="auto">
              <a:xfrm flipH="1">
                <a:off x="2107244" y="1647026"/>
                <a:ext cx="310993" cy="0"/>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72" name="Group 71">
              <a:extLst>
                <a:ext uri="{FF2B5EF4-FFF2-40B4-BE49-F238E27FC236}">
                  <a16:creationId xmlns:a16="http://schemas.microsoft.com/office/drawing/2014/main" id="{C494C4F4-AD13-461C-A2C3-9C46E07C5BC8}"/>
                </a:ext>
              </a:extLst>
            </p:cNvPr>
            <p:cNvGrpSpPr/>
            <p:nvPr/>
          </p:nvGrpSpPr>
          <p:grpSpPr>
            <a:xfrm>
              <a:off x="2287367" y="1599181"/>
              <a:ext cx="95690" cy="23923"/>
              <a:chOff x="2287367" y="1599181"/>
              <a:chExt cx="95690" cy="23923"/>
            </a:xfrm>
            <a:grpFill/>
          </p:grpSpPr>
          <p:sp>
            <p:nvSpPr>
              <p:cNvPr id="76" name="Oval 11">
                <a:extLst>
                  <a:ext uri="{FF2B5EF4-FFF2-40B4-BE49-F238E27FC236}">
                    <a16:creationId xmlns:a16="http://schemas.microsoft.com/office/drawing/2014/main" id="{B4A3F8F8-E0C0-4C5F-89B3-AB23598F6C86}"/>
                  </a:ext>
                </a:extLst>
              </p:cNvPr>
              <p:cNvSpPr>
                <a:spLocks noChangeArrowheads="1"/>
              </p:cNvSpPr>
              <p:nvPr/>
            </p:nvSpPr>
            <p:spPr bwMode="auto">
              <a:xfrm>
                <a:off x="228736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7" name="Oval 12">
                <a:extLst>
                  <a:ext uri="{FF2B5EF4-FFF2-40B4-BE49-F238E27FC236}">
                    <a16:creationId xmlns:a16="http://schemas.microsoft.com/office/drawing/2014/main" id="{F6A52AE9-200C-4FE9-82E0-D88DA36485DD}"/>
                  </a:ext>
                </a:extLst>
              </p:cNvPr>
              <p:cNvSpPr>
                <a:spLocks noChangeArrowheads="1"/>
              </p:cNvSpPr>
              <p:nvPr/>
            </p:nvSpPr>
            <p:spPr bwMode="auto">
              <a:xfrm>
                <a:off x="2322547"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8" name="Oval 13">
                <a:extLst>
                  <a:ext uri="{FF2B5EF4-FFF2-40B4-BE49-F238E27FC236}">
                    <a16:creationId xmlns:a16="http://schemas.microsoft.com/office/drawing/2014/main" id="{33FCD1F7-F55A-4297-A3D6-E0083D2C6267}"/>
                  </a:ext>
                </a:extLst>
              </p:cNvPr>
              <p:cNvSpPr>
                <a:spLocks noChangeArrowheads="1"/>
              </p:cNvSpPr>
              <p:nvPr/>
            </p:nvSpPr>
            <p:spPr bwMode="auto">
              <a:xfrm>
                <a:off x="2359134" y="1599181"/>
                <a:ext cx="23923" cy="23923"/>
              </a:xfrm>
              <a:prstGeom prst="ellipse">
                <a:avLst/>
              </a:pr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73" name="Group 72">
              <a:extLst>
                <a:ext uri="{FF2B5EF4-FFF2-40B4-BE49-F238E27FC236}">
                  <a16:creationId xmlns:a16="http://schemas.microsoft.com/office/drawing/2014/main" id="{F01C20D3-A17E-4189-9021-D16139510AFE}"/>
                </a:ext>
              </a:extLst>
            </p:cNvPr>
            <p:cNvGrpSpPr/>
            <p:nvPr/>
          </p:nvGrpSpPr>
          <p:grpSpPr>
            <a:xfrm>
              <a:off x="2202934" y="1701907"/>
              <a:ext cx="95690" cy="90061"/>
              <a:chOff x="2202934" y="1701907"/>
              <a:chExt cx="95690" cy="90061"/>
            </a:xfrm>
            <a:grpFill/>
          </p:grpSpPr>
          <p:sp>
            <p:nvSpPr>
              <p:cNvPr id="74" name="Freeform 14">
                <a:extLst>
                  <a:ext uri="{FF2B5EF4-FFF2-40B4-BE49-F238E27FC236}">
                    <a16:creationId xmlns:a16="http://schemas.microsoft.com/office/drawing/2014/main" id="{949A0A9A-BF0D-4274-96AA-510B04F669FB}"/>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75" name="Line 15">
                <a:extLst>
                  <a:ext uri="{FF2B5EF4-FFF2-40B4-BE49-F238E27FC236}">
                    <a16:creationId xmlns:a16="http://schemas.microsoft.com/office/drawing/2014/main" id="{F4236AC2-9AAB-4DF9-8F07-F484E3E621C4}"/>
                  </a:ext>
                </a:extLst>
              </p:cNvPr>
              <p:cNvSpPr>
                <a:spLocks noChangeShapeType="1"/>
              </p:cNvSpPr>
              <p:nvPr/>
            </p:nvSpPr>
            <p:spPr bwMode="auto">
              <a:xfrm>
                <a:off x="2253117" y="1755381"/>
                <a:ext cx="0" cy="36587"/>
              </a:xfrm>
              <a:prstGeom prst="line">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
        <p:nvSpPr>
          <p:cNvPr id="81" name="TextBox 80">
            <a:extLst>
              <a:ext uri="{FF2B5EF4-FFF2-40B4-BE49-F238E27FC236}">
                <a16:creationId xmlns:a16="http://schemas.microsoft.com/office/drawing/2014/main" id="{B0A24976-837B-4227-A035-644DE533DD42}"/>
              </a:ext>
            </a:extLst>
          </p:cNvPr>
          <p:cNvSpPr txBox="1"/>
          <p:nvPr/>
        </p:nvSpPr>
        <p:spPr>
          <a:xfrm>
            <a:off x="2529258" y="5310759"/>
            <a:ext cx="607314"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defTabSz="932472" fontAlgn="base">
              <a:spcBef>
                <a:spcPct val="0"/>
              </a:spcBef>
              <a:spcAft>
                <a:spcPct val="0"/>
              </a:spcAft>
              <a:defRPr sz="1000">
                <a:solidFill>
                  <a:schemeClr val="tx2"/>
                </a:solidFill>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0078D7"/>
                </a:solidFill>
                <a:effectLst/>
                <a:uLnTx/>
                <a:uFillTx/>
                <a:cs typeface="Segoe UI Semilight" panose="020B0402040204020203" pitchFamily="34" charset="0"/>
              </a:rPr>
              <a:t>App</a:t>
            </a:r>
          </a:p>
        </p:txBody>
      </p:sp>
    </p:spTree>
    <p:extLst>
      <p:ext uri="{BB962C8B-B14F-4D97-AF65-F5344CB8AC3E}">
        <p14:creationId xmlns:p14="http://schemas.microsoft.com/office/powerpoint/2010/main" val="1794916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Implement AAD Authentication</a:t>
            </a:r>
          </a:p>
          <a:p>
            <a:pPr marL="571500" lvl="1" indent="-342900">
              <a:buFont typeface="Arial" panose="020B0604020202020204" pitchFamily="34" charset="0"/>
              <a:buChar char="•"/>
            </a:pPr>
            <a:r>
              <a:rPr lang="en-US"/>
              <a:t>Connect to Azure Active Directory.</a:t>
            </a:r>
          </a:p>
          <a:p>
            <a:pPr marL="571500" lvl="1" indent="-342900">
              <a:buFont typeface="Arial" panose="020B0604020202020204" pitchFamily="34" charset="0"/>
              <a:buChar char="•"/>
            </a:pPr>
            <a:r>
              <a:rPr lang="en-US"/>
              <a:t>Connect to Azure SQL DB using SSMS through AAD authentic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670385602"/>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706473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823083796"/>
              </p:ext>
            </p:extLst>
          </p:nvPr>
        </p:nvGraphicFramePr>
        <p:xfrm>
          <a:off x="655638" y="1408113"/>
          <a:ext cx="10880725" cy="2249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7701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4A33671D-E411-4E64-9C6E-8646BDFFDF9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a:t>Lesson 3: Manage Logins in Azure SQL Database</a:t>
            </a:r>
          </a:p>
        </p:txBody>
      </p:sp>
    </p:spTree>
    <p:extLst>
      <p:ext uri="{BB962C8B-B14F-4D97-AF65-F5344CB8AC3E}">
        <p14:creationId xmlns:p14="http://schemas.microsoft.com/office/powerpoint/2010/main" val="57495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Manage logins withi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314306782"/>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Unrestricted Administrative Accounts</a:t>
            </a:r>
          </a:p>
        </p:txBody>
      </p:sp>
      <p:graphicFrame>
        <p:nvGraphicFramePr>
          <p:cNvPr id="4" name="Content Placeholder 3">
            <a:extLst>
              <a:ext uri="{FF2B5EF4-FFF2-40B4-BE49-F238E27FC236}">
                <a16:creationId xmlns:a16="http://schemas.microsoft.com/office/drawing/2014/main" id="{ECD81283-FAFB-407D-A631-B1EA8B99D9E5}"/>
              </a:ext>
            </a:extLst>
          </p:cNvPr>
          <p:cNvGraphicFramePr>
            <a:graphicFrameLocks noGrp="1"/>
          </p:cNvGraphicFramePr>
          <p:nvPr>
            <p:ph sz="quarter" idx="13"/>
            <p:extLst>
              <p:ext uri="{D42A27DB-BD31-4B8C-83A1-F6EECF244321}">
                <p14:modId xmlns:p14="http://schemas.microsoft.com/office/powerpoint/2010/main" val="3125731188"/>
              </p:ext>
            </p:extLst>
          </p:nvPr>
        </p:nvGraphicFramePr>
        <p:xfrm>
          <a:off x="655638" y="1587224"/>
          <a:ext cx="10880726" cy="3316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5955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Administrator Access Path</a:t>
            </a:r>
          </a:p>
        </p:txBody>
      </p:sp>
      <p:sp>
        <p:nvSpPr>
          <p:cNvPr id="5" name="Rectangle: Rounded Corners 4">
            <a:extLst>
              <a:ext uri="{FF2B5EF4-FFF2-40B4-BE49-F238E27FC236}">
                <a16:creationId xmlns:a16="http://schemas.microsoft.com/office/drawing/2014/main" id="{0E827170-E0FF-4D48-A68A-5FBE9D116753}"/>
              </a:ext>
            </a:extLst>
          </p:cNvPr>
          <p:cNvSpPr/>
          <p:nvPr/>
        </p:nvSpPr>
        <p:spPr bwMode="auto">
          <a:xfrm>
            <a:off x="2628900" y="1408114"/>
            <a:ext cx="6934200" cy="202088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u="sng">
                <a:gradFill>
                  <a:gsLst>
                    <a:gs pos="0">
                      <a:srgbClr val="FFFFFF"/>
                    </a:gs>
                    <a:gs pos="100000">
                      <a:srgbClr val="FFFFFF"/>
                    </a:gs>
                  </a:gsLst>
                  <a:lin ang="5400000" scaled="0"/>
                </a:gradFill>
                <a:ea typeface="Segoe UI" pitchFamily="34" charset="0"/>
                <a:cs typeface="Segoe UI" pitchFamily="34" charset="0"/>
              </a:rPr>
              <a:t>Azure Active Directory</a:t>
            </a:r>
          </a:p>
          <a:p>
            <a:pPr defTabSz="932472" fontAlgn="base">
              <a:lnSpc>
                <a:spcPct val="150000"/>
              </a:lnSpc>
              <a:spcBef>
                <a:spcPct val="0"/>
              </a:spcBef>
              <a:spcAft>
                <a:spcPct val="0"/>
              </a:spcAft>
            </a:pPr>
            <a:r>
              <a:rPr lang="en-US" b="1">
                <a:gradFill>
                  <a:gsLst>
                    <a:gs pos="0">
                      <a:srgbClr val="FFFFFF"/>
                    </a:gs>
                    <a:gs pos="100000">
                      <a:srgbClr val="FFFFFF"/>
                    </a:gs>
                  </a:gsLst>
                  <a:lin ang="5400000" scaled="0"/>
                </a:gradFill>
                <a:ea typeface="Segoe UI" pitchFamily="34" charset="0"/>
                <a:cs typeface="Segoe UI" pitchFamily="34" charset="0"/>
              </a:rPr>
              <a:t>Azure Active Directory admin</a:t>
            </a:r>
          </a:p>
          <a:p>
            <a:pPr marL="342900" indent="-342900" defTabSz="932472" fontAlgn="base">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A single account (can be a user or group)</a:t>
            </a:r>
          </a:p>
          <a:p>
            <a:pPr marL="342900" indent="-342900" defTabSz="932472" fontAlgn="base">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Optional if not using Azure Active Directory Authentication</a:t>
            </a:r>
          </a:p>
          <a:p>
            <a:pPr marL="342900" indent="-342900" defTabSz="932472" fontAlgn="base">
              <a:spcBef>
                <a:spcPct val="0"/>
              </a:spcBef>
              <a:spcAft>
                <a:spcPct val="0"/>
              </a:spcAft>
              <a:buFont typeface="Arial" panose="020B0604020202020204" pitchFamily="34" charset="0"/>
              <a:buChar char="•"/>
            </a:pPr>
            <a:r>
              <a:rPr lang="en-US">
                <a:gradFill>
                  <a:gsLst>
                    <a:gs pos="0">
                      <a:srgbClr val="FFFFFF"/>
                    </a:gs>
                    <a:gs pos="100000">
                      <a:srgbClr val="FFFFFF"/>
                    </a:gs>
                  </a:gsLst>
                  <a:lin ang="5400000" scaled="0"/>
                </a:gradFill>
                <a:ea typeface="Segoe UI" pitchFamily="34" charset="0"/>
                <a:cs typeface="Segoe UI" pitchFamily="34" charset="0"/>
              </a:rPr>
              <a:t>Required if using Azure Active Directory Authentication</a:t>
            </a:r>
            <a:r>
              <a:rPr lang="en-US" b="1" u="sng">
                <a:gradFill>
                  <a:gsLst>
                    <a:gs pos="0">
                      <a:srgbClr val="FFFFFF"/>
                    </a:gs>
                    <a:gs pos="100000">
                      <a:srgbClr val="FFFFFF"/>
                    </a:gs>
                  </a:gsLst>
                  <a:lin ang="5400000" scaled="0"/>
                </a:gradFill>
                <a:ea typeface="Segoe UI" pitchFamily="34" charset="0"/>
                <a:cs typeface="Segoe UI" pitchFamily="34" charset="0"/>
              </a:rPr>
              <a:t> </a:t>
            </a:r>
          </a:p>
        </p:txBody>
      </p:sp>
      <p:sp>
        <p:nvSpPr>
          <p:cNvPr id="6" name="Rectangle: Rounded Corners 5">
            <a:extLst>
              <a:ext uri="{FF2B5EF4-FFF2-40B4-BE49-F238E27FC236}">
                <a16:creationId xmlns:a16="http://schemas.microsoft.com/office/drawing/2014/main" id="{3C96334A-E85D-4740-AD6E-B555990A6DD0}"/>
              </a:ext>
            </a:extLst>
          </p:cNvPr>
          <p:cNvSpPr/>
          <p:nvPr/>
        </p:nvSpPr>
        <p:spPr bwMode="auto">
          <a:xfrm>
            <a:off x="838200" y="4572000"/>
            <a:ext cx="2590800" cy="118268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a:gradFill>
                  <a:gsLst>
                    <a:gs pos="0">
                      <a:srgbClr val="FFFFFF"/>
                    </a:gs>
                    <a:gs pos="100000">
                      <a:srgbClr val="FFFFFF"/>
                    </a:gs>
                  </a:gsLst>
                  <a:lin ang="5400000" scaled="0"/>
                </a:gradFill>
                <a:ea typeface="Segoe UI" pitchFamily="34" charset="0"/>
                <a:cs typeface="Segoe UI" pitchFamily="34" charset="0"/>
              </a:rPr>
              <a:t>SQL Server Admin Account</a:t>
            </a:r>
          </a:p>
        </p:txBody>
      </p:sp>
      <p:sp>
        <p:nvSpPr>
          <p:cNvPr id="7" name="Rectangle 6">
            <a:extLst>
              <a:ext uri="{FF2B5EF4-FFF2-40B4-BE49-F238E27FC236}">
                <a16:creationId xmlns:a16="http://schemas.microsoft.com/office/drawing/2014/main" id="{EC302044-7E2B-4958-8B50-F7481600E8AE}"/>
              </a:ext>
            </a:extLst>
          </p:cNvPr>
          <p:cNvSpPr/>
          <p:nvPr/>
        </p:nvSpPr>
        <p:spPr bwMode="auto">
          <a:xfrm>
            <a:off x="4572000" y="3733800"/>
            <a:ext cx="762000" cy="2020886"/>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a:extLst>
              <a:ext uri="{FF2B5EF4-FFF2-40B4-BE49-F238E27FC236}">
                <a16:creationId xmlns:a16="http://schemas.microsoft.com/office/drawing/2014/main" id="{3425F18F-3EC1-47F4-822C-AECDE345E6F5}"/>
              </a:ext>
            </a:extLst>
          </p:cNvPr>
          <p:cNvSpPr txBox="1"/>
          <p:nvPr/>
        </p:nvSpPr>
        <p:spPr>
          <a:xfrm>
            <a:off x="3942146" y="5825511"/>
            <a:ext cx="2021707" cy="276999"/>
          </a:xfrm>
          <a:prstGeom prst="rect">
            <a:avLst/>
          </a:prstGeom>
          <a:noFill/>
        </p:spPr>
        <p:txBody>
          <a:bodyPr wrap="none" lIns="0" tIns="0" rIns="0" bIns="0" rtlCol="0">
            <a:spAutoFit/>
          </a:bodyPr>
          <a:lstStyle/>
          <a:p>
            <a:pPr algn="l"/>
            <a:r>
              <a:rPr lang="en-US">
                <a:gradFill>
                  <a:gsLst>
                    <a:gs pos="2917">
                      <a:schemeClr val="tx1"/>
                    </a:gs>
                    <a:gs pos="30000">
                      <a:schemeClr val="tx1"/>
                    </a:gs>
                  </a:gsLst>
                  <a:lin ang="5400000" scaled="0"/>
                </a:gradFill>
              </a:rPr>
              <a:t>Server-level Firewall</a:t>
            </a:r>
          </a:p>
        </p:txBody>
      </p:sp>
      <p:sp>
        <p:nvSpPr>
          <p:cNvPr id="9" name="Rectangle: Rounded Corners 8">
            <a:extLst>
              <a:ext uri="{FF2B5EF4-FFF2-40B4-BE49-F238E27FC236}">
                <a16:creationId xmlns:a16="http://schemas.microsoft.com/office/drawing/2014/main" id="{AB6F4810-B93E-4520-BF17-1C59501B2879}"/>
              </a:ext>
            </a:extLst>
          </p:cNvPr>
          <p:cNvSpPr/>
          <p:nvPr/>
        </p:nvSpPr>
        <p:spPr bwMode="auto">
          <a:xfrm>
            <a:off x="7021513" y="3834061"/>
            <a:ext cx="4495800" cy="161582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u="sng" dirty="0">
                <a:gradFill>
                  <a:gsLst>
                    <a:gs pos="0">
                      <a:srgbClr val="FFFFFF"/>
                    </a:gs>
                    <a:gs pos="100000">
                      <a:srgbClr val="FFFFFF"/>
                    </a:gs>
                  </a:gsLst>
                  <a:lin ang="5400000" scaled="0"/>
                </a:gradFill>
                <a:ea typeface="Segoe UI" pitchFamily="34" charset="0"/>
                <a:cs typeface="Segoe UI" pitchFamily="34" charset="0"/>
              </a:rPr>
              <a:t>Master database</a:t>
            </a:r>
          </a:p>
          <a:p>
            <a:pPr marL="342900" indent="-342900" defTabSz="932472" fontAlgn="base">
              <a:lnSpc>
                <a:spcPct val="150000"/>
              </a:lnSpc>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Uses Active Directory Authentication</a:t>
            </a:r>
          </a:p>
          <a:p>
            <a:pPr marL="342900" indent="-342900" defTabSz="932472" fontAlgn="base">
              <a:spcBef>
                <a:spcPct val="0"/>
              </a:spcBef>
              <a:spcAft>
                <a:spcPct val="0"/>
              </a:spcAft>
              <a:buFont typeface="Arial" panose="020B0604020202020204" pitchFamily="34" charset="0"/>
              <a:buChar char="•"/>
            </a:pPr>
            <a:r>
              <a:rPr lang="en-US" dirty="0">
                <a:gradFill>
                  <a:gsLst>
                    <a:gs pos="0">
                      <a:srgbClr val="FFFFFF"/>
                    </a:gs>
                    <a:gs pos="100000">
                      <a:srgbClr val="FFFFFF"/>
                    </a:gs>
                  </a:gsLst>
                  <a:lin ang="5400000" scaled="0"/>
                </a:gradFill>
                <a:ea typeface="Segoe UI" pitchFamily="34" charset="0"/>
                <a:cs typeface="Segoe UI" pitchFamily="34" charset="0"/>
              </a:rPr>
              <a:t>Uses SQL Server Authentication</a:t>
            </a:r>
          </a:p>
        </p:txBody>
      </p:sp>
      <p:cxnSp>
        <p:nvCxnSpPr>
          <p:cNvPr id="11" name="Connector: Elbow 10">
            <a:extLst>
              <a:ext uri="{FF2B5EF4-FFF2-40B4-BE49-F238E27FC236}">
                <a16:creationId xmlns:a16="http://schemas.microsoft.com/office/drawing/2014/main" id="{004BEF6B-39A0-4182-89AB-15BB5D97BCD7}"/>
              </a:ext>
            </a:extLst>
          </p:cNvPr>
          <p:cNvCxnSpPr>
            <a:cxnSpLocks/>
            <a:stCxn id="5" idx="1"/>
          </p:cNvCxnSpPr>
          <p:nvPr/>
        </p:nvCxnSpPr>
        <p:spPr>
          <a:xfrm rot="10800000" flipH="1" flipV="1">
            <a:off x="2628900" y="2418556"/>
            <a:ext cx="4373562" cy="1765003"/>
          </a:xfrm>
          <a:prstGeom prst="bentConnector3">
            <a:avLst>
              <a:gd name="adj1" fmla="val -5227"/>
            </a:avLst>
          </a:pr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 name="Connector: Elbow 13">
            <a:extLst>
              <a:ext uri="{FF2B5EF4-FFF2-40B4-BE49-F238E27FC236}">
                <a16:creationId xmlns:a16="http://schemas.microsoft.com/office/drawing/2014/main" id="{7B5213A6-391F-4D05-8556-F40CA86C8D84}"/>
              </a:ext>
            </a:extLst>
          </p:cNvPr>
          <p:cNvCxnSpPr>
            <a:cxnSpLocks/>
          </p:cNvCxnSpPr>
          <p:nvPr/>
        </p:nvCxnSpPr>
        <p:spPr>
          <a:xfrm flipV="1">
            <a:off x="3429000" y="4949261"/>
            <a:ext cx="3573462" cy="1"/>
          </a:xfrm>
          <a:prstGeom prst="bentConnector3">
            <a:avLst/>
          </a:pr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09421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Additional Special Roles</a:t>
            </a:r>
          </a:p>
        </p:txBody>
      </p:sp>
      <p:sp>
        <p:nvSpPr>
          <p:cNvPr id="3" name="Content Placeholder 2">
            <a:extLst>
              <a:ext uri="{FF2B5EF4-FFF2-40B4-BE49-F238E27FC236}">
                <a16:creationId xmlns:a16="http://schemas.microsoft.com/office/drawing/2014/main" id="{7E6B30F7-F81C-4643-8CFC-F2D84B99F090}"/>
              </a:ext>
            </a:extLst>
          </p:cNvPr>
          <p:cNvSpPr>
            <a:spLocks noGrp="1"/>
          </p:cNvSpPr>
          <p:nvPr>
            <p:ph sz="quarter" idx="13"/>
          </p:nvPr>
        </p:nvSpPr>
        <p:spPr>
          <a:xfrm>
            <a:off x="655638" y="1408114"/>
            <a:ext cx="10880726" cy="1792286"/>
          </a:xfrm>
        </p:spPr>
        <p:txBody>
          <a:bodyPr/>
          <a:lstStyle/>
          <a:p>
            <a:pPr marL="0" indent="0">
              <a:buNone/>
            </a:pPr>
            <a:r>
              <a:rPr lang="en-US"/>
              <a:t>Database Creators</a:t>
            </a:r>
          </a:p>
          <a:p>
            <a:r>
              <a:rPr lang="en-US"/>
              <a:t> ALTER ROLE </a:t>
            </a:r>
            <a:r>
              <a:rPr lang="en-US" err="1"/>
              <a:t>dbmanager</a:t>
            </a:r>
            <a:r>
              <a:rPr lang="en-US"/>
              <a:t>* ADD MEMBER Mary; </a:t>
            </a:r>
          </a:p>
          <a:p>
            <a:r>
              <a:rPr lang="en-US"/>
              <a:t> ALTER ROLE </a:t>
            </a:r>
            <a:r>
              <a:rPr lang="en-US" err="1"/>
              <a:t>dbmanager</a:t>
            </a:r>
            <a:r>
              <a:rPr lang="en-US"/>
              <a:t>* ADD MEMBER [mike@contoso.com];</a:t>
            </a:r>
          </a:p>
          <a:p>
            <a:pPr marL="0" indent="0">
              <a:buNone/>
            </a:pPr>
            <a:endParaRPr lang="en-US"/>
          </a:p>
        </p:txBody>
      </p:sp>
      <p:graphicFrame>
        <p:nvGraphicFramePr>
          <p:cNvPr id="5" name="Diagram 4">
            <a:extLst>
              <a:ext uri="{FF2B5EF4-FFF2-40B4-BE49-F238E27FC236}">
                <a16:creationId xmlns:a16="http://schemas.microsoft.com/office/drawing/2014/main" id="{A9E451C3-1216-42E7-A6BB-92BF0A2FBAE0}"/>
              </a:ext>
            </a:extLst>
          </p:cNvPr>
          <p:cNvGraphicFramePr/>
          <p:nvPr>
            <p:extLst>
              <p:ext uri="{D42A27DB-BD31-4B8C-83A1-F6EECF244321}">
                <p14:modId xmlns:p14="http://schemas.microsoft.com/office/powerpoint/2010/main" val="4167530046"/>
              </p:ext>
            </p:extLst>
          </p:nvPr>
        </p:nvGraphicFramePr>
        <p:xfrm>
          <a:off x="655637" y="3429000"/>
          <a:ext cx="10880726" cy="1792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5A614880-B6E3-4617-8583-0A9A7E9A38D8}"/>
              </a:ext>
            </a:extLst>
          </p:cNvPr>
          <p:cNvSpPr txBox="1"/>
          <p:nvPr/>
        </p:nvSpPr>
        <p:spPr>
          <a:xfrm>
            <a:off x="688294" y="5847695"/>
            <a:ext cx="6474593" cy="584775"/>
          </a:xfrm>
          <a:prstGeom prst="rect">
            <a:avLst/>
          </a:prstGeom>
          <a:noFill/>
        </p:spPr>
        <p:txBody>
          <a:bodyPr wrap="none" lIns="0" tIns="0" rIns="0" bIns="0" rtlCol="0">
            <a:spAutoFit/>
          </a:bodyPr>
          <a:lstStyle/>
          <a:p>
            <a:r>
              <a:rPr lang="en-US" sz="2000">
                <a:cs typeface="Segoe UI" panose="020B0502040204020203" pitchFamily="34" charset="0"/>
              </a:rPr>
              <a:t>*</a:t>
            </a:r>
            <a:r>
              <a:rPr lang="en-US" sz="2000" err="1">
                <a:cs typeface="Segoe UI" panose="020B0502040204020203" pitchFamily="34" charset="0"/>
              </a:rPr>
              <a:t>dbmanager</a:t>
            </a:r>
            <a:r>
              <a:rPr lang="en-US" sz="2000">
                <a:cs typeface="Segoe UI" panose="020B0502040204020203" pitchFamily="34" charset="0"/>
              </a:rPr>
              <a:t> is a database role in virtual master database.</a:t>
            </a:r>
          </a:p>
          <a:p>
            <a:pPr algn="l"/>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804573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Additional Special Roles (continued)</a:t>
            </a:r>
          </a:p>
        </p:txBody>
      </p:sp>
      <p:sp>
        <p:nvSpPr>
          <p:cNvPr id="3" name="Content Placeholder 2">
            <a:extLst>
              <a:ext uri="{FF2B5EF4-FFF2-40B4-BE49-F238E27FC236}">
                <a16:creationId xmlns:a16="http://schemas.microsoft.com/office/drawing/2014/main" id="{7E6B30F7-F81C-4643-8CFC-F2D84B99F090}"/>
              </a:ext>
            </a:extLst>
          </p:cNvPr>
          <p:cNvSpPr>
            <a:spLocks noGrp="1"/>
          </p:cNvSpPr>
          <p:nvPr>
            <p:ph sz="quarter" idx="13"/>
          </p:nvPr>
        </p:nvSpPr>
        <p:spPr>
          <a:xfrm>
            <a:off x="655638" y="1408114"/>
            <a:ext cx="10880726" cy="1792286"/>
          </a:xfrm>
        </p:spPr>
        <p:txBody>
          <a:bodyPr>
            <a:normAutofit/>
          </a:bodyPr>
          <a:lstStyle/>
          <a:p>
            <a:pPr marL="0" indent="0">
              <a:buNone/>
            </a:pPr>
            <a:r>
              <a:rPr lang="en-US"/>
              <a:t>Login Managers</a:t>
            </a:r>
          </a:p>
          <a:p>
            <a:r>
              <a:rPr lang="en-US"/>
              <a:t> ALTER ROLE </a:t>
            </a:r>
            <a:r>
              <a:rPr lang="en-US" err="1"/>
              <a:t>loginmanager</a:t>
            </a:r>
            <a:r>
              <a:rPr lang="en-US"/>
              <a:t>*  ADD MEMBER Mary; </a:t>
            </a:r>
          </a:p>
          <a:p>
            <a:r>
              <a:rPr lang="en-US"/>
              <a:t> ALTER ROLE </a:t>
            </a:r>
            <a:r>
              <a:rPr lang="en-US" err="1"/>
              <a:t>loginmanager</a:t>
            </a:r>
            <a:r>
              <a:rPr lang="en-US"/>
              <a:t>*  ADD MEMBER [mike@contoso.com];</a:t>
            </a:r>
          </a:p>
        </p:txBody>
      </p:sp>
      <p:graphicFrame>
        <p:nvGraphicFramePr>
          <p:cNvPr id="5" name="Diagram 4">
            <a:extLst>
              <a:ext uri="{FF2B5EF4-FFF2-40B4-BE49-F238E27FC236}">
                <a16:creationId xmlns:a16="http://schemas.microsoft.com/office/drawing/2014/main" id="{A9E451C3-1216-42E7-A6BB-92BF0A2FBAE0}"/>
              </a:ext>
            </a:extLst>
          </p:cNvPr>
          <p:cNvGraphicFramePr/>
          <p:nvPr>
            <p:extLst>
              <p:ext uri="{D42A27DB-BD31-4B8C-83A1-F6EECF244321}">
                <p14:modId xmlns:p14="http://schemas.microsoft.com/office/powerpoint/2010/main" val="1908689526"/>
              </p:ext>
            </p:extLst>
          </p:nvPr>
        </p:nvGraphicFramePr>
        <p:xfrm>
          <a:off x="655637" y="3429000"/>
          <a:ext cx="10880726" cy="1792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5A614880-B6E3-4617-8583-0A9A7E9A38D8}"/>
              </a:ext>
            </a:extLst>
          </p:cNvPr>
          <p:cNvSpPr txBox="1"/>
          <p:nvPr/>
        </p:nvSpPr>
        <p:spPr>
          <a:xfrm>
            <a:off x="688294" y="5847695"/>
            <a:ext cx="6758260" cy="307777"/>
          </a:xfrm>
          <a:prstGeom prst="rect">
            <a:avLst/>
          </a:prstGeom>
          <a:noFill/>
        </p:spPr>
        <p:txBody>
          <a:bodyPr wrap="none" lIns="0" tIns="0" rIns="0" bIns="0" rtlCol="0">
            <a:spAutoFit/>
          </a:bodyPr>
          <a:lstStyle/>
          <a:p>
            <a:r>
              <a:rPr lang="en-US" sz="2000">
                <a:cs typeface="Segoe UI" panose="020B0502040204020203" pitchFamily="34" charset="0"/>
              </a:rPr>
              <a:t>*</a:t>
            </a:r>
            <a:r>
              <a:rPr lang="en-US" sz="2000" err="1">
                <a:cs typeface="Segoe UI" panose="020B0502040204020203" pitchFamily="34" charset="0"/>
              </a:rPr>
              <a:t>loginmanager</a:t>
            </a:r>
            <a:r>
              <a:rPr lang="en-US" sz="2000">
                <a:cs typeface="Segoe UI" panose="020B0502040204020203" pitchFamily="34" charset="0"/>
              </a:rPr>
              <a:t> is a database role in virtual master database.</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84954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Non-administrator Users</a:t>
            </a:r>
          </a:p>
        </p:txBody>
      </p:sp>
      <p:sp>
        <p:nvSpPr>
          <p:cNvPr id="3" name="Content Placeholder 2">
            <a:extLst>
              <a:ext uri="{FF2B5EF4-FFF2-40B4-BE49-F238E27FC236}">
                <a16:creationId xmlns:a16="http://schemas.microsoft.com/office/drawing/2014/main" id="{7E6B30F7-F81C-4643-8CFC-F2D84B99F090}"/>
              </a:ext>
            </a:extLst>
          </p:cNvPr>
          <p:cNvSpPr>
            <a:spLocks noGrp="1"/>
          </p:cNvSpPr>
          <p:nvPr>
            <p:ph sz="quarter" idx="13"/>
          </p:nvPr>
        </p:nvSpPr>
        <p:spPr>
          <a:xfrm>
            <a:off x="655638" y="1408114"/>
            <a:ext cx="10880726" cy="2325686"/>
          </a:xfrm>
        </p:spPr>
        <p:txBody>
          <a:bodyPr/>
          <a:lstStyle/>
          <a:p>
            <a:r>
              <a:rPr lang="en-US"/>
              <a:t>Generally, non-administrator accounts do not need access to the virtual master database. </a:t>
            </a:r>
          </a:p>
          <a:p>
            <a:r>
              <a:rPr lang="en-US"/>
              <a:t>Create contained database users at the database level.</a:t>
            </a:r>
          </a:p>
          <a:p>
            <a:endParaRPr lang="en-US"/>
          </a:p>
          <a:p>
            <a:pPr marL="0" indent="0">
              <a:buNone/>
            </a:pPr>
            <a:r>
              <a:rPr lang="en-US"/>
              <a:t>Options:</a:t>
            </a:r>
          </a:p>
          <a:p>
            <a:endParaRPr lang="en-US"/>
          </a:p>
        </p:txBody>
      </p:sp>
      <p:graphicFrame>
        <p:nvGraphicFramePr>
          <p:cNvPr id="5" name="Diagram 4">
            <a:extLst>
              <a:ext uri="{FF2B5EF4-FFF2-40B4-BE49-F238E27FC236}">
                <a16:creationId xmlns:a16="http://schemas.microsoft.com/office/drawing/2014/main" id="{2C92F978-4CA7-4BF6-92C7-DE0A61994C36}"/>
              </a:ext>
            </a:extLst>
          </p:cNvPr>
          <p:cNvGraphicFramePr/>
          <p:nvPr>
            <p:extLst>
              <p:ext uri="{D42A27DB-BD31-4B8C-83A1-F6EECF244321}">
                <p14:modId xmlns:p14="http://schemas.microsoft.com/office/powerpoint/2010/main" val="3593278546"/>
              </p:ext>
            </p:extLst>
          </p:nvPr>
        </p:nvGraphicFramePr>
        <p:xfrm>
          <a:off x="655637" y="3733800"/>
          <a:ext cx="10880726" cy="2325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43847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Non-administrator Access Path</a:t>
            </a:r>
          </a:p>
        </p:txBody>
      </p:sp>
      <p:pic>
        <p:nvPicPr>
          <p:cNvPr id="4" name="Picture 3">
            <a:extLst>
              <a:ext uri="{FF2B5EF4-FFF2-40B4-BE49-F238E27FC236}">
                <a16:creationId xmlns:a16="http://schemas.microsoft.com/office/drawing/2014/main" id="{95B3DF14-562B-4CC8-811E-03660BAA4304}"/>
              </a:ext>
            </a:extLst>
          </p:cNvPr>
          <p:cNvPicPr>
            <a:picLocks noChangeAspect="1"/>
          </p:cNvPicPr>
          <p:nvPr/>
        </p:nvPicPr>
        <p:blipFill>
          <a:blip r:embed="rId3"/>
          <a:stretch>
            <a:fillRect/>
          </a:stretch>
        </p:blipFill>
        <p:spPr>
          <a:xfrm>
            <a:off x="2397760" y="1319561"/>
            <a:ext cx="7396480" cy="5005039"/>
          </a:xfrm>
          <a:prstGeom prst="rect">
            <a:avLst/>
          </a:prstGeom>
        </p:spPr>
      </p:pic>
    </p:spTree>
    <p:extLst>
      <p:ext uri="{BB962C8B-B14F-4D97-AF65-F5344CB8AC3E}">
        <p14:creationId xmlns:p14="http://schemas.microsoft.com/office/powerpoint/2010/main" val="21093474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a:xfrm>
            <a:off x="655638" y="320040"/>
            <a:ext cx="10880725" cy="461665"/>
          </a:xfrm>
        </p:spPr>
        <p:txBody>
          <a:bodyPr/>
          <a:lstStyle/>
          <a:p>
            <a:r>
              <a:rPr lang="en-US"/>
              <a:t>Groups and Roles</a:t>
            </a:r>
          </a:p>
        </p:txBody>
      </p:sp>
      <p:graphicFrame>
        <p:nvGraphicFramePr>
          <p:cNvPr id="4" name="Content Placeholder 3">
            <a:extLst>
              <a:ext uri="{FF2B5EF4-FFF2-40B4-BE49-F238E27FC236}">
                <a16:creationId xmlns:a16="http://schemas.microsoft.com/office/drawing/2014/main" id="{0D135BFA-DA20-43D1-9C32-99570BDCA6A1}"/>
              </a:ext>
            </a:extLst>
          </p:cNvPr>
          <p:cNvGraphicFramePr>
            <a:graphicFrameLocks noGrp="1"/>
          </p:cNvGraphicFramePr>
          <p:nvPr>
            <p:ph sz="quarter" idx="13"/>
            <p:extLst>
              <p:ext uri="{D42A27DB-BD31-4B8C-83A1-F6EECF244321}">
                <p14:modId xmlns:p14="http://schemas.microsoft.com/office/powerpoint/2010/main" val="499868738"/>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53656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B55E-6727-4686-AC79-134CCD53190E}"/>
              </a:ext>
            </a:extLst>
          </p:cNvPr>
          <p:cNvSpPr>
            <a:spLocks noGrp="1"/>
          </p:cNvSpPr>
          <p:nvPr>
            <p:ph type="title"/>
          </p:nvPr>
        </p:nvSpPr>
        <p:spPr/>
        <p:txBody>
          <a:bodyPr/>
          <a:lstStyle/>
          <a:p>
            <a:r>
              <a:rPr lang="en-US"/>
              <a:t>Database Roles</a:t>
            </a:r>
          </a:p>
        </p:txBody>
      </p:sp>
      <p:sp>
        <p:nvSpPr>
          <p:cNvPr id="6" name="Content Placeholder 5">
            <a:extLst>
              <a:ext uri="{FF2B5EF4-FFF2-40B4-BE49-F238E27FC236}">
                <a16:creationId xmlns:a16="http://schemas.microsoft.com/office/drawing/2014/main" id="{E28B279D-882C-4C40-BAF2-66400EB610D6}"/>
              </a:ext>
            </a:extLst>
          </p:cNvPr>
          <p:cNvSpPr>
            <a:spLocks noGrp="1"/>
          </p:cNvSpPr>
          <p:nvPr>
            <p:ph sz="quarter" idx="13"/>
          </p:nvPr>
        </p:nvSpPr>
        <p:spPr>
          <a:xfrm>
            <a:off x="655638" y="1408114"/>
            <a:ext cx="10880726" cy="461665"/>
          </a:xfrm>
        </p:spPr>
        <p:txBody>
          <a:bodyPr/>
          <a:lstStyle/>
          <a:p>
            <a:pPr marL="0" lvl="0" indent="0">
              <a:buNone/>
            </a:pPr>
            <a:r>
              <a:rPr lang="en-US" baseline="0"/>
              <a:t>The database roles can be the built-in roles such as:</a:t>
            </a:r>
            <a:endParaRPr lang="en-US"/>
          </a:p>
        </p:txBody>
      </p:sp>
      <p:graphicFrame>
        <p:nvGraphicFramePr>
          <p:cNvPr id="12" name="Diagram 11">
            <a:extLst>
              <a:ext uri="{FF2B5EF4-FFF2-40B4-BE49-F238E27FC236}">
                <a16:creationId xmlns:a16="http://schemas.microsoft.com/office/drawing/2014/main" id="{56F2E991-6E3E-439F-8F27-C52E12291514}"/>
              </a:ext>
            </a:extLst>
          </p:cNvPr>
          <p:cNvGraphicFramePr/>
          <p:nvPr>
            <p:extLst>
              <p:ext uri="{D42A27DB-BD31-4B8C-83A1-F6EECF244321}">
                <p14:modId xmlns:p14="http://schemas.microsoft.com/office/powerpoint/2010/main" val="3697532248"/>
              </p:ext>
            </p:extLst>
          </p:nvPr>
        </p:nvGraphicFramePr>
        <p:xfrm>
          <a:off x="686118" y="2133600"/>
          <a:ext cx="10591482" cy="39380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82598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7107237" cy="5597525"/>
          </a:xfrm>
        </p:spPr>
        <p:txBody>
          <a:bodyPr/>
          <a:lstStyle/>
          <a:p>
            <a:r>
              <a:rPr lang="en-US" sz="2000" dirty="0"/>
              <a:t>Lesson 1: Introduction to Azure SQL Database Security</a:t>
            </a:r>
          </a:p>
          <a:p>
            <a:r>
              <a:rPr lang="en-US" sz="2000"/>
              <a:t>Lesson 2: Implement Azure Active Directory Security</a:t>
            </a:r>
          </a:p>
          <a:p>
            <a:r>
              <a:rPr lang="en-US" sz="2000" dirty="0"/>
              <a:t>Lesson 3: Manage Logins in Azure SQL Database</a:t>
            </a:r>
          </a:p>
          <a:p>
            <a:r>
              <a:rPr lang="en-US" sz="2000" dirty="0"/>
              <a:t>Lesson 4: Implement Firewall Rules and Virtual Networks</a:t>
            </a:r>
          </a:p>
          <a:p>
            <a:r>
              <a:rPr lang="en-US" sz="2000" dirty="0"/>
              <a:t>Lesson 5: Implement Transparent Data Encryption</a:t>
            </a:r>
          </a:p>
          <a:p>
            <a:r>
              <a:rPr lang="en-US" sz="2000" dirty="0"/>
              <a:t>Lesson 6: Implement Always Encrypted</a:t>
            </a:r>
          </a:p>
          <a:p>
            <a:r>
              <a:rPr lang="en-US" sz="2000" dirty="0"/>
              <a:t>Lesson 7: Implement Row Level Security</a:t>
            </a:r>
          </a:p>
          <a:p>
            <a:r>
              <a:rPr lang="en-US" sz="2000" dirty="0"/>
              <a:t>Lesson 8: Implement Dynamic Data Masking</a:t>
            </a:r>
          </a:p>
          <a:p>
            <a:r>
              <a:rPr lang="en-US" sz="2000" dirty="0"/>
              <a:t>Lesson 9: Implement Auditing for Azure SQL Database</a:t>
            </a:r>
          </a:p>
          <a:p>
            <a:r>
              <a:rPr lang="en-US" sz="2000" dirty="0"/>
              <a:t>Lesson 10: Implement Advanced Data Security</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0C4C3-22BE-4679-BC2A-4FB602CD4D5F}"/>
              </a:ext>
            </a:extLst>
          </p:cNvPr>
          <p:cNvSpPr>
            <a:spLocks noGrp="1"/>
          </p:cNvSpPr>
          <p:nvPr>
            <p:ph type="title"/>
          </p:nvPr>
        </p:nvSpPr>
        <p:spPr/>
        <p:txBody>
          <a:bodyPr/>
          <a:lstStyle/>
          <a:p>
            <a:r>
              <a:rPr lang="en-US"/>
              <a:t>Naming Requirements</a:t>
            </a:r>
          </a:p>
        </p:txBody>
      </p:sp>
      <p:sp>
        <p:nvSpPr>
          <p:cNvPr id="3" name="Content Placeholder 2">
            <a:extLst>
              <a:ext uri="{FF2B5EF4-FFF2-40B4-BE49-F238E27FC236}">
                <a16:creationId xmlns:a16="http://schemas.microsoft.com/office/drawing/2014/main" id="{1C5BC89D-0D6A-4C02-88C3-34B4D5070716}"/>
              </a:ext>
            </a:extLst>
          </p:cNvPr>
          <p:cNvSpPr>
            <a:spLocks noGrp="1"/>
          </p:cNvSpPr>
          <p:nvPr>
            <p:ph sz="quarter" idx="13"/>
          </p:nvPr>
        </p:nvSpPr>
        <p:spPr>
          <a:xfrm>
            <a:off x="655638" y="1408114"/>
            <a:ext cx="10880726" cy="877886"/>
          </a:xfrm>
        </p:spPr>
        <p:txBody>
          <a:bodyPr/>
          <a:lstStyle/>
          <a:p>
            <a:pPr marL="0" indent="0">
              <a:buNone/>
            </a:pPr>
            <a:r>
              <a:rPr lang="en-US"/>
              <a:t>Certain usernames are not allowed for security reasons. You cannot use the following names:</a:t>
            </a:r>
          </a:p>
          <a:p>
            <a:endParaRPr lang="en-US"/>
          </a:p>
        </p:txBody>
      </p:sp>
      <p:graphicFrame>
        <p:nvGraphicFramePr>
          <p:cNvPr id="4" name="Diagram 3">
            <a:extLst>
              <a:ext uri="{FF2B5EF4-FFF2-40B4-BE49-F238E27FC236}">
                <a16:creationId xmlns:a16="http://schemas.microsoft.com/office/drawing/2014/main" id="{A2408101-D67D-4506-8558-807639AEB55A}"/>
              </a:ext>
            </a:extLst>
          </p:cNvPr>
          <p:cNvGraphicFramePr/>
          <p:nvPr>
            <p:extLst>
              <p:ext uri="{D42A27DB-BD31-4B8C-83A1-F6EECF244321}">
                <p14:modId xmlns:p14="http://schemas.microsoft.com/office/powerpoint/2010/main" val="1959063789"/>
              </p:ext>
            </p:extLst>
          </p:nvPr>
        </p:nvGraphicFramePr>
        <p:xfrm>
          <a:off x="683940" y="2590799"/>
          <a:ext cx="10212659" cy="36463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18998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Connect to an Azure SQL DB using SQL Authentication</a:t>
            </a:r>
          </a:p>
          <a:p>
            <a:pPr marL="571500" lvl="1" indent="-342900">
              <a:buFont typeface="Arial" panose="020B0604020202020204" pitchFamily="34" charset="0"/>
              <a:buChar char="•"/>
            </a:pPr>
            <a:r>
              <a:rPr lang="en-US"/>
              <a:t>Using SQL Login + SQL User. </a:t>
            </a:r>
          </a:p>
          <a:p>
            <a:pPr marL="571500" lvl="1" indent="-342900">
              <a:buFont typeface="Arial" panose="020B0604020202020204" pitchFamily="34" charset="0"/>
              <a:buChar char="•"/>
            </a:pPr>
            <a:r>
              <a:rPr lang="en-US"/>
              <a:t>Using Contained Database User.</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487953619"/>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775931326"/>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97851678"/>
              </p:ext>
            </p:extLst>
          </p:nvPr>
        </p:nvGraphicFramePr>
        <p:xfrm>
          <a:off x="655638" y="1408113"/>
          <a:ext cx="10880725" cy="2325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4907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B889FB42-7C23-491E-986A-E89C2508091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7802562" cy="604798"/>
          </a:xfrm>
        </p:spPr>
        <p:txBody>
          <a:bodyPr/>
          <a:lstStyle/>
          <a:p>
            <a:r>
              <a:rPr lang="en-US"/>
              <a:t>Lesson 4: Implement Firewall Rules and Virtual Networks</a:t>
            </a:r>
          </a:p>
        </p:txBody>
      </p:sp>
    </p:spTree>
    <p:extLst>
      <p:ext uri="{BB962C8B-B14F-4D97-AF65-F5344CB8AC3E}">
        <p14:creationId xmlns:p14="http://schemas.microsoft.com/office/powerpoint/2010/main" val="31091073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Configure firewall rules on server and database level</a:t>
            </a:r>
          </a:p>
          <a:p>
            <a:r>
              <a:rPr lang="en-US"/>
              <a:t>Configure virtual networks on your logical SQL Server</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517673626"/>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9591A-8F78-4C18-A986-C8ADA6DA017D}"/>
              </a:ext>
            </a:extLst>
          </p:cNvPr>
          <p:cNvSpPr>
            <a:spLocks noGrp="1"/>
          </p:cNvSpPr>
          <p:nvPr>
            <p:ph type="title"/>
          </p:nvPr>
        </p:nvSpPr>
        <p:spPr/>
        <p:txBody>
          <a:bodyPr/>
          <a:lstStyle/>
          <a:p>
            <a:r>
              <a:rPr lang="en-US"/>
              <a:t>Securing your database with firewalls</a:t>
            </a:r>
          </a:p>
        </p:txBody>
      </p:sp>
      <p:graphicFrame>
        <p:nvGraphicFramePr>
          <p:cNvPr id="49" name="Content Placeholder 48">
            <a:extLst>
              <a:ext uri="{FF2B5EF4-FFF2-40B4-BE49-F238E27FC236}">
                <a16:creationId xmlns:a16="http://schemas.microsoft.com/office/drawing/2014/main" id="{5E3C1D81-692F-4A4F-A1BE-4A16E160D88F}"/>
              </a:ext>
            </a:extLst>
          </p:cNvPr>
          <p:cNvGraphicFramePr>
            <a:graphicFrameLocks noGrp="1"/>
          </p:cNvGraphicFramePr>
          <p:nvPr>
            <p:ph sz="quarter" idx="13"/>
            <p:extLst>
              <p:ext uri="{D42A27DB-BD31-4B8C-83A1-F6EECF244321}">
                <p14:modId xmlns:p14="http://schemas.microsoft.com/office/powerpoint/2010/main" val="3668762951"/>
              </p:ext>
            </p:extLst>
          </p:nvPr>
        </p:nvGraphicFramePr>
        <p:xfrm>
          <a:off x="655638" y="1408114"/>
          <a:ext cx="599298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9412E004-9536-4C47-8776-C95753BE7052}"/>
              </a:ext>
            </a:extLst>
          </p:cNvPr>
          <p:cNvSpPr txBox="1"/>
          <p:nvPr/>
        </p:nvSpPr>
        <p:spPr>
          <a:xfrm>
            <a:off x="8013820" y="5169596"/>
            <a:ext cx="1665688" cy="261610"/>
          </a:xfrm>
          <a:prstGeom prst="rect">
            <a:avLst/>
          </a:prstGeom>
          <a:noFill/>
        </p:spPr>
        <p:txBody>
          <a:bodyPr wrap="square" rtlCol="0">
            <a:spAutoFit/>
          </a:bodyPr>
          <a:lstStyle/>
          <a:p>
            <a:pPr algn="ctr">
              <a:spcBef>
                <a:spcPts val="600"/>
              </a:spcBef>
              <a:defRPr/>
            </a:pPr>
            <a:r>
              <a:rPr lang="en-US" sz="1100">
                <a:solidFill>
                  <a:srgbClr val="0078D7"/>
                </a:solidFill>
                <a:cs typeface="Segoe UI Semilight" panose="020B0402040204020203" pitchFamily="34" charset="0"/>
              </a:rPr>
              <a:t>SQL Database Server</a:t>
            </a:r>
          </a:p>
        </p:txBody>
      </p:sp>
      <p:cxnSp>
        <p:nvCxnSpPr>
          <p:cNvPr id="5" name="Straight Arrow Connector 4">
            <a:extLst>
              <a:ext uri="{FF2B5EF4-FFF2-40B4-BE49-F238E27FC236}">
                <a16:creationId xmlns:a16="http://schemas.microsoft.com/office/drawing/2014/main" id="{E3B36171-787F-4EDC-AB61-944551A1EBA7}"/>
              </a:ext>
            </a:extLst>
          </p:cNvPr>
          <p:cNvCxnSpPr/>
          <p:nvPr/>
        </p:nvCxnSpPr>
        <p:spPr>
          <a:xfrm>
            <a:off x="8846664" y="4361677"/>
            <a:ext cx="0" cy="685800"/>
          </a:xfrm>
          <a:prstGeom prst="straightConnector1">
            <a:avLst/>
          </a:prstGeom>
          <a:noFill/>
          <a:ln w="12700" cap="flat" cmpd="sng" algn="ctr">
            <a:solidFill>
              <a:srgbClr val="0078D7"/>
            </a:solidFill>
            <a:prstDash val="dash"/>
            <a:headEnd type="none"/>
            <a:tailEnd type="none"/>
          </a:ln>
          <a:effectLst/>
        </p:spPr>
      </p:cxnSp>
      <p:cxnSp>
        <p:nvCxnSpPr>
          <p:cNvPr id="6" name="Straight Arrow Connector 5">
            <a:extLst>
              <a:ext uri="{FF2B5EF4-FFF2-40B4-BE49-F238E27FC236}">
                <a16:creationId xmlns:a16="http://schemas.microsoft.com/office/drawing/2014/main" id="{B00CFE4D-0F07-4D0F-B942-E03D541F9179}"/>
              </a:ext>
            </a:extLst>
          </p:cNvPr>
          <p:cNvCxnSpPr>
            <a:cxnSpLocks/>
            <a:endCxn id="10" idx="0"/>
          </p:cNvCxnSpPr>
          <p:nvPr/>
        </p:nvCxnSpPr>
        <p:spPr>
          <a:xfrm flipH="1">
            <a:off x="7563561" y="2333127"/>
            <a:ext cx="2" cy="340447"/>
          </a:xfrm>
          <a:prstGeom prst="straightConnector1">
            <a:avLst/>
          </a:prstGeom>
          <a:noFill/>
          <a:ln w="12700" cap="flat" cmpd="sng" algn="ctr">
            <a:solidFill>
              <a:srgbClr val="0078D7"/>
            </a:solidFill>
            <a:prstDash val="solid"/>
            <a:headEnd type="none"/>
            <a:tailEnd type="triangle"/>
          </a:ln>
          <a:effectLst/>
        </p:spPr>
      </p:cxnSp>
      <p:cxnSp>
        <p:nvCxnSpPr>
          <p:cNvPr id="7" name="Straight Arrow Connector 6">
            <a:extLst>
              <a:ext uri="{FF2B5EF4-FFF2-40B4-BE49-F238E27FC236}">
                <a16:creationId xmlns:a16="http://schemas.microsoft.com/office/drawing/2014/main" id="{95D5FCB2-4BFB-44A0-AC40-958139253A3F}"/>
              </a:ext>
            </a:extLst>
          </p:cNvPr>
          <p:cNvCxnSpPr>
            <a:cxnSpLocks/>
            <a:stCxn id="10" idx="3"/>
            <a:endCxn id="11" idx="1"/>
          </p:cNvCxnSpPr>
          <p:nvPr/>
        </p:nvCxnSpPr>
        <p:spPr>
          <a:xfrm>
            <a:off x="8147820" y="2873629"/>
            <a:ext cx="690180" cy="0"/>
          </a:xfrm>
          <a:prstGeom prst="straightConnector1">
            <a:avLst/>
          </a:prstGeom>
          <a:noFill/>
          <a:ln w="12700" cap="flat" cmpd="sng" algn="ctr">
            <a:solidFill>
              <a:srgbClr val="0078D7"/>
            </a:solidFill>
            <a:prstDash val="solid"/>
            <a:headEnd type="none"/>
            <a:tailEnd type="triangle"/>
          </a:ln>
          <a:effectLst/>
        </p:spPr>
      </p:cxnSp>
      <p:sp>
        <p:nvSpPr>
          <p:cNvPr id="8" name="Rectangle 7">
            <a:extLst>
              <a:ext uri="{FF2B5EF4-FFF2-40B4-BE49-F238E27FC236}">
                <a16:creationId xmlns:a16="http://schemas.microsoft.com/office/drawing/2014/main" id="{4CD8D92F-AC57-42D0-A13F-81CCEF29F120}"/>
              </a:ext>
            </a:extLst>
          </p:cNvPr>
          <p:cNvSpPr/>
          <p:nvPr/>
        </p:nvSpPr>
        <p:spPr bwMode="auto">
          <a:xfrm>
            <a:off x="7081242" y="3566642"/>
            <a:ext cx="555703" cy="213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000" kern="0">
                <a:solidFill>
                  <a:srgbClr val="505050"/>
                </a:solidFill>
                <a:ea typeface="Segoe UI" pitchFamily="34" charset="0"/>
                <a:cs typeface="Segoe UI" pitchFamily="34" charset="0"/>
              </a:rPr>
              <a:t>Yes</a:t>
            </a:r>
          </a:p>
        </p:txBody>
      </p:sp>
      <p:sp>
        <p:nvSpPr>
          <p:cNvPr id="9" name="Rectangle 8">
            <a:extLst>
              <a:ext uri="{FF2B5EF4-FFF2-40B4-BE49-F238E27FC236}">
                <a16:creationId xmlns:a16="http://schemas.microsoft.com/office/drawing/2014/main" id="{AC50C382-3347-497A-8E2E-D40B2D2FE695}"/>
              </a:ext>
            </a:extLst>
          </p:cNvPr>
          <p:cNvSpPr/>
          <p:nvPr/>
        </p:nvSpPr>
        <p:spPr bwMode="auto">
          <a:xfrm>
            <a:off x="8301097" y="2600028"/>
            <a:ext cx="250007" cy="283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000" kern="0">
                <a:solidFill>
                  <a:srgbClr val="505050"/>
                </a:solidFill>
                <a:ea typeface="Segoe UI" pitchFamily="34" charset="0"/>
                <a:cs typeface="Segoe UI" pitchFamily="34" charset="0"/>
              </a:rPr>
              <a:t>No</a:t>
            </a:r>
          </a:p>
        </p:txBody>
      </p:sp>
      <p:sp>
        <p:nvSpPr>
          <p:cNvPr id="10" name="Rectangle 9">
            <a:extLst>
              <a:ext uri="{FF2B5EF4-FFF2-40B4-BE49-F238E27FC236}">
                <a16:creationId xmlns:a16="http://schemas.microsoft.com/office/drawing/2014/main" id="{7B0C2075-F13A-4311-9E9C-DA596E68F67E}"/>
              </a:ext>
            </a:extLst>
          </p:cNvPr>
          <p:cNvSpPr/>
          <p:nvPr/>
        </p:nvSpPr>
        <p:spPr bwMode="auto">
          <a:xfrm>
            <a:off x="6979301" y="2673574"/>
            <a:ext cx="1168519" cy="400110"/>
          </a:xfrm>
          <a:prstGeom prst="rect">
            <a:avLst/>
          </a:prstGeom>
          <a:solidFill>
            <a:srgbClr val="00206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472" fontAlgn="base">
              <a:spcBef>
                <a:spcPct val="0"/>
              </a:spcBef>
              <a:spcAft>
                <a:spcPct val="0"/>
              </a:spcAft>
              <a:defRPr/>
            </a:pPr>
            <a:r>
              <a:rPr lang="en-US" sz="1000" kern="0">
                <a:solidFill>
                  <a:srgbClr val="FFFFFF"/>
                </a:solidFill>
                <a:cs typeface="Segoe UI Semilight" panose="020B0402040204020203" pitchFamily="34" charset="0"/>
              </a:rPr>
              <a:t>Client IP address in range?</a:t>
            </a:r>
          </a:p>
        </p:txBody>
      </p:sp>
      <p:sp>
        <p:nvSpPr>
          <p:cNvPr id="11" name="Rectangle 10">
            <a:extLst>
              <a:ext uri="{FF2B5EF4-FFF2-40B4-BE49-F238E27FC236}">
                <a16:creationId xmlns:a16="http://schemas.microsoft.com/office/drawing/2014/main" id="{295FBE56-0CF1-43A0-ADD7-AFC046803427}"/>
              </a:ext>
            </a:extLst>
          </p:cNvPr>
          <p:cNvSpPr/>
          <p:nvPr/>
        </p:nvSpPr>
        <p:spPr bwMode="auto">
          <a:xfrm>
            <a:off x="8838000" y="2673574"/>
            <a:ext cx="1495110" cy="40011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1591755" eaLnBrk="1" fontAlgn="base"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cs typeface="Segoe UI Semilight" panose="020B0402040204020203" pitchFamily="34" charset="0"/>
              </a:rPr>
              <a:t>Database-level firewall rule for database 4</a:t>
            </a:r>
          </a:p>
        </p:txBody>
      </p:sp>
      <p:cxnSp>
        <p:nvCxnSpPr>
          <p:cNvPr id="12" name="Straight Arrow Connector 11">
            <a:extLst>
              <a:ext uri="{FF2B5EF4-FFF2-40B4-BE49-F238E27FC236}">
                <a16:creationId xmlns:a16="http://schemas.microsoft.com/office/drawing/2014/main" id="{272FAE57-95AA-479C-A40B-160FD8BF2551}"/>
              </a:ext>
            </a:extLst>
          </p:cNvPr>
          <p:cNvCxnSpPr>
            <a:cxnSpLocks/>
            <a:stCxn id="11" idx="2"/>
            <a:endCxn id="16" idx="0"/>
          </p:cNvCxnSpPr>
          <p:nvPr/>
        </p:nvCxnSpPr>
        <p:spPr>
          <a:xfrm>
            <a:off x="9585555" y="3073684"/>
            <a:ext cx="1" cy="240739"/>
          </a:xfrm>
          <a:prstGeom prst="straightConnector1">
            <a:avLst/>
          </a:prstGeom>
          <a:noFill/>
          <a:ln w="12700" cap="flat" cmpd="sng" algn="ctr">
            <a:solidFill>
              <a:srgbClr val="0078D7"/>
            </a:solidFill>
            <a:prstDash val="solid"/>
            <a:headEnd type="none"/>
            <a:tailEnd type="triangle"/>
          </a:ln>
          <a:effectLst/>
        </p:spPr>
      </p:cxnSp>
      <p:cxnSp>
        <p:nvCxnSpPr>
          <p:cNvPr id="13" name="Straight Arrow Connector 12">
            <a:extLst>
              <a:ext uri="{FF2B5EF4-FFF2-40B4-BE49-F238E27FC236}">
                <a16:creationId xmlns:a16="http://schemas.microsoft.com/office/drawing/2014/main" id="{D7959F3A-8031-47E6-B699-D5B939E1A6FD}"/>
              </a:ext>
            </a:extLst>
          </p:cNvPr>
          <p:cNvCxnSpPr>
            <a:cxnSpLocks/>
            <a:stCxn id="16" idx="3"/>
            <a:endCxn id="17" idx="1"/>
          </p:cNvCxnSpPr>
          <p:nvPr/>
        </p:nvCxnSpPr>
        <p:spPr>
          <a:xfrm>
            <a:off x="10156876" y="3514478"/>
            <a:ext cx="632685" cy="6777"/>
          </a:xfrm>
          <a:prstGeom prst="straightConnector1">
            <a:avLst/>
          </a:prstGeom>
          <a:noFill/>
          <a:ln w="12700" cap="flat" cmpd="sng" algn="ctr">
            <a:solidFill>
              <a:srgbClr val="0078D7"/>
            </a:solidFill>
            <a:prstDash val="solid"/>
            <a:headEnd type="none"/>
            <a:tailEnd type="triangle"/>
          </a:ln>
          <a:effectLst/>
        </p:spPr>
      </p:cxnSp>
      <p:cxnSp>
        <p:nvCxnSpPr>
          <p:cNvPr id="14" name="Straight Arrow Connector 13">
            <a:extLst>
              <a:ext uri="{FF2B5EF4-FFF2-40B4-BE49-F238E27FC236}">
                <a16:creationId xmlns:a16="http://schemas.microsoft.com/office/drawing/2014/main" id="{1728E1DB-2F73-4CE3-9E51-7FE06553D6D3}"/>
              </a:ext>
            </a:extLst>
          </p:cNvPr>
          <p:cNvCxnSpPr>
            <a:cxnSpLocks/>
          </p:cNvCxnSpPr>
          <p:nvPr/>
        </p:nvCxnSpPr>
        <p:spPr>
          <a:xfrm>
            <a:off x="9585556" y="3714533"/>
            <a:ext cx="34" cy="558899"/>
          </a:xfrm>
          <a:prstGeom prst="straightConnector1">
            <a:avLst/>
          </a:prstGeom>
          <a:noFill/>
          <a:ln w="12700" cap="flat" cmpd="sng" algn="ctr">
            <a:solidFill>
              <a:srgbClr val="0078D7"/>
            </a:solidFill>
            <a:prstDash val="solid"/>
            <a:headEnd type="none"/>
            <a:tailEnd type="triangle"/>
          </a:ln>
          <a:effectLst/>
        </p:spPr>
      </p:cxnSp>
      <p:sp>
        <p:nvSpPr>
          <p:cNvPr id="15" name="Rectangle 14">
            <a:extLst>
              <a:ext uri="{FF2B5EF4-FFF2-40B4-BE49-F238E27FC236}">
                <a16:creationId xmlns:a16="http://schemas.microsoft.com/office/drawing/2014/main" id="{C388B179-C8A2-42A8-80A8-95216D1BB276}"/>
              </a:ext>
            </a:extLst>
          </p:cNvPr>
          <p:cNvSpPr/>
          <p:nvPr/>
        </p:nvSpPr>
        <p:spPr bwMode="auto">
          <a:xfrm>
            <a:off x="7730027" y="1837137"/>
            <a:ext cx="1855744" cy="466794"/>
          </a:xfrm>
          <a:prstGeom prst="rect">
            <a:avLst/>
          </a:prstGeom>
          <a:solidFill>
            <a:srgbClr val="002050"/>
          </a:solidFill>
          <a:ln>
            <a:noFill/>
          </a:ln>
        </p:spPr>
        <p:txBody>
          <a:bodyPr wrap="square" rtlCol="0">
            <a:spAutoFit/>
          </a:bodyP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cs typeface="Segoe UI Semilight" panose="020B0402040204020203" pitchFamily="34" charset="0"/>
              </a:rPr>
              <a:t>SQL Database firewall</a:t>
            </a:r>
          </a:p>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cs typeface="Segoe UI Semilight" panose="020B0402040204020203" pitchFamily="34" charset="0"/>
              </a:rPr>
              <a:t>Server-level firewall rules</a:t>
            </a:r>
          </a:p>
        </p:txBody>
      </p:sp>
      <p:sp>
        <p:nvSpPr>
          <p:cNvPr id="16" name="Rectangle 15">
            <a:extLst>
              <a:ext uri="{FF2B5EF4-FFF2-40B4-BE49-F238E27FC236}">
                <a16:creationId xmlns:a16="http://schemas.microsoft.com/office/drawing/2014/main" id="{E4254E2F-112C-449F-BC77-A4C938D856F7}"/>
              </a:ext>
            </a:extLst>
          </p:cNvPr>
          <p:cNvSpPr/>
          <p:nvPr/>
        </p:nvSpPr>
        <p:spPr bwMode="auto">
          <a:xfrm>
            <a:off x="9014235" y="3314423"/>
            <a:ext cx="1142641" cy="4001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32472" fontAlgn="base">
              <a:spcBef>
                <a:spcPct val="0"/>
              </a:spcBef>
              <a:spcAft>
                <a:spcPct val="0"/>
              </a:spcAft>
              <a:defRPr/>
            </a:pPr>
            <a:r>
              <a:rPr lang="en-US" sz="1000" kern="0">
                <a:solidFill>
                  <a:srgbClr val="0078D7"/>
                </a:solidFill>
                <a:cs typeface="Segoe UI Semilight" panose="020B0402040204020203" pitchFamily="34" charset="0"/>
              </a:rPr>
              <a:t>Client IP address in range?</a:t>
            </a:r>
          </a:p>
        </p:txBody>
      </p:sp>
      <p:sp>
        <p:nvSpPr>
          <p:cNvPr id="17" name="Rectangle 16">
            <a:extLst>
              <a:ext uri="{FF2B5EF4-FFF2-40B4-BE49-F238E27FC236}">
                <a16:creationId xmlns:a16="http://schemas.microsoft.com/office/drawing/2014/main" id="{A073E428-7244-409A-82E2-078A83D1AEEE}"/>
              </a:ext>
            </a:extLst>
          </p:cNvPr>
          <p:cNvSpPr/>
          <p:nvPr/>
        </p:nvSpPr>
        <p:spPr bwMode="auto">
          <a:xfrm>
            <a:off x="10789561" y="3405839"/>
            <a:ext cx="1081369" cy="23083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cs typeface="Segoe UI Semilight" panose="020B0402040204020203" pitchFamily="34" charset="0"/>
              </a:rPr>
              <a:t>Connection fails</a:t>
            </a:r>
          </a:p>
        </p:txBody>
      </p:sp>
      <p:sp>
        <p:nvSpPr>
          <p:cNvPr id="18" name="Rectangle 17">
            <a:extLst>
              <a:ext uri="{FF2B5EF4-FFF2-40B4-BE49-F238E27FC236}">
                <a16:creationId xmlns:a16="http://schemas.microsoft.com/office/drawing/2014/main" id="{619028D1-B395-4F32-9FD4-98A30274F5E6}"/>
              </a:ext>
            </a:extLst>
          </p:cNvPr>
          <p:cNvSpPr/>
          <p:nvPr/>
        </p:nvSpPr>
        <p:spPr bwMode="auto">
          <a:xfrm>
            <a:off x="9882071" y="4450661"/>
            <a:ext cx="1128281" cy="5078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32472" fontAlgn="base">
              <a:lnSpc>
                <a:spcPct val="90000"/>
              </a:lnSpc>
              <a:spcBef>
                <a:spcPct val="0"/>
              </a:spcBef>
              <a:spcAft>
                <a:spcPct val="0"/>
              </a:spcAft>
              <a:defRPr/>
            </a:pPr>
            <a:r>
              <a:rPr lang="en-US" sz="1000" kern="0">
                <a:solidFill>
                  <a:srgbClr val="0078D7"/>
                </a:solidFill>
                <a:cs typeface="Segoe UI Semilight" panose="020B0402040204020203" pitchFamily="34" charset="0"/>
              </a:rPr>
              <a:t>Database with a database-level firewall rule</a:t>
            </a:r>
          </a:p>
        </p:txBody>
      </p:sp>
      <p:sp>
        <p:nvSpPr>
          <p:cNvPr id="19" name="Rectangle 18">
            <a:extLst>
              <a:ext uri="{FF2B5EF4-FFF2-40B4-BE49-F238E27FC236}">
                <a16:creationId xmlns:a16="http://schemas.microsoft.com/office/drawing/2014/main" id="{53D56A5A-92DC-4ABB-B41E-E22E12FA4719}"/>
              </a:ext>
            </a:extLst>
          </p:cNvPr>
          <p:cNvSpPr/>
          <p:nvPr/>
        </p:nvSpPr>
        <p:spPr bwMode="auto">
          <a:xfrm>
            <a:off x="8514179" y="1376700"/>
            <a:ext cx="1173675" cy="2453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4808" rIns="89617" bIns="45720" numCol="1" spcCol="0" rtlCol="0" fromWordArt="0" anchor="t" anchorCtr="0" forceAA="0" compatLnSpc="1">
            <a:prstTxWarp prst="textNoShape">
              <a:avLst/>
            </a:prstTxWarp>
            <a:spAutoFit/>
          </a:bodyPr>
          <a:lstStyle/>
          <a:p>
            <a:pPr algn="ctr" defTabSz="1591755" fontAlgn="base">
              <a:defRPr/>
            </a:pPr>
            <a:r>
              <a:rPr lang="en-US" sz="1000" kern="0">
                <a:solidFill>
                  <a:srgbClr val="0078D7"/>
                </a:solidFill>
                <a:cs typeface="Segoe UI Semilight" panose="020B0402040204020203" pitchFamily="34" charset="0"/>
              </a:rPr>
              <a:t>Microsoft Azure</a:t>
            </a:r>
          </a:p>
        </p:txBody>
      </p:sp>
      <p:cxnSp>
        <p:nvCxnSpPr>
          <p:cNvPr id="20" name="Straight Arrow Connector 19">
            <a:extLst>
              <a:ext uri="{FF2B5EF4-FFF2-40B4-BE49-F238E27FC236}">
                <a16:creationId xmlns:a16="http://schemas.microsoft.com/office/drawing/2014/main" id="{5D2726B5-06B0-4799-A799-85904BC4B2FE}"/>
              </a:ext>
            </a:extLst>
          </p:cNvPr>
          <p:cNvCxnSpPr/>
          <p:nvPr/>
        </p:nvCxnSpPr>
        <p:spPr>
          <a:xfrm>
            <a:off x="9101016" y="1622378"/>
            <a:ext cx="0" cy="179203"/>
          </a:xfrm>
          <a:prstGeom prst="straightConnector1">
            <a:avLst/>
          </a:prstGeom>
          <a:noFill/>
          <a:ln w="12700" cap="flat" cmpd="sng" algn="ctr">
            <a:solidFill>
              <a:srgbClr val="0078D7"/>
            </a:solidFill>
            <a:prstDash val="solid"/>
            <a:headEnd type="none"/>
            <a:tailEnd type="triangle"/>
          </a:ln>
          <a:effectLst/>
        </p:spPr>
      </p:cxnSp>
      <p:cxnSp>
        <p:nvCxnSpPr>
          <p:cNvPr id="21" name="Straight Arrow Connector 20">
            <a:extLst>
              <a:ext uri="{FF2B5EF4-FFF2-40B4-BE49-F238E27FC236}">
                <a16:creationId xmlns:a16="http://schemas.microsoft.com/office/drawing/2014/main" id="{82E13011-7850-44FC-A1FF-51E81F76003C}"/>
              </a:ext>
            </a:extLst>
          </p:cNvPr>
          <p:cNvCxnSpPr/>
          <p:nvPr/>
        </p:nvCxnSpPr>
        <p:spPr>
          <a:xfrm>
            <a:off x="8179005" y="1622378"/>
            <a:ext cx="0" cy="179203"/>
          </a:xfrm>
          <a:prstGeom prst="straightConnector1">
            <a:avLst/>
          </a:prstGeom>
          <a:noFill/>
          <a:ln w="12700" cap="flat" cmpd="sng" algn="ctr">
            <a:solidFill>
              <a:srgbClr val="0078D7"/>
            </a:solidFill>
            <a:prstDash val="solid"/>
            <a:headEnd type="none"/>
            <a:tailEnd type="triangle"/>
          </a:ln>
          <a:effectLst/>
        </p:spPr>
      </p:cxnSp>
      <p:sp>
        <p:nvSpPr>
          <p:cNvPr id="22" name="Rectangle 21">
            <a:extLst>
              <a:ext uri="{FF2B5EF4-FFF2-40B4-BE49-F238E27FC236}">
                <a16:creationId xmlns:a16="http://schemas.microsoft.com/office/drawing/2014/main" id="{D1077186-C711-4F05-B6A9-5290E1BDB8D5}"/>
              </a:ext>
            </a:extLst>
          </p:cNvPr>
          <p:cNvSpPr/>
          <p:nvPr/>
        </p:nvSpPr>
        <p:spPr bwMode="auto">
          <a:xfrm>
            <a:off x="7813301" y="1376700"/>
            <a:ext cx="712631" cy="2453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4808" rIns="89617" bIns="45720" numCol="1" spcCol="0" rtlCol="0" fromWordArt="0" anchor="t" anchorCtr="0" forceAA="0" compatLnSpc="1">
            <a:prstTxWarp prst="textNoShape">
              <a:avLst/>
            </a:prstTxWarp>
            <a:spAutoFit/>
          </a:bodyPr>
          <a:lstStyle/>
          <a:p>
            <a:pPr algn="ctr" defTabSz="1591755" fontAlgn="base">
              <a:defRPr/>
            </a:pPr>
            <a:r>
              <a:rPr lang="en-US" sz="1000" kern="0">
                <a:solidFill>
                  <a:srgbClr val="0078D7"/>
                </a:solidFill>
                <a:cs typeface="Segoe UI Semilight" panose="020B0402040204020203" pitchFamily="34" charset="0"/>
              </a:rPr>
              <a:t>Internet</a:t>
            </a:r>
          </a:p>
        </p:txBody>
      </p:sp>
      <p:sp>
        <p:nvSpPr>
          <p:cNvPr id="23" name="TextBox 22">
            <a:extLst>
              <a:ext uri="{FF2B5EF4-FFF2-40B4-BE49-F238E27FC236}">
                <a16:creationId xmlns:a16="http://schemas.microsoft.com/office/drawing/2014/main" id="{7EED9973-A3FB-49E0-A48A-53EED19CB2FD}"/>
              </a:ext>
            </a:extLst>
          </p:cNvPr>
          <p:cNvSpPr txBox="1"/>
          <p:nvPr/>
        </p:nvSpPr>
        <p:spPr>
          <a:xfrm>
            <a:off x="7199051" y="5712023"/>
            <a:ext cx="2990179" cy="307777"/>
          </a:xfrm>
          <a:prstGeom prst="rect">
            <a:avLst/>
          </a:prstGeom>
          <a:solidFill>
            <a:srgbClr val="0078D7"/>
          </a:solidFill>
        </p:spPr>
        <p:txBody>
          <a:bodyPr wrap="square" rtlCol="0">
            <a:sp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rPr>
              <a:t>Windows Azure Platform</a:t>
            </a:r>
          </a:p>
        </p:txBody>
      </p:sp>
      <p:sp>
        <p:nvSpPr>
          <p:cNvPr id="24" name="Cylinder 513">
            <a:extLst>
              <a:ext uri="{FF2B5EF4-FFF2-40B4-BE49-F238E27FC236}">
                <a16:creationId xmlns:a16="http://schemas.microsoft.com/office/drawing/2014/main" id="{D73A91F3-DAC9-4F20-8BB9-9CBD36ACABAB}"/>
              </a:ext>
            </a:extLst>
          </p:cNvPr>
          <p:cNvSpPr/>
          <p:nvPr/>
        </p:nvSpPr>
        <p:spPr bwMode="auto">
          <a:xfrm>
            <a:off x="6858000" y="4460466"/>
            <a:ext cx="371624" cy="488224"/>
          </a:xfrm>
          <a:prstGeom prst="can">
            <a:avLst>
              <a:gd name="adj" fmla="val 39530"/>
            </a:avLst>
          </a:prstGeom>
          <a:solidFill>
            <a:srgbClr val="FFC000"/>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000" kern="0">
                <a:solidFill>
                  <a:srgbClr val="0078D7"/>
                </a:solidFill>
                <a:ea typeface="Segoe UI" pitchFamily="34" charset="0"/>
                <a:cs typeface="Segoe UI Semilight" panose="020B0402040204020203" pitchFamily="34" charset="0"/>
              </a:rPr>
              <a:t>DB 1</a:t>
            </a:r>
          </a:p>
        </p:txBody>
      </p:sp>
      <p:sp>
        <p:nvSpPr>
          <p:cNvPr id="25" name="Cylinder 513">
            <a:extLst>
              <a:ext uri="{FF2B5EF4-FFF2-40B4-BE49-F238E27FC236}">
                <a16:creationId xmlns:a16="http://schemas.microsoft.com/office/drawing/2014/main" id="{0EAFA114-EAF5-4AC9-9EBA-0ECF457E2FDF}"/>
              </a:ext>
            </a:extLst>
          </p:cNvPr>
          <p:cNvSpPr/>
          <p:nvPr/>
        </p:nvSpPr>
        <p:spPr bwMode="auto">
          <a:xfrm>
            <a:off x="7377748" y="4460466"/>
            <a:ext cx="371624" cy="488224"/>
          </a:xfrm>
          <a:prstGeom prst="can">
            <a:avLst>
              <a:gd name="adj" fmla="val 39530"/>
            </a:avLst>
          </a:prstGeom>
          <a:solidFill>
            <a:srgbClr val="FFC000"/>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000" kern="0">
                <a:solidFill>
                  <a:srgbClr val="0078D7"/>
                </a:solidFill>
                <a:ea typeface="Segoe UI" pitchFamily="34" charset="0"/>
                <a:cs typeface="Segoe UI Semilight" panose="020B0402040204020203" pitchFamily="34" charset="0"/>
              </a:rPr>
              <a:t>DB 2</a:t>
            </a:r>
          </a:p>
        </p:txBody>
      </p:sp>
      <p:sp>
        <p:nvSpPr>
          <p:cNvPr id="26" name="Cylinder 513">
            <a:extLst>
              <a:ext uri="{FF2B5EF4-FFF2-40B4-BE49-F238E27FC236}">
                <a16:creationId xmlns:a16="http://schemas.microsoft.com/office/drawing/2014/main" id="{EEEFCABC-9766-41C3-A424-BF1BA0CE96F6}"/>
              </a:ext>
            </a:extLst>
          </p:cNvPr>
          <p:cNvSpPr/>
          <p:nvPr/>
        </p:nvSpPr>
        <p:spPr bwMode="auto">
          <a:xfrm>
            <a:off x="7897497" y="4460466"/>
            <a:ext cx="371624" cy="488224"/>
          </a:xfrm>
          <a:prstGeom prst="can">
            <a:avLst>
              <a:gd name="adj" fmla="val 39530"/>
            </a:avLst>
          </a:prstGeom>
          <a:solidFill>
            <a:srgbClr val="FFC000"/>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000" kern="0">
                <a:solidFill>
                  <a:srgbClr val="0078D7"/>
                </a:solidFill>
                <a:ea typeface="Segoe UI" pitchFamily="34" charset="0"/>
                <a:cs typeface="Segoe UI Semilight" panose="020B0402040204020203" pitchFamily="34" charset="0"/>
              </a:rPr>
              <a:t>DB 3</a:t>
            </a:r>
          </a:p>
        </p:txBody>
      </p:sp>
      <p:sp>
        <p:nvSpPr>
          <p:cNvPr id="27" name="Cylinder 513">
            <a:extLst>
              <a:ext uri="{FF2B5EF4-FFF2-40B4-BE49-F238E27FC236}">
                <a16:creationId xmlns:a16="http://schemas.microsoft.com/office/drawing/2014/main" id="{E36F2CE8-F8AE-4E5E-BD9A-69A2FD0438AE}"/>
              </a:ext>
            </a:extLst>
          </p:cNvPr>
          <p:cNvSpPr/>
          <p:nvPr/>
        </p:nvSpPr>
        <p:spPr bwMode="auto">
          <a:xfrm>
            <a:off x="9424206" y="4460466"/>
            <a:ext cx="371624" cy="488224"/>
          </a:xfrm>
          <a:prstGeom prst="can">
            <a:avLst>
              <a:gd name="adj" fmla="val 39530"/>
            </a:avLst>
          </a:prstGeom>
          <a:solidFill>
            <a:srgbClr val="FFC000"/>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000" kern="0">
                <a:solidFill>
                  <a:srgbClr val="0078D7"/>
                </a:solidFill>
                <a:ea typeface="Segoe UI" pitchFamily="34" charset="0"/>
                <a:cs typeface="Segoe UI Semilight" panose="020B0402040204020203" pitchFamily="34" charset="0"/>
              </a:rPr>
              <a:t>DB 4</a:t>
            </a:r>
          </a:p>
        </p:txBody>
      </p:sp>
      <p:grpSp>
        <p:nvGrpSpPr>
          <p:cNvPr id="28" name="Group 27">
            <a:extLst>
              <a:ext uri="{FF2B5EF4-FFF2-40B4-BE49-F238E27FC236}">
                <a16:creationId xmlns:a16="http://schemas.microsoft.com/office/drawing/2014/main" id="{1271FDF8-BEEA-4B4C-B965-E9259ADDE9C7}"/>
              </a:ext>
            </a:extLst>
          </p:cNvPr>
          <p:cNvGrpSpPr/>
          <p:nvPr/>
        </p:nvGrpSpPr>
        <p:grpSpPr>
          <a:xfrm>
            <a:off x="8041232" y="1102168"/>
            <a:ext cx="256768" cy="256768"/>
            <a:chOff x="11679011" y="5307417"/>
            <a:chExt cx="457200" cy="457200"/>
          </a:xfrm>
        </p:grpSpPr>
        <p:sp>
          <p:nvSpPr>
            <p:cNvPr id="29" name="Oval 28">
              <a:extLst>
                <a:ext uri="{FF2B5EF4-FFF2-40B4-BE49-F238E27FC236}">
                  <a16:creationId xmlns:a16="http://schemas.microsoft.com/office/drawing/2014/main" id="{6DBE689D-CB7E-4E9D-852A-BC438ABD5FFA}"/>
                </a:ext>
              </a:extLst>
            </p:cNvPr>
            <p:cNvSpPr/>
            <p:nvPr/>
          </p:nvSpPr>
          <p:spPr bwMode="auto">
            <a:xfrm>
              <a:off x="11679011" y="5307417"/>
              <a:ext cx="457200" cy="45720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sp>
          <p:nvSpPr>
            <p:cNvPr id="30" name="Oval 29">
              <a:extLst>
                <a:ext uri="{FF2B5EF4-FFF2-40B4-BE49-F238E27FC236}">
                  <a16:creationId xmlns:a16="http://schemas.microsoft.com/office/drawing/2014/main" id="{FAE6990D-0982-4515-974C-7A419C895C04}"/>
                </a:ext>
              </a:extLst>
            </p:cNvPr>
            <p:cNvSpPr/>
            <p:nvPr/>
          </p:nvSpPr>
          <p:spPr bwMode="auto">
            <a:xfrm>
              <a:off x="11794036" y="5307417"/>
              <a:ext cx="228600" cy="457200"/>
            </a:xfrm>
            <a:prstGeom prst="ellips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6514470F-1A37-4B97-AA84-58F22534D474}"/>
                </a:ext>
              </a:extLst>
            </p:cNvPr>
            <p:cNvCxnSpPr/>
            <p:nvPr/>
          </p:nvCxnSpPr>
          <p:spPr>
            <a:xfrm>
              <a:off x="11679011" y="5536017"/>
              <a:ext cx="457200" cy="0"/>
            </a:xfrm>
            <a:prstGeom prst="line">
              <a:avLst/>
            </a:prstGeom>
            <a:noFill/>
            <a:ln w="12700" cap="flat" cmpd="sng" algn="ctr">
              <a:solidFill>
                <a:srgbClr val="0078D7"/>
              </a:solidFill>
              <a:prstDash val="solid"/>
              <a:headEnd type="none"/>
              <a:tailEnd type="none"/>
            </a:ln>
            <a:effectLst/>
          </p:spPr>
        </p:cxnSp>
        <p:cxnSp>
          <p:nvCxnSpPr>
            <p:cNvPr id="32" name="Straight Connector 31">
              <a:extLst>
                <a:ext uri="{FF2B5EF4-FFF2-40B4-BE49-F238E27FC236}">
                  <a16:creationId xmlns:a16="http://schemas.microsoft.com/office/drawing/2014/main" id="{D6DC3E00-3E28-485A-82D5-C873D56CF805}"/>
                </a:ext>
              </a:extLst>
            </p:cNvPr>
            <p:cNvCxnSpPr>
              <a:cxnSpLocks/>
            </p:cNvCxnSpPr>
            <p:nvPr/>
          </p:nvCxnSpPr>
          <p:spPr>
            <a:xfrm>
              <a:off x="11706226" y="5648676"/>
              <a:ext cx="402770" cy="0"/>
            </a:xfrm>
            <a:prstGeom prst="line">
              <a:avLst/>
            </a:prstGeom>
            <a:noFill/>
            <a:ln w="12700" cap="flat" cmpd="sng" algn="ctr">
              <a:solidFill>
                <a:srgbClr val="0078D7"/>
              </a:solidFill>
              <a:prstDash val="solid"/>
              <a:headEnd type="none"/>
              <a:tailEnd type="none"/>
            </a:ln>
            <a:effectLst/>
          </p:spPr>
        </p:cxnSp>
        <p:cxnSp>
          <p:nvCxnSpPr>
            <p:cNvPr id="33" name="Straight Connector 32">
              <a:extLst>
                <a:ext uri="{FF2B5EF4-FFF2-40B4-BE49-F238E27FC236}">
                  <a16:creationId xmlns:a16="http://schemas.microsoft.com/office/drawing/2014/main" id="{E04FA065-CB88-4324-A949-8A916F39AFD7}"/>
                </a:ext>
              </a:extLst>
            </p:cNvPr>
            <p:cNvCxnSpPr>
              <a:cxnSpLocks/>
            </p:cNvCxnSpPr>
            <p:nvPr/>
          </p:nvCxnSpPr>
          <p:spPr>
            <a:xfrm>
              <a:off x="11706226" y="5422168"/>
              <a:ext cx="402770" cy="0"/>
            </a:xfrm>
            <a:prstGeom prst="line">
              <a:avLst/>
            </a:prstGeom>
            <a:noFill/>
            <a:ln w="12700" cap="flat" cmpd="sng" algn="ctr">
              <a:solidFill>
                <a:srgbClr val="0078D7"/>
              </a:solidFill>
              <a:prstDash val="solid"/>
              <a:headEnd type="none"/>
              <a:tailEnd type="none"/>
            </a:ln>
            <a:effectLst/>
          </p:spPr>
        </p:cxnSp>
        <p:cxnSp>
          <p:nvCxnSpPr>
            <p:cNvPr id="34" name="Straight Connector 33">
              <a:extLst>
                <a:ext uri="{FF2B5EF4-FFF2-40B4-BE49-F238E27FC236}">
                  <a16:creationId xmlns:a16="http://schemas.microsoft.com/office/drawing/2014/main" id="{292E97EB-E3ED-4206-8349-AF11C76195C8}"/>
                </a:ext>
              </a:extLst>
            </p:cNvPr>
            <p:cNvCxnSpPr>
              <a:cxnSpLocks/>
            </p:cNvCxnSpPr>
            <p:nvPr/>
          </p:nvCxnSpPr>
          <p:spPr>
            <a:xfrm flipV="1">
              <a:off x="11908336" y="5307417"/>
              <a:ext cx="0" cy="457200"/>
            </a:xfrm>
            <a:prstGeom prst="line">
              <a:avLst/>
            </a:prstGeom>
            <a:noFill/>
            <a:ln w="12700" cap="flat" cmpd="sng" algn="ctr">
              <a:solidFill>
                <a:srgbClr val="0078D7"/>
              </a:solidFill>
              <a:prstDash val="solid"/>
              <a:headEnd type="none"/>
              <a:tailEnd type="none"/>
            </a:ln>
            <a:effectLst/>
          </p:spPr>
        </p:cxnSp>
      </p:grpSp>
      <p:grpSp>
        <p:nvGrpSpPr>
          <p:cNvPr id="35" name="Group 34">
            <a:extLst>
              <a:ext uri="{FF2B5EF4-FFF2-40B4-BE49-F238E27FC236}">
                <a16:creationId xmlns:a16="http://schemas.microsoft.com/office/drawing/2014/main" id="{B0271E9D-B2F6-4004-A74C-3F236CC5DABE}"/>
              </a:ext>
            </a:extLst>
          </p:cNvPr>
          <p:cNvGrpSpPr/>
          <p:nvPr/>
        </p:nvGrpSpPr>
        <p:grpSpPr>
          <a:xfrm>
            <a:off x="7355395" y="1872491"/>
            <a:ext cx="457906" cy="418959"/>
            <a:chOff x="4475583" y="2774302"/>
            <a:chExt cx="954393" cy="873218"/>
          </a:xfrm>
          <a:solidFill>
            <a:srgbClr val="FFC000"/>
          </a:solidFill>
        </p:grpSpPr>
        <p:grpSp>
          <p:nvGrpSpPr>
            <p:cNvPr id="36" name="Group 35">
              <a:extLst>
                <a:ext uri="{FF2B5EF4-FFF2-40B4-BE49-F238E27FC236}">
                  <a16:creationId xmlns:a16="http://schemas.microsoft.com/office/drawing/2014/main" id="{C8D24317-60B0-4718-B9F8-9C34294E557E}"/>
                </a:ext>
              </a:extLst>
            </p:cNvPr>
            <p:cNvGrpSpPr/>
            <p:nvPr/>
          </p:nvGrpSpPr>
          <p:grpSpPr>
            <a:xfrm>
              <a:off x="4475583" y="2774302"/>
              <a:ext cx="867748" cy="807098"/>
              <a:chOff x="4475583" y="2774302"/>
              <a:chExt cx="867748" cy="807098"/>
            </a:xfrm>
            <a:grpFill/>
          </p:grpSpPr>
          <p:sp>
            <p:nvSpPr>
              <p:cNvPr id="38" name="Rectangle 37">
                <a:extLst>
                  <a:ext uri="{FF2B5EF4-FFF2-40B4-BE49-F238E27FC236}">
                    <a16:creationId xmlns:a16="http://schemas.microsoft.com/office/drawing/2014/main" id="{3B6A9546-E0B0-45F2-9D3A-CAE5EE7C76F2}"/>
                  </a:ext>
                </a:extLst>
              </p:cNvPr>
              <p:cNvSpPr/>
              <p:nvPr/>
            </p:nvSpPr>
            <p:spPr bwMode="auto">
              <a:xfrm>
                <a:off x="4705548" y="2774302"/>
                <a:ext cx="407819"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39" name="Rectangle 38">
                <a:extLst>
                  <a:ext uri="{FF2B5EF4-FFF2-40B4-BE49-F238E27FC236}">
                    <a16:creationId xmlns:a16="http://schemas.microsoft.com/office/drawing/2014/main" id="{446D2777-7D33-404C-BAFA-9A292E68CFF4}"/>
                  </a:ext>
                </a:extLst>
              </p:cNvPr>
              <p:cNvSpPr/>
              <p:nvPr/>
            </p:nvSpPr>
            <p:spPr bwMode="auto">
              <a:xfrm>
                <a:off x="4705548" y="3341914"/>
                <a:ext cx="407819"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0" name="Rectangle 39">
                <a:extLst>
                  <a:ext uri="{FF2B5EF4-FFF2-40B4-BE49-F238E27FC236}">
                    <a16:creationId xmlns:a16="http://schemas.microsoft.com/office/drawing/2014/main" id="{6E14916B-2D7E-46B4-AC28-A6240EA64CF6}"/>
                  </a:ext>
                </a:extLst>
              </p:cNvPr>
              <p:cNvSpPr/>
              <p:nvPr/>
            </p:nvSpPr>
            <p:spPr bwMode="auto">
              <a:xfrm>
                <a:off x="4475583" y="3058108"/>
                <a:ext cx="407819"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1" name="Rectangle 40">
                <a:extLst>
                  <a:ext uri="{FF2B5EF4-FFF2-40B4-BE49-F238E27FC236}">
                    <a16:creationId xmlns:a16="http://schemas.microsoft.com/office/drawing/2014/main" id="{A5624161-F22D-4275-97E2-232A13C797C0}"/>
                  </a:ext>
                </a:extLst>
              </p:cNvPr>
              <p:cNvSpPr/>
              <p:nvPr/>
            </p:nvSpPr>
            <p:spPr bwMode="auto">
              <a:xfrm>
                <a:off x="4935512" y="3058108"/>
                <a:ext cx="407819"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2" name="Rectangle 41">
                <a:extLst>
                  <a:ext uri="{FF2B5EF4-FFF2-40B4-BE49-F238E27FC236}">
                    <a16:creationId xmlns:a16="http://schemas.microsoft.com/office/drawing/2014/main" id="{80F3A1A0-07C2-48DE-86BE-C136D8B49E9D}"/>
                  </a:ext>
                </a:extLst>
              </p:cNvPr>
              <p:cNvSpPr/>
              <p:nvPr/>
            </p:nvSpPr>
            <p:spPr bwMode="auto">
              <a:xfrm>
                <a:off x="5162932" y="2774302"/>
                <a:ext cx="177855"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3" name="Rectangle 42">
                <a:extLst>
                  <a:ext uri="{FF2B5EF4-FFF2-40B4-BE49-F238E27FC236}">
                    <a16:creationId xmlns:a16="http://schemas.microsoft.com/office/drawing/2014/main" id="{F25873C9-4D24-4EF3-B92A-C467A470373E}"/>
                  </a:ext>
                </a:extLst>
              </p:cNvPr>
              <p:cNvSpPr/>
              <p:nvPr/>
            </p:nvSpPr>
            <p:spPr bwMode="auto">
              <a:xfrm>
                <a:off x="4475583" y="2774302"/>
                <a:ext cx="177855"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sp>
            <p:nvSpPr>
              <p:cNvPr id="44" name="Rectangle 43">
                <a:extLst>
                  <a:ext uri="{FF2B5EF4-FFF2-40B4-BE49-F238E27FC236}">
                    <a16:creationId xmlns:a16="http://schemas.microsoft.com/office/drawing/2014/main" id="{52C8C603-439B-4FD7-9AF1-BF45428E1DFF}"/>
                  </a:ext>
                </a:extLst>
              </p:cNvPr>
              <p:cNvSpPr/>
              <p:nvPr/>
            </p:nvSpPr>
            <p:spPr bwMode="auto">
              <a:xfrm>
                <a:off x="4475583" y="3341914"/>
                <a:ext cx="177855" cy="239486"/>
              </a:xfrm>
              <a:prstGeom prst="rect">
                <a:avLst/>
              </a:prstGeom>
              <a:grpFill/>
              <a:ln w="12700" cap="rnd">
                <a:solidFill>
                  <a:srgbClr val="0078D7"/>
                </a:solidFill>
                <a:miter lim="800000"/>
                <a:headEnd/>
                <a:tailEnd/>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charset="0"/>
                  <a:ea typeface="Arial" charset="0"/>
                  <a:cs typeface="Arial" charset="0"/>
                </a:endParaRPr>
              </a:p>
            </p:txBody>
          </p:sp>
        </p:grpSp>
        <p:sp>
          <p:nvSpPr>
            <p:cNvPr id="37" name="Freeform: Shape 36">
              <a:extLst>
                <a:ext uri="{FF2B5EF4-FFF2-40B4-BE49-F238E27FC236}">
                  <a16:creationId xmlns:a16="http://schemas.microsoft.com/office/drawing/2014/main" id="{656AE7C3-4B2A-4372-8E48-4F8E8788CF63}"/>
                </a:ext>
              </a:extLst>
            </p:cNvPr>
            <p:cNvSpPr/>
            <p:nvPr/>
          </p:nvSpPr>
          <p:spPr>
            <a:xfrm>
              <a:off x="5078027" y="3132218"/>
              <a:ext cx="351949" cy="515302"/>
            </a:xfrm>
            <a:custGeom>
              <a:avLst/>
              <a:gdLst>
                <a:gd name="connsiteX0" fmla="*/ 338211 w 361950"/>
                <a:gd name="connsiteY0" fmla="*/ 271939 h 523875"/>
                <a:gd name="connsiteX1" fmla="*/ 260106 w 361950"/>
                <a:gd name="connsiteY1" fmla="*/ 340519 h 523875"/>
                <a:gd name="connsiteX2" fmla="*/ 234388 w 361950"/>
                <a:gd name="connsiteY2" fmla="*/ 247174 h 523875"/>
                <a:gd name="connsiteX3" fmla="*/ 153426 w 361950"/>
                <a:gd name="connsiteY3" fmla="*/ 7144 h 523875"/>
                <a:gd name="connsiteX4" fmla="*/ 91513 w 361950"/>
                <a:gd name="connsiteY4" fmla="*/ 197644 h 523875"/>
                <a:gd name="connsiteX5" fmla="*/ 20076 w 361950"/>
                <a:gd name="connsiteY5" fmla="*/ 281464 h 523875"/>
                <a:gd name="connsiteX6" fmla="*/ 79131 w 361950"/>
                <a:gd name="connsiteY6" fmla="*/ 488156 h 523875"/>
                <a:gd name="connsiteX7" fmla="*/ 115326 w 361950"/>
                <a:gd name="connsiteY7" fmla="*/ 296704 h 523875"/>
                <a:gd name="connsiteX8" fmla="*/ 139138 w 361950"/>
                <a:gd name="connsiteY8" fmla="*/ 428149 h 523875"/>
                <a:gd name="connsiteX9" fmla="*/ 182953 w 361950"/>
                <a:gd name="connsiteY9" fmla="*/ 522446 h 523875"/>
                <a:gd name="connsiteX10" fmla="*/ 344878 w 361950"/>
                <a:gd name="connsiteY10" fmla="*/ 413861 h 523875"/>
                <a:gd name="connsiteX11" fmla="*/ 338211 w 361950"/>
                <a:gd name="connsiteY11" fmla="*/ 271939 h 523875"/>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12" fmla="*/ 331068 w 351949"/>
                <a:gd name="connsiteY12"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 name="connsiteX0" fmla="*/ 331068 w 351949"/>
                <a:gd name="connsiteY0" fmla="*/ 264795 h 515302"/>
                <a:gd name="connsiteX1" fmla="*/ 252963 w 351949"/>
                <a:gd name="connsiteY1" fmla="*/ 333375 h 515302"/>
                <a:gd name="connsiteX2" fmla="*/ 227245 w 351949"/>
                <a:gd name="connsiteY2" fmla="*/ 240030 h 515302"/>
                <a:gd name="connsiteX3" fmla="*/ 146283 w 351949"/>
                <a:gd name="connsiteY3" fmla="*/ 0 h 515302"/>
                <a:gd name="connsiteX4" fmla="*/ 84370 w 351949"/>
                <a:gd name="connsiteY4" fmla="*/ 190500 h 515302"/>
                <a:gd name="connsiteX5" fmla="*/ 12933 w 351949"/>
                <a:gd name="connsiteY5" fmla="*/ 274320 h 515302"/>
                <a:gd name="connsiteX6" fmla="*/ 71988 w 351949"/>
                <a:gd name="connsiteY6" fmla="*/ 481012 h 515302"/>
                <a:gd name="connsiteX7" fmla="*/ 108183 w 351949"/>
                <a:gd name="connsiteY7" fmla="*/ 289560 h 515302"/>
                <a:gd name="connsiteX8" fmla="*/ 131995 w 351949"/>
                <a:gd name="connsiteY8" fmla="*/ 421005 h 515302"/>
                <a:gd name="connsiteX9" fmla="*/ 175810 w 351949"/>
                <a:gd name="connsiteY9" fmla="*/ 515302 h 515302"/>
                <a:gd name="connsiteX10" fmla="*/ 337735 w 351949"/>
                <a:gd name="connsiteY10" fmla="*/ 406717 h 515302"/>
                <a:gd name="connsiteX11" fmla="*/ 331068 w 351949"/>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9" h="515302">
                  <a:moveTo>
                    <a:pt x="331068" y="264795"/>
                  </a:moveTo>
                  <a:cubicBezTo>
                    <a:pt x="332248" y="317591"/>
                    <a:pt x="284441" y="351336"/>
                    <a:pt x="252963" y="333375"/>
                  </a:cubicBezTo>
                  <a:cubicBezTo>
                    <a:pt x="215815" y="320040"/>
                    <a:pt x="201528" y="277177"/>
                    <a:pt x="227245" y="240030"/>
                  </a:cubicBezTo>
                  <a:cubicBezTo>
                    <a:pt x="285348" y="162877"/>
                    <a:pt x="242485" y="41910"/>
                    <a:pt x="146283" y="0"/>
                  </a:cubicBezTo>
                  <a:cubicBezTo>
                    <a:pt x="190098" y="82867"/>
                    <a:pt x="123423" y="158115"/>
                    <a:pt x="84370" y="190500"/>
                  </a:cubicBezTo>
                  <a:cubicBezTo>
                    <a:pt x="46270" y="221932"/>
                    <a:pt x="20553" y="255270"/>
                    <a:pt x="12933" y="274320"/>
                  </a:cubicBezTo>
                  <a:cubicBezTo>
                    <a:pt x="-26120" y="368617"/>
                    <a:pt x="31983" y="459105"/>
                    <a:pt x="71988" y="481012"/>
                  </a:cubicBezTo>
                  <a:cubicBezTo>
                    <a:pt x="53890" y="440055"/>
                    <a:pt x="37698" y="362902"/>
                    <a:pt x="108183" y="289560"/>
                  </a:cubicBezTo>
                  <a:cubicBezTo>
                    <a:pt x="108183" y="289560"/>
                    <a:pt x="88181" y="367665"/>
                    <a:pt x="131995" y="421005"/>
                  </a:cubicBezTo>
                  <a:cubicBezTo>
                    <a:pt x="175810" y="475297"/>
                    <a:pt x="175810" y="515302"/>
                    <a:pt x="175810" y="515302"/>
                  </a:cubicBezTo>
                  <a:cubicBezTo>
                    <a:pt x="244390" y="515302"/>
                    <a:pt x="310113" y="474345"/>
                    <a:pt x="337735" y="406717"/>
                  </a:cubicBezTo>
                  <a:cubicBezTo>
                    <a:pt x="356785" y="365760"/>
                    <a:pt x="358691" y="301942"/>
                    <a:pt x="331068" y="264795"/>
                  </a:cubicBezTo>
                  <a:close/>
                </a:path>
              </a:pathLst>
            </a:custGeom>
            <a:grpFill/>
            <a:ln w="12700" cap="flat">
              <a:solidFill>
                <a:srgbClr val="0078D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45" name="Straight Arrow Connector 44">
            <a:extLst>
              <a:ext uri="{FF2B5EF4-FFF2-40B4-BE49-F238E27FC236}">
                <a16:creationId xmlns:a16="http://schemas.microsoft.com/office/drawing/2014/main" id="{3E8954E5-A3C5-4146-A0AF-4E002399D82E}"/>
              </a:ext>
            </a:extLst>
          </p:cNvPr>
          <p:cNvCxnSpPr>
            <a:cxnSpLocks/>
          </p:cNvCxnSpPr>
          <p:nvPr/>
        </p:nvCxnSpPr>
        <p:spPr>
          <a:xfrm>
            <a:off x="7563561" y="3073684"/>
            <a:ext cx="0" cy="1199748"/>
          </a:xfrm>
          <a:prstGeom prst="straightConnector1">
            <a:avLst/>
          </a:prstGeom>
          <a:noFill/>
          <a:ln w="12700" cap="flat" cmpd="sng" algn="ctr">
            <a:solidFill>
              <a:srgbClr val="0078D7"/>
            </a:solidFill>
            <a:prstDash val="solid"/>
            <a:headEnd type="none"/>
            <a:tailEnd type="triangle"/>
          </a:ln>
          <a:effectLst/>
        </p:spPr>
      </p:cxnSp>
      <p:sp>
        <p:nvSpPr>
          <p:cNvPr id="46" name="Rectangle 45">
            <a:extLst>
              <a:ext uri="{FF2B5EF4-FFF2-40B4-BE49-F238E27FC236}">
                <a16:creationId xmlns:a16="http://schemas.microsoft.com/office/drawing/2014/main" id="{D3B04646-0B4C-42F2-B618-AA9EFCA886B1}"/>
              </a:ext>
            </a:extLst>
          </p:cNvPr>
          <p:cNvSpPr/>
          <p:nvPr/>
        </p:nvSpPr>
        <p:spPr bwMode="auto">
          <a:xfrm>
            <a:off x="9197580" y="3887066"/>
            <a:ext cx="351520" cy="21383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000" kern="0">
                <a:solidFill>
                  <a:srgbClr val="505050"/>
                </a:solidFill>
                <a:ea typeface="Segoe UI" pitchFamily="34" charset="0"/>
                <a:cs typeface="Segoe UI" pitchFamily="34" charset="0"/>
              </a:rPr>
              <a:t>Yes</a:t>
            </a:r>
          </a:p>
        </p:txBody>
      </p:sp>
      <p:sp>
        <p:nvSpPr>
          <p:cNvPr id="47" name="Rectangle 46">
            <a:extLst>
              <a:ext uri="{FF2B5EF4-FFF2-40B4-BE49-F238E27FC236}">
                <a16:creationId xmlns:a16="http://schemas.microsoft.com/office/drawing/2014/main" id="{01504EC6-4804-4BA9-81AA-81770294067D}"/>
              </a:ext>
            </a:extLst>
          </p:cNvPr>
          <p:cNvSpPr/>
          <p:nvPr/>
        </p:nvSpPr>
        <p:spPr bwMode="auto">
          <a:xfrm>
            <a:off x="10333110" y="3247728"/>
            <a:ext cx="250007" cy="2833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000" kern="0">
                <a:solidFill>
                  <a:srgbClr val="505050"/>
                </a:solidFill>
                <a:ea typeface="Segoe UI" pitchFamily="34" charset="0"/>
                <a:cs typeface="Segoe UI" pitchFamily="34" charset="0"/>
              </a:rPr>
              <a:t>No</a:t>
            </a:r>
          </a:p>
        </p:txBody>
      </p:sp>
      <p:sp>
        <p:nvSpPr>
          <p:cNvPr id="48" name="Freeform 146">
            <a:extLst>
              <a:ext uri="{FF2B5EF4-FFF2-40B4-BE49-F238E27FC236}">
                <a16:creationId xmlns:a16="http://schemas.microsoft.com/office/drawing/2014/main" id="{88BD2B71-5E92-4737-8530-049BB1E93A77}"/>
              </a:ext>
            </a:extLst>
          </p:cNvPr>
          <p:cNvSpPr>
            <a:spLocks noChangeAspect="1"/>
          </p:cNvSpPr>
          <p:nvPr/>
        </p:nvSpPr>
        <p:spPr bwMode="auto">
          <a:xfrm>
            <a:off x="8910709" y="1102984"/>
            <a:ext cx="380614" cy="24104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107C10">
              <a:lumMod val="20000"/>
              <a:lumOff val="80000"/>
            </a:srgbClr>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4770744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9591A-8F78-4C18-A986-C8ADA6DA017D}"/>
              </a:ext>
            </a:extLst>
          </p:cNvPr>
          <p:cNvSpPr>
            <a:spLocks noGrp="1"/>
          </p:cNvSpPr>
          <p:nvPr>
            <p:ph type="title"/>
          </p:nvPr>
        </p:nvSpPr>
        <p:spPr>
          <a:xfrm>
            <a:off x="655638" y="320040"/>
            <a:ext cx="10880725" cy="461665"/>
          </a:xfrm>
        </p:spPr>
        <p:txBody>
          <a:bodyPr wrap="square" anchor="t">
            <a:normAutofit/>
          </a:bodyPr>
          <a:lstStyle/>
          <a:p>
            <a:r>
              <a:rPr lang="en-US"/>
              <a:t>Firewall configuration using portal</a:t>
            </a:r>
          </a:p>
        </p:txBody>
      </p:sp>
      <p:pic>
        <p:nvPicPr>
          <p:cNvPr id="5" name="Picture 4" descr="A screenshot of a cell phone&#10;&#10;Description automatically generated">
            <a:extLst>
              <a:ext uri="{FF2B5EF4-FFF2-40B4-BE49-F238E27FC236}">
                <a16:creationId xmlns:a16="http://schemas.microsoft.com/office/drawing/2014/main" id="{56A872E4-CEF1-428A-BF99-AF98994D9C02}"/>
              </a:ext>
            </a:extLst>
          </p:cNvPr>
          <p:cNvPicPr>
            <a:picLocks noChangeAspect="1"/>
          </p:cNvPicPr>
          <p:nvPr/>
        </p:nvPicPr>
        <p:blipFill>
          <a:blip r:embed="rId3"/>
          <a:stretch>
            <a:fillRect/>
          </a:stretch>
        </p:blipFill>
        <p:spPr>
          <a:xfrm>
            <a:off x="664343" y="1408113"/>
            <a:ext cx="5267376" cy="4819650"/>
          </a:xfrm>
          <a:prstGeom prst="rect">
            <a:avLst/>
          </a:prstGeom>
          <a:noFill/>
        </p:spPr>
      </p:pic>
      <p:graphicFrame>
        <p:nvGraphicFramePr>
          <p:cNvPr id="4" name="Content Placeholder 3">
            <a:extLst>
              <a:ext uri="{FF2B5EF4-FFF2-40B4-BE49-F238E27FC236}">
                <a16:creationId xmlns:a16="http://schemas.microsoft.com/office/drawing/2014/main" id="{E8275E22-5A11-428F-ABA0-6E1E55962C85}"/>
              </a:ext>
            </a:extLst>
          </p:cNvPr>
          <p:cNvGraphicFramePr>
            <a:graphicFrameLocks noGrp="1"/>
          </p:cNvGraphicFramePr>
          <p:nvPr>
            <p:ph sz="quarter" idx="14"/>
            <p:extLst>
              <p:ext uri="{D42A27DB-BD31-4B8C-83A1-F6EECF244321}">
                <p14:modId xmlns:p14="http://schemas.microsoft.com/office/powerpoint/2010/main" val="1400501611"/>
              </p:ext>
            </p:extLst>
          </p:nvPr>
        </p:nvGraphicFramePr>
        <p:xfrm>
          <a:off x="6251576" y="1408113"/>
          <a:ext cx="5284785" cy="4819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77581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7C3D2-9F0A-4D38-A50E-4CD3857B9651}"/>
              </a:ext>
            </a:extLst>
          </p:cNvPr>
          <p:cNvSpPr>
            <a:spLocks noGrp="1"/>
          </p:cNvSpPr>
          <p:nvPr>
            <p:ph type="title"/>
          </p:nvPr>
        </p:nvSpPr>
        <p:spPr/>
        <p:txBody>
          <a:bodyPr/>
          <a:lstStyle/>
          <a:p>
            <a:r>
              <a:rPr lang="en-US"/>
              <a:t>Firewall configuration using PowerShell/T-SQL</a:t>
            </a:r>
          </a:p>
        </p:txBody>
      </p:sp>
      <p:graphicFrame>
        <p:nvGraphicFramePr>
          <p:cNvPr id="5" name="Content Placeholder 4">
            <a:extLst>
              <a:ext uri="{FF2B5EF4-FFF2-40B4-BE49-F238E27FC236}">
                <a16:creationId xmlns:a16="http://schemas.microsoft.com/office/drawing/2014/main" id="{A87D0FD1-61BE-4405-A578-95847304B9CB}"/>
              </a:ext>
            </a:extLst>
          </p:cNvPr>
          <p:cNvGraphicFramePr>
            <a:graphicFrameLocks noGrp="1"/>
          </p:cNvGraphicFramePr>
          <p:nvPr>
            <p:ph sz="quarter" idx="13"/>
            <p:extLst>
              <p:ext uri="{D42A27DB-BD31-4B8C-83A1-F6EECF244321}">
                <p14:modId xmlns:p14="http://schemas.microsoft.com/office/powerpoint/2010/main" val="2708837879"/>
              </p:ext>
            </p:extLst>
          </p:nvPr>
        </p:nvGraphicFramePr>
        <p:xfrm>
          <a:off x="655638" y="1295400"/>
          <a:ext cx="5284787"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a:extLst>
              <a:ext uri="{FF2B5EF4-FFF2-40B4-BE49-F238E27FC236}">
                <a16:creationId xmlns:a16="http://schemas.microsoft.com/office/drawing/2014/main" id="{49FE6338-CE0C-49B6-A8FF-E5173065ECAD}"/>
              </a:ext>
            </a:extLst>
          </p:cNvPr>
          <p:cNvSpPr>
            <a:spLocks noGrp="1"/>
          </p:cNvSpPr>
          <p:nvPr>
            <p:ph sz="quarter" idx="14"/>
          </p:nvPr>
        </p:nvSpPr>
        <p:spPr>
          <a:xfrm>
            <a:off x="6251575" y="1345098"/>
            <a:ext cx="5284785" cy="1463040"/>
          </a:xfrm>
          <a:prstGeom prst="rect">
            <a:avLst/>
          </a:prstGeom>
          <a:ln>
            <a:solidFill>
              <a:schemeClr val="accent1"/>
            </a:solidFill>
          </a:ln>
          <a:effectLst/>
        </p:spPr>
        <p:txBody>
          <a:bodyPr wrap="square">
            <a:noAutofit/>
          </a:bodyPr>
          <a:lstStyle/>
          <a:p>
            <a:r>
              <a:rPr lang="en-US" sz="1400"/>
              <a:t> </a:t>
            </a:r>
            <a:r>
              <a:rPr lang="en-US" sz="1400">
                <a:solidFill>
                  <a:srgbClr val="006400"/>
                </a:solidFill>
                <a:latin typeface="Lucida Console" panose="020B0609040504020204" pitchFamily="49" charset="0"/>
              </a:rPr>
              <a:t># PS Enable Azure connections </a:t>
            </a:r>
            <a:r>
              <a:rPr lang="en-US" sz="1400"/>
              <a:t> </a:t>
            </a:r>
          </a:p>
          <a:p>
            <a:r>
              <a:rPr lang="en-US" sz="1400">
                <a:solidFill>
                  <a:srgbClr val="0000FF"/>
                </a:solidFill>
                <a:latin typeface="Lucida Console" panose="020B0609040504020204" pitchFamily="49" charset="0"/>
              </a:rPr>
              <a:t>PS</a:t>
            </a:r>
            <a:r>
              <a:rPr lang="en-US" sz="1400">
                <a:solidFill>
                  <a:prstClr val="black"/>
                </a:solidFill>
                <a:latin typeface="Lucida Console" panose="020B0609040504020204" pitchFamily="49" charset="0"/>
              </a:rPr>
              <a:t> </a:t>
            </a:r>
            <a:r>
              <a:rPr lang="en-US" sz="1400">
                <a:solidFill>
                  <a:srgbClr val="8A2BE2"/>
                </a:solidFill>
                <a:latin typeface="Lucida Console" panose="020B0609040504020204" pitchFamily="49" charset="0"/>
              </a:rPr>
              <a:t>C:\&gt;New-AzSqlServerFirewallRule</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ResourceGroupName</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ResourceGroup01"</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ServerName</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Server01"</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FirewallRuleName</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Rule01"</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StartIpAddress</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192.168.0.198"</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EndIpAddress</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192.168.0.199" </a:t>
            </a:r>
          </a:p>
        </p:txBody>
      </p:sp>
      <p:sp>
        <p:nvSpPr>
          <p:cNvPr id="9" name="Content Placeholder 6">
            <a:extLst>
              <a:ext uri="{FF2B5EF4-FFF2-40B4-BE49-F238E27FC236}">
                <a16:creationId xmlns:a16="http://schemas.microsoft.com/office/drawing/2014/main" id="{1BEB8036-A8D9-48A8-AA87-245A0D1E0B19}"/>
              </a:ext>
            </a:extLst>
          </p:cNvPr>
          <p:cNvSpPr txBox="1">
            <a:spLocks/>
          </p:cNvSpPr>
          <p:nvPr/>
        </p:nvSpPr>
        <p:spPr>
          <a:xfrm>
            <a:off x="6251574" y="3080469"/>
            <a:ext cx="5284785" cy="1097280"/>
          </a:xfrm>
          <a:prstGeom prst="rect">
            <a:avLst/>
          </a:prstGeom>
          <a:ln>
            <a:solidFill>
              <a:schemeClr val="accent1"/>
            </a:solidFill>
          </a:ln>
          <a:effectLst/>
        </p:spPr>
        <p:txBody>
          <a:bodyPr vert="horz" wrap="square"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sz="1400"/>
              <a:t>  </a:t>
            </a:r>
            <a:r>
              <a:rPr lang="en-US" sz="1400">
                <a:solidFill>
                  <a:srgbClr val="006400"/>
                </a:solidFill>
                <a:latin typeface="Lucida Console" panose="020B0609040504020204" pitchFamily="49" charset="0"/>
              </a:rPr>
              <a:t># PS Allow external IP access to SQL Database </a:t>
            </a:r>
            <a:endParaRPr lang="en-US" sz="1400">
              <a:solidFill>
                <a:prstClr val="black"/>
              </a:solidFill>
              <a:latin typeface="Lucida Console" panose="020B0609040504020204" pitchFamily="49" charset="0"/>
            </a:endParaRPr>
          </a:p>
          <a:p>
            <a:r>
              <a:rPr lang="en-US" sz="1400">
                <a:solidFill>
                  <a:srgbClr val="0000FF"/>
                </a:solidFill>
                <a:latin typeface="Lucida Console" panose="020B0609040504020204" pitchFamily="49" charset="0"/>
              </a:rPr>
              <a:t>PS</a:t>
            </a:r>
            <a:r>
              <a:rPr lang="en-US" sz="1400">
                <a:solidFill>
                  <a:prstClr val="black"/>
                </a:solidFill>
                <a:latin typeface="Lucida Console" panose="020B0609040504020204" pitchFamily="49" charset="0"/>
              </a:rPr>
              <a:t> </a:t>
            </a:r>
            <a:r>
              <a:rPr lang="en-US" sz="1400">
                <a:solidFill>
                  <a:srgbClr val="8A2BE2"/>
                </a:solidFill>
                <a:latin typeface="Lucida Console" panose="020B0609040504020204" pitchFamily="49" charset="0"/>
              </a:rPr>
              <a:t>C:\&gt;</a:t>
            </a:r>
            <a:r>
              <a:rPr lang="en-US" sz="1400">
                <a:solidFill>
                  <a:prstClr val="black"/>
                </a:solidFill>
                <a:latin typeface="Lucida Console" panose="020B0609040504020204" pitchFamily="49" charset="0"/>
              </a:rPr>
              <a:t> </a:t>
            </a:r>
            <a:r>
              <a:rPr lang="en-US" sz="1400">
                <a:solidFill>
                  <a:srgbClr val="8A2BE2"/>
                </a:solidFill>
                <a:latin typeface="Lucida Console" panose="020B0609040504020204" pitchFamily="49" charset="0"/>
              </a:rPr>
              <a:t>New-</a:t>
            </a:r>
            <a:r>
              <a:rPr lang="en-US" sz="1400" err="1">
                <a:solidFill>
                  <a:srgbClr val="8A2BE2"/>
                </a:solidFill>
                <a:latin typeface="Lucida Console" panose="020B0609040504020204" pitchFamily="49" charset="0"/>
              </a:rPr>
              <a:t>AzureSqlDatabaseServerFirewallRule</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ServerName</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Server01"</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RuleName</a:t>
            </a:r>
            <a:r>
              <a:rPr lang="en-US" sz="1400">
                <a:solidFill>
                  <a:prstClr val="black"/>
                </a:solidFill>
                <a:latin typeface="Lucida Console" panose="020B0609040504020204" pitchFamily="49" charset="0"/>
              </a:rPr>
              <a:t> </a:t>
            </a:r>
            <a:r>
              <a:rPr lang="en-US" sz="1400">
                <a:solidFill>
                  <a:srgbClr val="8B0000"/>
                </a:solidFill>
                <a:latin typeface="Lucida Console" panose="020B0609040504020204" pitchFamily="49" charset="0"/>
              </a:rPr>
              <a:t>"</a:t>
            </a:r>
            <a:r>
              <a:rPr lang="en-US" sz="1400" err="1">
                <a:solidFill>
                  <a:srgbClr val="8B0000"/>
                </a:solidFill>
                <a:latin typeface="Lucida Console" panose="020B0609040504020204" pitchFamily="49" charset="0"/>
              </a:rPr>
              <a:t>FirewallRule</a:t>
            </a:r>
            <a:r>
              <a:rPr lang="en-US" sz="1400">
                <a:solidFill>
                  <a:srgbClr val="8B0000"/>
                </a:solidFill>
                <a:latin typeface="Lucida Console" panose="020B0609040504020204" pitchFamily="49" charset="0"/>
              </a:rPr>
              <a:t>"</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StartIpAddress</a:t>
            </a:r>
            <a:r>
              <a:rPr lang="en-US" sz="1400">
                <a:solidFill>
                  <a:prstClr val="black"/>
                </a:solidFill>
                <a:latin typeface="Lucida Console" panose="020B0609040504020204" pitchFamily="49" charset="0"/>
              </a:rPr>
              <a:t> </a:t>
            </a:r>
            <a:r>
              <a:rPr lang="en-US" sz="1400">
                <a:solidFill>
                  <a:srgbClr val="8A2BE2"/>
                </a:solidFill>
                <a:latin typeface="Lucida Console" panose="020B0609040504020204" pitchFamily="49" charset="0"/>
              </a:rPr>
              <a:t>10.1.1.1</a:t>
            </a:r>
            <a:r>
              <a:rPr lang="en-US" sz="1400">
                <a:solidFill>
                  <a:prstClr val="black"/>
                </a:solidFill>
                <a:latin typeface="Lucida Console" panose="020B0609040504020204" pitchFamily="49" charset="0"/>
              </a:rPr>
              <a:t> </a:t>
            </a:r>
            <a:r>
              <a:rPr lang="en-US" sz="1400">
                <a:solidFill>
                  <a:srgbClr val="000080"/>
                </a:solidFill>
                <a:latin typeface="Lucida Console" panose="020B0609040504020204" pitchFamily="49" charset="0"/>
              </a:rPr>
              <a:t>-</a:t>
            </a:r>
            <a:r>
              <a:rPr lang="en-US" sz="1400" err="1">
                <a:solidFill>
                  <a:srgbClr val="000080"/>
                </a:solidFill>
                <a:latin typeface="Lucida Console" panose="020B0609040504020204" pitchFamily="49" charset="0"/>
              </a:rPr>
              <a:t>EndIpAddress</a:t>
            </a:r>
            <a:r>
              <a:rPr lang="en-US" sz="1400">
                <a:solidFill>
                  <a:prstClr val="black"/>
                </a:solidFill>
                <a:latin typeface="Lucida Console" panose="020B0609040504020204" pitchFamily="49" charset="0"/>
              </a:rPr>
              <a:t> </a:t>
            </a:r>
            <a:r>
              <a:rPr lang="en-US" sz="1400">
                <a:solidFill>
                  <a:srgbClr val="8A2BE2"/>
                </a:solidFill>
                <a:latin typeface="Lucida Console" panose="020B0609040504020204" pitchFamily="49" charset="0"/>
              </a:rPr>
              <a:t>10.1.1.2 </a:t>
            </a:r>
          </a:p>
          <a:p>
            <a:endParaRPr lang="en-US" sz="1400">
              <a:solidFill>
                <a:srgbClr val="8B0000"/>
              </a:solidFill>
              <a:latin typeface="Lucida Console" panose="020B0609040504020204" pitchFamily="49" charset="0"/>
            </a:endParaRPr>
          </a:p>
        </p:txBody>
      </p:sp>
      <p:sp>
        <p:nvSpPr>
          <p:cNvPr id="11" name="Content Placeholder 6">
            <a:extLst>
              <a:ext uri="{FF2B5EF4-FFF2-40B4-BE49-F238E27FC236}">
                <a16:creationId xmlns:a16="http://schemas.microsoft.com/office/drawing/2014/main" id="{B333935B-4A69-42B6-B691-BF1065BB536B}"/>
              </a:ext>
            </a:extLst>
          </p:cNvPr>
          <p:cNvSpPr txBox="1">
            <a:spLocks/>
          </p:cNvSpPr>
          <p:nvPr/>
        </p:nvSpPr>
        <p:spPr>
          <a:xfrm>
            <a:off x="6251574" y="4450080"/>
            <a:ext cx="5284785" cy="822960"/>
          </a:xfrm>
          <a:prstGeom prst="rect">
            <a:avLst/>
          </a:prstGeom>
          <a:ln>
            <a:solidFill>
              <a:schemeClr val="accent1"/>
            </a:solidFill>
          </a:ln>
          <a:effectLst/>
        </p:spPr>
        <p:txBody>
          <a:bodyPr vert="horz" wrap="square"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sz="1400">
                <a:solidFill>
                  <a:srgbClr val="008000"/>
                </a:solidFill>
                <a:latin typeface="Consolas" panose="020B0609020204030204" pitchFamily="49" charset="0"/>
              </a:rPr>
              <a:t>-- T-SQL Enable Azure connections</a:t>
            </a:r>
            <a:endParaRPr lang="en-US" sz="1400">
              <a:solidFill>
                <a:srgbClr val="000000"/>
              </a:solidFill>
              <a:latin typeface="Consolas" panose="020B0609020204030204" pitchFamily="49" charset="0"/>
            </a:endParaRPr>
          </a:p>
          <a:p>
            <a:r>
              <a:rPr lang="en-US" sz="1400" err="1">
                <a:solidFill>
                  <a:srgbClr val="000000"/>
                </a:solidFill>
                <a:latin typeface="Consolas" panose="020B0609020204030204" pitchFamily="49" charset="0"/>
              </a:rPr>
              <a:t>sp_set_firewall_rule</a:t>
            </a:r>
            <a:r>
              <a:rPr lang="en-US" sz="1400">
                <a:solidFill>
                  <a:srgbClr val="000000"/>
                </a:solidFill>
                <a:latin typeface="Consolas" panose="020B0609020204030204" pitchFamily="49" charset="0"/>
              </a:rPr>
              <a:t> </a:t>
            </a:r>
            <a:r>
              <a:rPr lang="en-US" sz="1400" err="1">
                <a:solidFill>
                  <a:srgbClr val="FF0000"/>
                </a:solidFill>
                <a:latin typeface="Consolas" panose="020B0609020204030204" pitchFamily="49" charset="0"/>
              </a:rPr>
              <a:t>N'Allow</a:t>
            </a:r>
            <a:r>
              <a:rPr lang="en-US" sz="1400">
                <a:solidFill>
                  <a:srgbClr val="FF0000"/>
                </a:solidFill>
                <a:latin typeface="Consolas" panose="020B0609020204030204" pitchFamily="49" charset="0"/>
              </a:rPr>
              <a:t> Windows Azure'</a:t>
            </a:r>
            <a:r>
              <a:rPr lang="en-US" sz="1400">
                <a:solidFill>
                  <a:srgbClr val="808080"/>
                </a:solidFill>
                <a:latin typeface="Consolas" panose="020B0609020204030204" pitchFamily="49" charset="0"/>
              </a:rPr>
              <a:t>,</a:t>
            </a:r>
            <a:r>
              <a:rPr lang="en-US" sz="1400">
                <a:solidFill>
                  <a:srgbClr val="000000"/>
                </a:solidFill>
                <a:latin typeface="Consolas" panose="020B0609020204030204" pitchFamily="49" charset="0"/>
              </a:rPr>
              <a:t> </a:t>
            </a:r>
            <a:r>
              <a:rPr lang="en-US" sz="1400">
                <a:solidFill>
                  <a:srgbClr val="FF0000"/>
                </a:solidFill>
                <a:latin typeface="Consolas" panose="020B0609020204030204" pitchFamily="49" charset="0"/>
              </a:rPr>
              <a:t>'0.0.0.0'</a:t>
            </a:r>
            <a:r>
              <a:rPr lang="en-US" sz="1400">
                <a:solidFill>
                  <a:srgbClr val="808080"/>
                </a:solidFill>
                <a:latin typeface="Consolas" panose="020B0609020204030204" pitchFamily="49" charset="0"/>
              </a:rPr>
              <a:t>,</a:t>
            </a:r>
            <a:r>
              <a:rPr lang="en-US" sz="1400">
                <a:solidFill>
                  <a:srgbClr val="FF0000"/>
                </a:solidFill>
                <a:latin typeface="Consolas" panose="020B0609020204030204" pitchFamily="49" charset="0"/>
              </a:rPr>
              <a:t>'0.0.0.0'</a:t>
            </a:r>
            <a:endParaRPr lang="en-US" sz="1400">
              <a:solidFill>
                <a:srgbClr val="8B0000"/>
              </a:solidFill>
              <a:latin typeface="Lucida Console" panose="020B0609040504020204" pitchFamily="49" charset="0"/>
            </a:endParaRPr>
          </a:p>
        </p:txBody>
      </p:sp>
      <p:sp>
        <p:nvSpPr>
          <p:cNvPr id="13" name="Content Placeholder 6">
            <a:extLst>
              <a:ext uri="{FF2B5EF4-FFF2-40B4-BE49-F238E27FC236}">
                <a16:creationId xmlns:a16="http://schemas.microsoft.com/office/drawing/2014/main" id="{69B265BD-B729-4A75-BA00-ABF23C7625ED}"/>
              </a:ext>
            </a:extLst>
          </p:cNvPr>
          <p:cNvSpPr txBox="1">
            <a:spLocks/>
          </p:cNvSpPr>
          <p:nvPr/>
        </p:nvSpPr>
        <p:spPr>
          <a:xfrm>
            <a:off x="6251574" y="5547360"/>
            <a:ext cx="5284785" cy="822960"/>
          </a:xfrm>
          <a:prstGeom prst="rect">
            <a:avLst/>
          </a:prstGeom>
          <a:ln>
            <a:solidFill>
              <a:schemeClr val="accent1"/>
            </a:solidFill>
          </a:ln>
          <a:effectLst/>
        </p:spPr>
        <p:txBody>
          <a:bodyPr vert="horz" wrap="square" lIns="0" tIns="0" rIns="0" bIns="0" rtlCol="0">
            <a:noAutofit/>
          </a:bodyPr>
          <a:lstStyle>
            <a:lvl1pPr marL="0" indent="0" algn="l" defTabSz="932688" rtl="0" eaLnBrk="1" latinLnBrk="0" hangingPunct="1">
              <a:lnSpc>
                <a:spcPct val="100000"/>
              </a:lnSpc>
              <a:spcBef>
                <a:spcPts val="672"/>
              </a:spcBef>
              <a:buClr>
                <a:schemeClr val="tx1"/>
              </a:buClr>
              <a:buSzPct val="90000"/>
              <a:buFont typeface="Wingdings" panose="05000000000000000000" pitchFamily="2" charset="2"/>
              <a:buNone/>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r>
              <a:rPr lang="en-US" sz="1400">
                <a:solidFill>
                  <a:srgbClr val="008000"/>
                </a:solidFill>
                <a:latin typeface="Consolas" panose="020B0609020204030204" pitchFamily="49" charset="0"/>
              </a:rPr>
              <a:t>-- T-SQL Allow external IP access to SQL Database </a:t>
            </a:r>
            <a:endParaRPr lang="en-US" sz="1400">
              <a:solidFill>
                <a:srgbClr val="000000"/>
              </a:solidFill>
              <a:latin typeface="Consolas" panose="020B0609020204030204" pitchFamily="49" charset="0"/>
            </a:endParaRPr>
          </a:p>
          <a:p>
            <a:r>
              <a:rPr lang="en-US" sz="1400" err="1">
                <a:solidFill>
                  <a:srgbClr val="000000"/>
                </a:solidFill>
                <a:latin typeface="Consolas" panose="020B0609020204030204" pitchFamily="49" charset="0"/>
              </a:rPr>
              <a:t>sp_set_firewall_rule</a:t>
            </a:r>
            <a:r>
              <a:rPr lang="en-US" sz="1400">
                <a:solidFill>
                  <a:srgbClr val="000000"/>
                </a:solidFill>
                <a:latin typeface="Consolas" panose="020B0609020204030204" pitchFamily="49" charset="0"/>
              </a:rPr>
              <a:t> </a:t>
            </a:r>
            <a:r>
              <a:rPr lang="en-US" sz="1400">
                <a:solidFill>
                  <a:srgbClr val="FF0000"/>
                </a:solidFill>
                <a:latin typeface="Consolas" panose="020B0609020204030204" pitchFamily="49" charset="0"/>
              </a:rPr>
              <a:t>N'myRule1'</a:t>
            </a:r>
            <a:r>
              <a:rPr lang="en-US" sz="1400">
                <a:solidFill>
                  <a:srgbClr val="808080"/>
                </a:solidFill>
                <a:latin typeface="Consolas" panose="020B0609020204030204" pitchFamily="49" charset="0"/>
              </a:rPr>
              <a:t>,</a:t>
            </a:r>
            <a:r>
              <a:rPr lang="en-US" sz="1400">
                <a:solidFill>
                  <a:srgbClr val="000000"/>
                </a:solidFill>
                <a:latin typeface="Consolas" panose="020B0609020204030204" pitchFamily="49" charset="0"/>
              </a:rPr>
              <a:t> </a:t>
            </a:r>
            <a:r>
              <a:rPr lang="en-US" sz="1400">
                <a:solidFill>
                  <a:srgbClr val="FF0000"/>
                </a:solidFill>
                <a:latin typeface="Consolas" panose="020B0609020204030204" pitchFamily="49" charset="0"/>
              </a:rPr>
              <a:t>'12.1.1.1'</a:t>
            </a:r>
            <a:r>
              <a:rPr lang="en-US" sz="1400">
                <a:solidFill>
                  <a:srgbClr val="808080"/>
                </a:solidFill>
                <a:latin typeface="Consolas" panose="020B0609020204030204" pitchFamily="49" charset="0"/>
              </a:rPr>
              <a:t>,</a:t>
            </a:r>
            <a:r>
              <a:rPr lang="en-US" sz="1400">
                <a:solidFill>
                  <a:srgbClr val="FF0000"/>
                </a:solidFill>
                <a:latin typeface="Consolas" panose="020B0609020204030204" pitchFamily="49" charset="0"/>
              </a:rPr>
              <a:t>'12.1.1.2'</a:t>
            </a:r>
            <a:endParaRPr lang="en-US" sz="1400">
              <a:solidFill>
                <a:srgbClr val="8B0000"/>
              </a:solidFill>
              <a:latin typeface="Lucida Console" panose="020B0609040504020204" pitchFamily="49" charset="0"/>
            </a:endParaRPr>
          </a:p>
        </p:txBody>
      </p:sp>
    </p:spTree>
    <p:extLst>
      <p:ext uri="{BB962C8B-B14F-4D97-AF65-F5344CB8AC3E}">
        <p14:creationId xmlns:p14="http://schemas.microsoft.com/office/powerpoint/2010/main" val="1344418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9591A-8F78-4C18-A986-C8ADA6DA017D}"/>
              </a:ext>
            </a:extLst>
          </p:cNvPr>
          <p:cNvSpPr>
            <a:spLocks noGrp="1"/>
          </p:cNvSpPr>
          <p:nvPr>
            <p:ph type="title"/>
          </p:nvPr>
        </p:nvSpPr>
        <p:spPr/>
        <p:txBody>
          <a:bodyPr/>
          <a:lstStyle/>
          <a:p>
            <a:r>
              <a:rPr lang="en-US"/>
              <a:t>Virtual Network service endpoints</a:t>
            </a:r>
          </a:p>
        </p:txBody>
      </p:sp>
      <p:graphicFrame>
        <p:nvGraphicFramePr>
          <p:cNvPr id="4" name="Diagram 3">
            <a:extLst>
              <a:ext uri="{FF2B5EF4-FFF2-40B4-BE49-F238E27FC236}">
                <a16:creationId xmlns:a16="http://schemas.microsoft.com/office/drawing/2014/main" id="{06F5A6B1-4BD2-404D-A18D-CE4A90133381}"/>
              </a:ext>
            </a:extLst>
          </p:cNvPr>
          <p:cNvGraphicFramePr/>
          <p:nvPr>
            <p:extLst>
              <p:ext uri="{D42A27DB-BD31-4B8C-83A1-F6EECF244321}">
                <p14:modId xmlns:p14="http://schemas.microsoft.com/office/powerpoint/2010/main" val="2173556748"/>
              </p:ext>
            </p:extLst>
          </p:nvPr>
        </p:nvGraphicFramePr>
        <p:xfrm>
          <a:off x="625929" y="1447337"/>
          <a:ext cx="5908781" cy="42152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F1A4AE25-843B-43DB-8D0C-CC41181BC0F6}"/>
              </a:ext>
            </a:extLst>
          </p:cNvPr>
          <p:cNvPicPr>
            <a:picLocks noChangeAspect="1"/>
          </p:cNvPicPr>
          <p:nvPr/>
        </p:nvPicPr>
        <p:blipFill>
          <a:blip r:embed="rId8"/>
          <a:stretch>
            <a:fillRect/>
          </a:stretch>
        </p:blipFill>
        <p:spPr>
          <a:xfrm>
            <a:off x="6984140" y="1408114"/>
            <a:ext cx="4305300" cy="5000625"/>
          </a:xfrm>
          <a:prstGeom prst="rect">
            <a:avLst/>
          </a:prstGeom>
        </p:spPr>
      </p:pic>
    </p:spTree>
    <p:extLst>
      <p:ext uri="{BB962C8B-B14F-4D97-AF65-F5344CB8AC3E}">
        <p14:creationId xmlns:p14="http://schemas.microsoft.com/office/powerpoint/2010/main" val="602176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383962" cy="604798"/>
          </a:xfrm>
        </p:spPr>
        <p:txBody>
          <a:bodyPr/>
          <a:lstStyle/>
          <a:p>
            <a:r>
              <a:rPr lang="en-US"/>
              <a:t>Lesson 1: Introduction to Azure SQL Database Security</a:t>
            </a:r>
          </a:p>
        </p:txBody>
      </p:sp>
    </p:spTree>
    <p:extLst>
      <p:ext uri="{BB962C8B-B14F-4D97-AF65-F5344CB8AC3E}">
        <p14:creationId xmlns:p14="http://schemas.microsoft.com/office/powerpoint/2010/main" val="40837460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9591A-8F78-4C18-A986-C8ADA6DA017D}"/>
              </a:ext>
            </a:extLst>
          </p:cNvPr>
          <p:cNvSpPr>
            <a:spLocks noGrp="1"/>
          </p:cNvSpPr>
          <p:nvPr>
            <p:ph type="title"/>
          </p:nvPr>
        </p:nvSpPr>
        <p:spPr/>
        <p:txBody>
          <a:bodyPr/>
          <a:lstStyle/>
          <a:p>
            <a:r>
              <a:rPr lang="nb-NO"/>
              <a:t>Private Link* for Azure SQL Database</a:t>
            </a:r>
            <a:endParaRPr lang="en-US"/>
          </a:p>
        </p:txBody>
      </p:sp>
      <p:graphicFrame>
        <p:nvGraphicFramePr>
          <p:cNvPr id="4" name="Diagram 3">
            <a:extLst>
              <a:ext uri="{FF2B5EF4-FFF2-40B4-BE49-F238E27FC236}">
                <a16:creationId xmlns:a16="http://schemas.microsoft.com/office/drawing/2014/main" id="{5A6413BB-0179-42BA-B5EA-977B29E8FDEE}"/>
              </a:ext>
            </a:extLst>
          </p:cNvPr>
          <p:cNvGraphicFramePr/>
          <p:nvPr>
            <p:extLst>
              <p:ext uri="{D42A27DB-BD31-4B8C-83A1-F6EECF244321}">
                <p14:modId xmlns:p14="http://schemas.microsoft.com/office/powerpoint/2010/main" val="2568734755"/>
              </p:ext>
            </p:extLst>
          </p:nvPr>
        </p:nvGraphicFramePr>
        <p:xfrm>
          <a:off x="655636" y="1397228"/>
          <a:ext cx="5522410" cy="43708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0A640C92-0DAB-4397-84E3-E43D44558633}"/>
              </a:ext>
            </a:extLst>
          </p:cNvPr>
          <p:cNvSpPr txBox="1"/>
          <p:nvPr/>
        </p:nvSpPr>
        <p:spPr>
          <a:xfrm>
            <a:off x="478654" y="6142047"/>
            <a:ext cx="3538405" cy="517065"/>
          </a:xfrm>
          <a:prstGeom prst="rect">
            <a:avLst/>
          </a:prstGeom>
          <a:noFill/>
        </p:spPr>
        <p:txBody>
          <a:bodyPr wrap="none" lIns="182880" tIns="146304" rIns="182880" bIns="146304" rtlCol="0">
            <a:spAutoFit/>
          </a:bodyPr>
          <a:lstStyle/>
          <a:p>
            <a:pPr marL="0" marR="0" lvl="0" indent="0" defTabSz="932742"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505050"/>
                    </a:gs>
                    <a:gs pos="30000">
                      <a:srgbClr val="505050"/>
                    </a:gs>
                  </a:gsLst>
                  <a:lin ang="5400000" scaled="0"/>
                </a:gradFill>
                <a:effectLst/>
                <a:uLnTx/>
                <a:uFillTx/>
              </a:rPr>
              <a:t>*Private Link is currently in preview.</a:t>
            </a:r>
          </a:p>
        </p:txBody>
      </p:sp>
      <p:pic>
        <p:nvPicPr>
          <p:cNvPr id="6" name="Picture 5">
            <a:extLst>
              <a:ext uri="{FF2B5EF4-FFF2-40B4-BE49-F238E27FC236}">
                <a16:creationId xmlns:a16="http://schemas.microsoft.com/office/drawing/2014/main" id="{19859A91-AB52-4B39-B684-75828FE9415E}"/>
              </a:ext>
            </a:extLst>
          </p:cNvPr>
          <p:cNvPicPr>
            <a:picLocks noChangeAspect="1"/>
          </p:cNvPicPr>
          <p:nvPr/>
        </p:nvPicPr>
        <p:blipFill>
          <a:blip r:embed="rId8"/>
          <a:stretch>
            <a:fillRect/>
          </a:stretch>
        </p:blipFill>
        <p:spPr>
          <a:xfrm>
            <a:off x="6355030" y="1897635"/>
            <a:ext cx="5522410" cy="3370007"/>
          </a:xfrm>
          <a:prstGeom prst="rect">
            <a:avLst/>
          </a:prstGeom>
        </p:spPr>
      </p:pic>
    </p:spTree>
    <p:extLst>
      <p:ext uri="{BB962C8B-B14F-4D97-AF65-F5344CB8AC3E}">
        <p14:creationId xmlns:p14="http://schemas.microsoft.com/office/powerpoint/2010/main" val="3219170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44963000"/>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411470228"/>
              </p:ext>
            </p:extLst>
          </p:nvPr>
        </p:nvGraphicFramePr>
        <p:xfrm>
          <a:off x="655638" y="1408113"/>
          <a:ext cx="10880725" cy="2935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269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B3F60DE7-21F9-431D-80B0-FDE766B61594}"/>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E74A1925-E31D-40F8-B952-DCD97B7B1D7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fr-FR"/>
              <a:t>Lesson 5: </a:t>
            </a:r>
            <a:r>
              <a:rPr lang="fr-FR" err="1"/>
              <a:t>Implement</a:t>
            </a:r>
            <a:r>
              <a:rPr lang="fr-FR"/>
              <a:t> Transparent Data </a:t>
            </a:r>
            <a:r>
              <a:rPr lang="fr-FR" err="1"/>
              <a:t>Encryption</a:t>
            </a:r>
            <a:endParaRPr lang="en-US"/>
          </a:p>
        </p:txBody>
      </p:sp>
    </p:spTree>
    <p:extLst>
      <p:ext uri="{BB962C8B-B14F-4D97-AF65-F5344CB8AC3E}">
        <p14:creationId xmlns:p14="http://schemas.microsoft.com/office/powerpoint/2010/main" val="30985595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secure data at rest using Transparent Data Encryption.</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776164606"/>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D3E80-A9F5-4245-B989-C2AE6E4A9CB9}"/>
              </a:ext>
            </a:extLst>
          </p:cNvPr>
          <p:cNvSpPr>
            <a:spLocks noGrp="1"/>
          </p:cNvSpPr>
          <p:nvPr>
            <p:ph type="title"/>
          </p:nvPr>
        </p:nvSpPr>
        <p:spPr/>
        <p:txBody>
          <a:bodyPr/>
          <a:lstStyle/>
          <a:p>
            <a:r>
              <a:rPr lang="en-US"/>
              <a:t>Understanding TDE Functionality</a:t>
            </a:r>
          </a:p>
        </p:txBody>
      </p:sp>
      <p:graphicFrame>
        <p:nvGraphicFramePr>
          <p:cNvPr id="28" name="Content Placeholder 27">
            <a:extLst>
              <a:ext uri="{FF2B5EF4-FFF2-40B4-BE49-F238E27FC236}">
                <a16:creationId xmlns:a16="http://schemas.microsoft.com/office/drawing/2014/main" id="{31E3A79F-A4F1-4E22-B803-D79AE89A95B8}"/>
              </a:ext>
            </a:extLst>
          </p:cNvPr>
          <p:cNvGraphicFramePr>
            <a:graphicFrameLocks noGrp="1"/>
          </p:cNvGraphicFramePr>
          <p:nvPr>
            <p:ph sz="quarter" idx="13"/>
            <p:extLst>
              <p:ext uri="{D42A27DB-BD31-4B8C-83A1-F6EECF244321}">
                <p14:modId xmlns:p14="http://schemas.microsoft.com/office/powerpoint/2010/main" val="2491704989"/>
              </p:ext>
            </p:extLst>
          </p:nvPr>
        </p:nvGraphicFramePr>
        <p:xfrm>
          <a:off x="655638" y="1408114"/>
          <a:ext cx="7857408"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Freeform 146">
            <a:extLst>
              <a:ext uri="{FF2B5EF4-FFF2-40B4-BE49-F238E27FC236}">
                <a16:creationId xmlns:a16="http://schemas.microsoft.com/office/drawing/2014/main" id="{38C750E9-2BBD-44E7-8265-F9F070E4920C}"/>
              </a:ext>
            </a:extLst>
          </p:cNvPr>
          <p:cNvSpPr>
            <a:spLocks noChangeAspect="1"/>
          </p:cNvSpPr>
          <p:nvPr/>
        </p:nvSpPr>
        <p:spPr bwMode="auto">
          <a:xfrm>
            <a:off x="8915400" y="2005992"/>
            <a:ext cx="2318110" cy="146807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2050">
              <a:lumMod val="10000"/>
              <a:lumOff val="90000"/>
            </a:srgbClr>
          </a:solidFill>
          <a:ln w="12700" cap="flat" cmpd="sng" algn="ctr">
            <a:solidFill>
              <a:srgbClr val="002050"/>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endParaRPr>
          </a:p>
        </p:txBody>
      </p:sp>
      <p:grpSp>
        <p:nvGrpSpPr>
          <p:cNvPr id="17" name="Group 16">
            <a:extLst>
              <a:ext uri="{FF2B5EF4-FFF2-40B4-BE49-F238E27FC236}">
                <a16:creationId xmlns:a16="http://schemas.microsoft.com/office/drawing/2014/main" id="{81264000-8CD2-4DED-9A91-FED7C30B9256}"/>
              </a:ext>
            </a:extLst>
          </p:cNvPr>
          <p:cNvGrpSpPr/>
          <p:nvPr/>
        </p:nvGrpSpPr>
        <p:grpSpPr>
          <a:xfrm>
            <a:off x="9816683" y="2358548"/>
            <a:ext cx="641294" cy="842504"/>
            <a:chOff x="8165381" y="1732579"/>
            <a:chExt cx="541094" cy="710864"/>
          </a:xfrm>
        </p:grpSpPr>
        <p:grpSp>
          <p:nvGrpSpPr>
            <p:cNvPr id="18" name="Group 17">
              <a:extLst>
                <a:ext uri="{FF2B5EF4-FFF2-40B4-BE49-F238E27FC236}">
                  <a16:creationId xmlns:a16="http://schemas.microsoft.com/office/drawing/2014/main" id="{7C61A48A-BDE5-420B-B764-E370D9B90B2A}"/>
                </a:ext>
              </a:extLst>
            </p:cNvPr>
            <p:cNvGrpSpPr/>
            <p:nvPr/>
          </p:nvGrpSpPr>
          <p:grpSpPr>
            <a:xfrm>
              <a:off x="8324133" y="2014002"/>
              <a:ext cx="223589" cy="349343"/>
              <a:chOff x="9483369" y="4100687"/>
              <a:chExt cx="385258" cy="601941"/>
            </a:xfrm>
            <a:solidFill>
              <a:srgbClr val="FFFFFF">
                <a:lumMod val="95000"/>
              </a:srgbClr>
            </a:solidFill>
          </p:grpSpPr>
          <p:sp>
            <p:nvSpPr>
              <p:cNvPr id="20" name="Freeform: Shape 19">
                <a:extLst>
                  <a:ext uri="{FF2B5EF4-FFF2-40B4-BE49-F238E27FC236}">
                    <a16:creationId xmlns:a16="http://schemas.microsoft.com/office/drawing/2014/main" id="{0489ED44-7AB0-430E-974E-2A610D7CA77A}"/>
                  </a:ext>
                </a:extLst>
              </p:cNvPr>
              <p:cNvSpPr/>
              <p:nvPr/>
            </p:nvSpPr>
            <p:spPr bwMode="auto">
              <a:xfrm>
                <a:off x="9545329" y="4100687"/>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205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21" name="Freeform: Shape 20">
                <a:extLst>
                  <a:ext uri="{FF2B5EF4-FFF2-40B4-BE49-F238E27FC236}">
                    <a16:creationId xmlns:a16="http://schemas.microsoft.com/office/drawing/2014/main" id="{B132E92D-9F3D-4DF4-B45E-C66AA4001A12}"/>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rgbClr val="002050"/>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
          <p:nvSpPr>
            <p:cNvPr id="19" name="Cylinder 513">
              <a:extLst>
                <a:ext uri="{FF2B5EF4-FFF2-40B4-BE49-F238E27FC236}">
                  <a16:creationId xmlns:a16="http://schemas.microsoft.com/office/drawing/2014/main" id="{909D39B3-6CDD-4BF6-920E-A363A63D3F03}"/>
                </a:ext>
              </a:extLst>
            </p:cNvPr>
            <p:cNvSpPr/>
            <p:nvPr/>
          </p:nvSpPr>
          <p:spPr bwMode="auto">
            <a:xfrm>
              <a:off x="8165381" y="1732579"/>
              <a:ext cx="541094" cy="710864"/>
            </a:xfrm>
            <a:prstGeom prst="can">
              <a:avLst>
                <a:gd name="adj" fmla="val 39530"/>
              </a:avLst>
            </a:prstGeom>
            <a:noFill/>
            <a:ln w="12700" cap="flat" cmpd="sng" algn="ctr">
              <a:solidFill>
                <a:srgbClr val="002050"/>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pitchFamily="34" charset="0"/>
              </a:endParaRPr>
            </a:p>
          </p:txBody>
        </p:sp>
      </p:grpSp>
      <p:sp>
        <p:nvSpPr>
          <p:cNvPr id="22" name="TextBox 21">
            <a:extLst>
              <a:ext uri="{FF2B5EF4-FFF2-40B4-BE49-F238E27FC236}">
                <a16:creationId xmlns:a16="http://schemas.microsoft.com/office/drawing/2014/main" id="{B2379BD1-0C30-47BF-9E13-A05F2B229CA2}"/>
              </a:ext>
            </a:extLst>
          </p:cNvPr>
          <p:cNvSpPr txBox="1"/>
          <p:nvPr/>
        </p:nvSpPr>
        <p:spPr>
          <a:xfrm>
            <a:off x="9245471" y="1408114"/>
            <a:ext cx="1780497" cy="276999"/>
          </a:xfrm>
          <a:prstGeom prst="rect">
            <a:avLst/>
          </a:prstGeom>
          <a:noFill/>
        </p:spPr>
        <p:txBody>
          <a:bodyPr wrap="square"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rPr>
              <a:t>SQL Database</a:t>
            </a:r>
          </a:p>
        </p:txBody>
      </p:sp>
      <p:sp>
        <p:nvSpPr>
          <p:cNvPr id="23" name="Freeform 5">
            <a:extLst>
              <a:ext uri="{FF2B5EF4-FFF2-40B4-BE49-F238E27FC236}">
                <a16:creationId xmlns:a16="http://schemas.microsoft.com/office/drawing/2014/main" id="{E737D0D4-40BA-4C8F-89C9-32D50343BA86}"/>
              </a:ext>
            </a:extLst>
          </p:cNvPr>
          <p:cNvSpPr>
            <a:spLocks noEditPoints="1"/>
          </p:cNvSpPr>
          <p:nvPr/>
        </p:nvSpPr>
        <p:spPr bwMode="auto">
          <a:xfrm>
            <a:off x="9054641" y="4247878"/>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4" name="Freeform 5">
            <a:extLst>
              <a:ext uri="{FF2B5EF4-FFF2-40B4-BE49-F238E27FC236}">
                <a16:creationId xmlns:a16="http://schemas.microsoft.com/office/drawing/2014/main" id="{E5AD14E3-8925-4ADB-B2C6-745AFCD484C9}"/>
              </a:ext>
            </a:extLst>
          </p:cNvPr>
          <p:cNvSpPr>
            <a:spLocks noEditPoints="1"/>
          </p:cNvSpPr>
          <p:nvPr/>
        </p:nvSpPr>
        <p:spPr bwMode="auto">
          <a:xfrm>
            <a:off x="9901474" y="4247878"/>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5" name="Freeform 5">
            <a:extLst>
              <a:ext uri="{FF2B5EF4-FFF2-40B4-BE49-F238E27FC236}">
                <a16:creationId xmlns:a16="http://schemas.microsoft.com/office/drawing/2014/main" id="{41E93A0C-9709-4408-9BE7-E3E72070F57F}"/>
              </a:ext>
            </a:extLst>
          </p:cNvPr>
          <p:cNvSpPr>
            <a:spLocks noEditPoints="1"/>
          </p:cNvSpPr>
          <p:nvPr/>
        </p:nvSpPr>
        <p:spPr bwMode="auto">
          <a:xfrm>
            <a:off x="10748307" y="4247878"/>
            <a:ext cx="471713" cy="52705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cxnSp>
        <p:nvCxnSpPr>
          <p:cNvPr id="26" name="Connector: Elbow 25">
            <a:extLst>
              <a:ext uri="{FF2B5EF4-FFF2-40B4-BE49-F238E27FC236}">
                <a16:creationId xmlns:a16="http://schemas.microsoft.com/office/drawing/2014/main" id="{BAAC2759-E842-4F39-9836-873004C23352}"/>
              </a:ext>
            </a:extLst>
          </p:cNvPr>
          <p:cNvCxnSpPr>
            <a:cxnSpLocks/>
            <a:stCxn id="25" idx="1"/>
            <a:endCxn id="23" idx="1"/>
          </p:cNvCxnSpPr>
          <p:nvPr/>
        </p:nvCxnSpPr>
        <p:spPr>
          <a:xfrm flipH="1">
            <a:off x="9292415" y="4247878"/>
            <a:ext cx="1693666" cy="12700"/>
          </a:xfrm>
          <a:prstGeom prst="bentConnector5">
            <a:avLst>
              <a:gd name="adj1" fmla="val -794"/>
              <a:gd name="adj2" fmla="val -3488244"/>
              <a:gd name="adj3" fmla="val 99853"/>
            </a:avLst>
          </a:prstGeom>
          <a:noFill/>
          <a:ln w="12700" cap="flat" cmpd="sng" algn="ctr">
            <a:solidFill>
              <a:srgbClr val="002050"/>
            </a:solidFill>
            <a:prstDash val="solid"/>
            <a:headEnd type="none"/>
            <a:tailEnd type="none"/>
          </a:ln>
          <a:effectLst/>
        </p:spPr>
      </p:cxnSp>
      <p:cxnSp>
        <p:nvCxnSpPr>
          <p:cNvPr id="27" name="Straight Connector 26">
            <a:extLst>
              <a:ext uri="{FF2B5EF4-FFF2-40B4-BE49-F238E27FC236}">
                <a16:creationId xmlns:a16="http://schemas.microsoft.com/office/drawing/2014/main" id="{47DBA4DB-9AB7-4B9B-AC6F-442561EE68F1}"/>
              </a:ext>
            </a:extLst>
          </p:cNvPr>
          <p:cNvCxnSpPr>
            <a:stCxn id="19" idx="3"/>
            <a:endCxn id="24" idx="1"/>
          </p:cNvCxnSpPr>
          <p:nvPr/>
        </p:nvCxnSpPr>
        <p:spPr>
          <a:xfrm>
            <a:off x="10137330" y="3201052"/>
            <a:ext cx="1918" cy="1046826"/>
          </a:xfrm>
          <a:prstGeom prst="line">
            <a:avLst/>
          </a:prstGeom>
          <a:noFill/>
          <a:ln w="12700" cap="flat" cmpd="sng" algn="ctr">
            <a:solidFill>
              <a:srgbClr val="002050"/>
            </a:solidFill>
            <a:prstDash val="solid"/>
            <a:headEnd type="none"/>
            <a:tailEnd type="none"/>
          </a:ln>
          <a:effectLst/>
        </p:spPr>
      </p:cxnSp>
    </p:spTree>
    <p:extLst>
      <p:ext uri="{BB962C8B-B14F-4D97-AF65-F5344CB8AC3E}">
        <p14:creationId xmlns:p14="http://schemas.microsoft.com/office/powerpoint/2010/main" val="24619823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D3E80-A9F5-4245-B989-C2AE6E4A9CB9}"/>
              </a:ext>
            </a:extLst>
          </p:cNvPr>
          <p:cNvSpPr>
            <a:spLocks noGrp="1"/>
          </p:cNvSpPr>
          <p:nvPr>
            <p:ph type="title"/>
          </p:nvPr>
        </p:nvSpPr>
        <p:spPr/>
        <p:txBody>
          <a:bodyPr/>
          <a:lstStyle/>
          <a:p>
            <a:r>
              <a:rPr lang="en-US"/>
              <a:t>Encryption Keys</a:t>
            </a:r>
          </a:p>
        </p:txBody>
      </p:sp>
      <p:graphicFrame>
        <p:nvGraphicFramePr>
          <p:cNvPr id="4" name="Content Placeholder 3">
            <a:extLst>
              <a:ext uri="{FF2B5EF4-FFF2-40B4-BE49-F238E27FC236}">
                <a16:creationId xmlns:a16="http://schemas.microsoft.com/office/drawing/2014/main" id="{D6C7F796-D01D-42D4-9F06-40D884359220}"/>
              </a:ext>
            </a:extLst>
          </p:cNvPr>
          <p:cNvGraphicFramePr>
            <a:graphicFrameLocks noGrp="1"/>
          </p:cNvGraphicFramePr>
          <p:nvPr>
            <p:ph sz="quarter" idx="13"/>
            <p:extLst>
              <p:ext uri="{D42A27DB-BD31-4B8C-83A1-F6EECF244321}">
                <p14:modId xmlns:p14="http://schemas.microsoft.com/office/powerpoint/2010/main" val="1205524125"/>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4852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D3E80-A9F5-4245-B989-C2AE6E4A9CB9}"/>
              </a:ext>
            </a:extLst>
          </p:cNvPr>
          <p:cNvSpPr>
            <a:spLocks noGrp="1"/>
          </p:cNvSpPr>
          <p:nvPr>
            <p:ph type="title"/>
          </p:nvPr>
        </p:nvSpPr>
        <p:spPr/>
        <p:txBody>
          <a:bodyPr/>
          <a:lstStyle/>
          <a:p>
            <a:r>
              <a:rPr lang="en-US"/>
              <a:t>Enable TDE Using Azure Portal</a:t>
            </a:r>
          </a:p>
        </p:txBody>
      </p:sp>
      <p:sp>
        <p:nvSpPr>
          <p:cNvPr id="3" name="Content Placeholder 2">
            <a:extLst>
              <a:ext uri="{FF2B5EF4-FFF2-40B4-BE49-F238E27FC236}">
                <a16:creationId xmlns:a16="http://schemas.microsoft.com/office/drawing/2014/main" id="{33CAB651-158D-4103-ADB9-3081943FD676}"/>
              </a:ext>
            </a:extLst>
          </p:cNvPr>
          <p:cNvSpPr>
            <a:spLocks noGrp="1"/>
          </p:cNvSpPr>
          <p:nvPr>
            <p:ph sz="quarter" idx="13"/>
          </p:nvPr>
        </p:nvSpPr>
        <p:spPr/>
        <p:txBody>
          <a:bodyPr/>
          <a:lstStyle/>
          <a:p>
            <a:endParaRPr lang="en-US"/>
          </a:p>
        </p:txBody>
      </p:sp>
      <p:pic>
        <p:nvPicPr>
          <p:cNvPr id="5" name="Content Placeholder 4">
            <a:extLst>
              <a:ext uri="{FF2B5EF4-FFF2-40B4-BE49-F238E27FC236}">
                <a16:creationId xmlns:a16="http://schemas.microsoft.com/office/drawing/2014/main" id="{8711795A-5CFB-4078-B64D-A2CC8E1807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637" y="1380900"/>
            <a:ext cx="10880725" cy="5008996"/>
          </a:xfrm>
          <a:prstGeom prst="rect">
            <a:avLst/>
          </a:prstGeom>
        </p:spPr>
      </p:pic>
    </p:spTree>
    <p:extLst>
      <p:ext uri="{BB962C8B-B14F-4D97-AF65-F5344CB8AC3E}">
        <p14:creationId xmlns:p14="http://schemas.microsoft.com/office/powerpoint/2010/main" val="2811855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D3E80-A9F5-4245-B989-C2AE6E4A9CB9}"/>
              </a:ext>
            </a:extLst>
          </p:cNvPr>
          <p:cNvSpPr>
            <a:spLocks noGrp="1"/>
          </p:cNvSpPr>
          <p:nvPr>
            <p:ph type="title"/>
          </p:nvPr>
        </p:nvSpPr>
        <p:spPr>
          <a:xfrm>
            <a:off x="655638" y="320040"/>
            <a:ext cx="10880725" cy="461665"/>
          </a:xfrm>
        </p:spPr>
        <p:txBody>
          <a:bodyPr/>
          <a:lstStyle/>
          <a:p>
            <a:r>
              <a:rPr lang="en-US"/>
              <a:t>TDE with customer-managed key (BYOK)</a:t>
            </a:r>
          </a:p>
        </p:txBody>
      </p:sp>
      <p:graphicFrame>
        <p:nvGraphicFramePr>
          <p:cNvPr id="5" name="Content Placeholder 4">
            <a:extLst>
              <a:ext uri="{FF2B5EF4-FFF2-40B4-BE49-F238E27FC236}">
                <a16:creationId xmlns:a16="http://schemas.microsoft.com/office/drawing/2014/main" id="{45C71BE8-5095-407F-98C3-01A8AFF95914}"/>
              </a:ext>
            </a:extLst>
          </p:cNvPr>
          <p:cNvGraphicFramePr>
            <a:graphicFrameLocks noGrp="1"/>
          </p:cNvGraphicFramePr>
          <p:nvPr>
            <p:ph sz="quarter" idx="13"/>
            <p:extLst>
              <p:ext uri="{D42A27DB-BD31-4B8C-83A1-F6EECF244321}">
                <p14:modId xmlns:p14="http://schemas.microsoft.com/office/powerpoint/2010/main" val="3078329043"/>
              </p:ext>
            </p:extLst>
          </p:nvPr>
        </p:nvGraphicFramePr>
        <p:xfrm>
          <a:off x="655638" y="1408114"/>
          <a:ext cx="54403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8E359964-83FA-4595-9E87-88F7EF0FCF02}"/>
              </a:ext>
            </a:extLst>
          </p:cNvPr>
          <p:cNvPicPr>
            <a:picLocks noChangeAspect="1"/>
          </p:cNvPicPr>
          <p:nvPr/>
        </p:nvPicPr>
        <p:blipFill>
          <a:blip r:embed="rId8"/>
          <a:stretch>
            <a:fillRect/>
          </a:stretch>
        </p:blipFill>
        <p:spPr>
          <a:xfrm>
            <a:off x="6238106" y="2317102"/>
            <a:ext cx="5298256" cy="3001674"/>
          </a:xfrm>
          <a:prstGeom prst="rect">
            <a:avLst/>
          </a:prstGeom>
        </p:spPr>
      </p:pic>
    </p:spTree>
    <p:extLst>
      <p:ext uri="{BB962C8B-B14F-4D97-AF65-F5344CB8AC3E}">
        <p14:creationId xmlns:p14="http://schemas.microsoft.com/office/powerpoint/2010/main" val="28198021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br>
              <a:rPr lang="en-US"/>
            </a:br>
            <a:endParaRPr lang="en-US"/>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Implement TDE using Azure Portal and T-SQL Code</a:t>
            </a:r>
          </a:p>
          <a:p>
            <a:pPr marL="571500" lvl="1" indent="-342900">
              <a:buFont typeface="Arial" panose="020B0604020202020204" pitchFamily="34" charset="0"/>
              <a:buChar char="•"/>
            </a:pPr>
            <a:r>
              <a:rPr lang="en-US"/>
              <a:t>Enable TDE With Bring Your Own Key using Azure Portal.</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74330831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the various options to manage security for a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227673448"/>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16188124"/>
              </p:ext>
            </p:extLst>
          </p:nvPr>
        </p:nvGraphicFramePr>
        <p:xfrm>
          <a:off x="655638" y="1408113"/>
          <a:ext cx="10880725" cy="2935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6538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A1C58C77-57D6-42C3-8990-B90D8EF58A2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1CAA3CB0-AB64-4F9C-B1AD-E0D3EE5A065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a:t>Lesson 6: Implement Always Encrypted</a:t>
            </a:r>
          </a:p>
        </p:txBody>
      </p:sp>
    </p:spTree>
    <p:extLst>
      <p:ext uri="{BB962C8B-B14F-4D97-AF65-F5344CB8AC3E}">
        <p14:creationId xmlns:p14="http://schemas.microsoft.com/office/powerpoint/2010/main" val="4159993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secure data at rest and in motion using Always encrypted.</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586828188"/>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p:txBody>
          <a:bodyPr/>
          <a:lstStyle/>
          <a:p>
            <a:r>
              <a:rPr lang="en-US"/>
              <a:t>Always Encrypted</a:t>
            </a:r>
          </a:p>
        </p:txBody>
      </p:sp>
      <p:graphicFrame>
        <p:nvGraphicFramePr>
          <p:cNvPr id="4" name="Diagram 3">
            <a:extLst>
              <a:ext uri="{FF2B5EF4-FFF2-40B4-BE49-F238E27FC236}">
                <a16:creationId xmlns:a16="http://schemas.microsoft.com/office/drawing/2014/main" id="{FD6C6B3B-12A4-4E06-85F3-6D72939C5A84}"/>
              </a:ext>
            </a:extLst>
          </p:cNvPr>
          <p:cNvGraphicFramePr/>
          <p:nvPr>
            <p:extLst>
              <p:ext uri="{D42A27DB-BD31-4B8C-83A1-F6EECF244321}">
                <p14:modId xmlns:p14="http://schemas.microsoft.com/office/powerpoint/2010/main" val="2116768732"/>
              </p:ext>
            </p:extLst>
          </p:nvPr>
        </p:nvGraphicFramePr>
        <p:xfrm>
          <a:off x="655636" y="1375457"/>
          <a:ext cx="10880725" cy="48523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38446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p:txBody>
          <a:bodyPr/>
          <a:lstStyle/>
          <a:p>
            <a:r>
              <a:rPr lang="en-US"/>
              <a:t>Understanding Always Encrypted Functionality</a:t>
            </a:r>
          </a:p>
        </p:txBody>
      </p:sp>
      <p:graphicFrame>
        <p:nvGraphicFramePr>
          <p:cNvPr id="47" name="Content Placeholder 46">
            <a:extLst>
              <a:ext uri="{FF2B5EF4-FFF2-40B4-BE49-F238E27FC236}">
                <a16:creationId xmlns:a16="http://schemas.microsoft.com/office/drawing/2014/main" id="{F76C2B60-F8CF-4D35-8709-9BE17FBCE170}"/>
              </a:ext>
            </a:extLst>
          </p:cNvPr>
          <p:cNvGraphicFramePr>
            <a:graphicFrameLocks noGrp="1"/>
          </p:cNvGraphicFramePr>
          <p:nvPr>
            <p:ph sz="quarter" idx="13"/>
            <p:extLst>
              <p:ext uri="{D42A27DB-BD31-4B8C-83A1-F6EECF244321}">
                <p14:modId xmlns:p14="http://schemas.microsoft.com/office/powerpoint/2010/main" val="2273923603"/>
              </p:ext>
            </p:extLst>
          </p:nvPr>
        </p:nvGraphicFramePr>
        <p:xfrm>
          <a:off x="7814174" y="1408114"/>
          <a:ext cx="3722189" cy="481965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3">
            <a:extLst>
              <a:ext uri="{FF2B5EF4-FFF2-40B4-BE49-F238E27FC236}">
                <a16:creationId xmlns:a16="http://schemas.microsoft.com/office/drawing/2014/main" id="{46A038FF-3A24-4E6F-87D5-1A4D9E1D1C20}"/>
              </a:ext>
            </a:extLst>
          </p:cNvPr>
          <p:cNvSpPr/>
          <p:nvPr/>
        </p:nvSpPr>
        <p:spPr bwMode="auto">
          <a:xfrm>
            <a:off x="661079" y="1440771"/>
            <a:ext cx="7050314" cy="4254709"/>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89604" tIns="179208" rIns="179208" bIns="44802" numCol="1" spcCol="0" rtlCol="0" fromWordArt="0" anchor="t" anchorCtr="0" forceAA="0" compatLnSpc="1">
            <a:prstTxWarp prst="textNoShape">
              <a:avLst/>
            </a:prstTxWarp>
            <a:noAutofit/>
          </a:bodyPr>
          <a:lstStyle/>
          <a:p>
            <a:pPr algn="r" defTabSz="912979">
              <a:lnSpc>
                <a:spcPct val="90000"/>
              </a:lnSpc>
              <a:spcAft>
                <a:spcPts val="588"/>
              </a:spcAft>
              <a:defRPr/>
            </a:pPr>
            <a:r>
              <a:rPr lang="en-US" sz="1961" kern="0">
                <a:solidFill>
                  <a:srgbClr val="FFFFFF"/>
                </a:solidFill>
                <a:latin typeface="Segoe UI Semibold" panose="020B0702040204020203" pitchFamily="34" charset="0"/>
                <a:cs typeface="Segoe UI Semibold" panose="020B0702040204020203" pitchFamily="34" charset="0"/>
              </a:rPr>
              <a:t>Data remains encrypted </a:t>
            </a:r>
            <a:br>
              <a:rPr lang="en-US" sz="1961" kern="0">
                <a:solidFill>
                  <a:srgbClr val="FFFFFF"/>
                </a:solidFill>
                <a:latin typeface="Segoe UI Semibold" panose="020B0702040204020203" pitchFamily="34" charset="0"/>
                <a:cs typeface="Segoe UI Semibold" panose="020B0702040204020203" pitchFamily="34" charset="0"/>
              </a:rPr>
            </a:br>
            <a:r>
              <a:rPr lang="en-US" sz="1961" kern="0">
                <a:solidFill>
                  <a:srgbClr val="FFFFFF"/>
                </a:solidFill>
                <a:latin typeface="Segoe UI Semibold" panose="020B0702040204020203" pitchFamily="34" charset="0"/>
                <a:cs typeface="Segoe UI Semibold" panose="020B0702040204020203" pitchFamily="34" charset="0"/>
              </a:rPr>
              <a:t>during query</a:t>
            </a:r>
          </a:p>
        </p:txBody>
      </p:sp>
      <p:grpSp>
        <p:nvGrpSpPr>
          <p:cNvPr id="5" name="Group 4">
            <a:extLst>
              <a:ext uri="{FF2B5EF4-FFF2-40B4-BE49-F238E27FC236}">
                <a16:creationId xmlns:a16="http://schemas.microsoft.com/office/drawing/2014/main" id="{DC70D188-5658-4D93-B100-F300B1406370}"/>
              </a:ext>
            </a:extLst>
          </p:cNvPr>
          <p:cNvGrpSpPr/>
          <p:nvPr/>
        </p:nvGrpSpPr>
        <p:grpSpPr>
          <a:xfrm>
            <a:off x="6297440" y="3031294"/>
            <a:ext cx="799883" cy="1038725"/>
            <a:chOff x="9791917" y="3493013"/>
            <a:chExt cx="493807" cy="641257"/>
          </a:xfrm>
        </p:grpSpPr>
        <p:sp>
          <p:nvSpPr>
            <p:cNvPr id="6" name="Oval 122">
              <a:extLst>
                <a:ext uri="{FF2B5EF4-FFF2-40B4-BE49-F238E27FC236}">
                  <a16:creationId xmlns:a16="http://schemas.microsoft.com/office/drawing/2014/main" id="{79A4AC23-205F-481E-8A6C-F356E5F3240C}"/>
                </a:ext>
              </a:extLst>
            </p:cNvPr>
            <p:cNvSpPr>
              <a:spLocks noChangeArrowheads="1"/>
            </p:cNvSpPr>
            <p:nvPr/>
          </p:nvSpPr>
          <p:spPr bwMode="auto">
            <a:xfrm>
              <a:off x="9800365" y="3493013"/>
              <a:ext cx="476912" cy="90621"/>
            </a:xfrm>
            <a:prstGeom prst="ellipse">
              <a:avLst/>
            </a:prstGeom>
            <a:solidFill>
              <a:srgbClr val="0072C6">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defTabSz="91387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94949"/>
                </a:solidFill>
                <a:effectLst/>
                <a:uLnTx/>
                <a:uFillTx/>
              </a:endParaRPr>
            </a:p>
          </p:txBody>
        </p:sp>
        <p:sp>
          <p:nvSpPr>
            <p:cNvPr id="7" name="Freeform 123">
              <a:extLst>
                <a:ext uri="{FF2B5EF4-FFF2-40B4-BE49-F238E27FC236}">
                  <a16:creationId xmlns:a16="http://schemas.microsoft.com/office/drawing/2014/main" id="{E4A31397-F924-4BB8-A82F-49FDDDD8255A}"/>
                </a:ext>
              </a:extLst>
            </p:cNvPr>
            <p:cNvSpPr>
              <a:spLocks noEditPoints="1"/>
            </p:cNvSpPr>
            <p:nvPr/>
          </p:nvSpPr>
          <p:spPr bwMode="auto">
            <a:xfrm>
              <a:off x="9791917" y="3555987"/>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marL="0" marR="0" lvl="0" indent="0" defTabSz="913874"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94949"/>
                </a:solidFill>
                <a:effectLst/>
                <a:uLnTx/>
                <a:uFillTx/>
              </a:endParaRPr>
            </a:p>
          </p:txBody>
        </p:sp>
      </p:grpSp>
      <p:cxnSp>
        <p:nvCxnSpPr>
          <p:cNvPr id="8" name="Straight Connector 7">
            <a:extLst>
              <a:ext uri="{FF2B5EF4-FFF2-40B4-BE49-F238E27FC236}">
                <a16:creationId xmlns:a16="http://schemas.microsoft.com/office/drawing/2014/main" id="{5F1CA4EA-18DE-4253-95FF-1D81B5DCF529}"/>
              </a:ext>
            </a:extLst>
          </p:cNvPr>
          <p:cNvCxnSpPr>
            <a:stCxn id="4" idx="0"/>
            <a:endCxn id="4" idx="2"/>
          </p:cNvCxnSpPr>
          <p:nvPr/>
        </p:nvCxnSpPr>
        <p:spPr>
          <a:xfrm>
            <a:off x="4186234" y="1440771"/>
            <a:ext cx="0" cy="4254709"/>
          </a:xfrm>
          <a:prstGeom prst="line">
            <a:avLst/>
          </a:prstGeom>
          <a:noFill/>
          <a:ln w="63500" cap="flat" cmpd="sng" algn="ctr">
            <a:solidFill>
              <a:srgbClr val="FFFFFF">
                <a:lumMod val="50000"/>
              </a:srgbClr>
            </a:solidFill>
            <a:prstDash val="solid"/>
            <a:headEnd type="none"/>
            <a:tailEnd type="none"/>
          </a:ln>
          <a:effectLst/>
        </p:spPr>
      </p:cxnSp>
      <p:sp>
        <p:nvSpPr>
          <p:cNvPr id="9" name="TextBox 8">
            <a:extLst>
              <a:ext uri="{FF2B5EF4-FFF2-40B4-BE49-F238E27FC236}">
                <a16:creationId xmlns:a16="http://schemas.microsoft.com/office/drawing/2014/main" id="{C600D50B-07C3-4B3A-B698-8FB1E93EE793}"/>
              </a:ext>
            </a:extLst>
          </p:cNvPr>
          <p:cNvSpPr txBox="1"/>
          <p:nvPr/>
        </p:nvSpPr>
        <p:spPr>
          <a:xfrm>
            <a:off x="745599" y="2739845"/>
            <a:ext cx="1509406" cy="244426"/>
          </a:xfrm>
          <a:prstGeom prst="rect">
            <a:avLst/>
          </a:prstGeom>
          <a:noFill/>
        </p:spPr>
        <p:txBody>
          <a:bodyPr wrap="square" lIns="0" tIns="0" rIns="0" bIns="0" rtlCol="0">
            <a:spAutoFit/>
          </a:bodyPr>
          <a:lstStyle/>
          <a:p>
            <a:pPr algn="ctr" defTabSz="912979">
              <a:lnSpc>
                <a:spcPct val="90000"/>
              </a:lnSpc>
              <a:spcAft>
                <a:spcPts val="588"/>
              </a:spcAft>
            </a:pPr>
            <a:r>
              <a:rPr lang="en-US" sz="1765">
                <a:solidFill>
                  <a:srgbClr val="FFFFFF"/>
                </a:solidFill>
                <a:latin typeface="Segoe UI Semibold" panose="020B0702040204020203" pitchFamily="34" charset="0"/>
                <a:cs typeface="Segoe UI Semibold" panose="020B0702040204020203" pitchFamily="34" charset="0"/>
              </a:rPr>
              <a:t>Apps</a:t>
            </a:r>
          </a:p>
        </p:txBody>
      </p:sp>
      <p:sp>
        <p:nvSpPr>
          <p:cNvPr id="10" name="Right Arrow 56">
            <a:extLst>
              <a:ext uri="{FF2B5EF4-FFF2-40B4-BE49-F238E27FC236}">
                <a16:creationId xmlns:a16="http://schemas.microsoft.com/office/drawing/2014/main" id="{0DCF8FB7-3EF2-4FD6-8BC1-BC4244C0A7AE}"/>
              </a:ext>
            </a:extLst>
          </p:cNvPr>
          <p:cNvSpPr/>
          <p:nvPr/>
        </p:nvSpPr>
        <p:spPr bwMode="auto">
          <a:xfrm>
            <a:off x="2253203" y="3280641"/>
            <a:ext cx="896042" cy="242805"/>
          </a:xfrm>
          <a:prstGeom prst="rightArrow">
            <a:avLst>
              <a:gd name="adj1" fmla="val 50000"/>
              <a:gd name="adj2" fmla="val 42077"/>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1" name="Right Arrow 57">
            <a:extLst>
              <a:ext uri="{FF2B5EF4-FFF2-40B4-BE49-F238E27FC236}">
                <a16:creationId xmlns:a16="http://schemas.microsoft.com/office/drawing/2014/main" id="{EA721D79-4634-4A26-9C0C-2D93AD9C14B7}"/>
              </a:ext>
            </a:extLst>
          </p:cNvPr>
          <p:cNvSpPr/>
          <p:nvPr/>
        </p:nvSpPr>
        <p:spPr bwMode="auto">
          <a:xfrm flipH="1">
            <a:off x="2253203" y="3768197"/>
            <a:ext cx="896042" cy="242805"/>
          </a:xfrm>
          <a:prstGeom prst="rightArrow">
            <a:avLst>
              <a:gd name="adj1" fmla="val 50000"/>
              <a:gd name="adj2" fmla="val 42077"/>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2" name="U-Turn Arrow 58">
            <a:extLst>
              <a:ext uri="{FF2B5EF4-FFF2-40B4-BE49-F238E27FC236}">
                <a16:creationId xmlns:a16="http://schemas.microsoft.com/office/drawing/2014/main" id="{B1ED31F0-2E2D-41EA-BBEF-CEAEABC754C0}"/>
              </a:ext>
            </a:extLst>
          </p:cNvPr>
          <p:cNvSpPr/>
          <p:nvPr/>
        </p:nvSpPr>
        <p:spPr bwMode="auto">
          <a:xfrm rot="5400000">
            <a:off x="5111599" y="3306114"/>
            <a:ext cx="692755" cy="717022"/>
          </a:xfrm>
          <a:prstGeom prst="uturnArrow">
            <a:avLst>
              <a:gd name="adj1" fmla="val 17093"/>
              <a:gd name="adj2" fmla="val 20379"/>
              <a:gd name="adj3" fmla="val 16398"/>
              <a:gd name="adj4" fmla="val 44310"/>
              <a:gd name="adj5" fmla="val 100000"/>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3" name="Freeform 59">
            <a:extLst>
              <a:ext uri="{FF2B5EF4-FFF2-40B4-BE49-F238E27FC236}">
                <a16:creationId xmlns:a16="http://schemas.microsoft.com/office/drawing/2014/main" id="{96B31049-86BD-4A34-B33F-9DA78ACD7B99}"/>
              </a:ext>
            </a:extLst>
          </p:cNvPr>
          <p:cNvSpPr/>
          <p:nvPr/>
        </p:nvSpPr>
        <p:spPr bwMode="auto">
          <a:xfrm>
            <a:off x="3189633" y="2721831"/>
            <a:ext cx="933193" cy="1013530"/>
          </a:xfrm>
          <a:custGeom>
            <a:avLst/>
            <a:gdLst>
              <a:gd name="connsiteX0" fmla="*/ 79459 w 1537818"/>
              <a:gd name="connsiteY0" fmla="*/ 0 h 1670206"/>
              <a:gd name="connsiteX1" fmla="*/ 767480 w 1537818"/>
              <a:gd name="connsiteY1" fmla="*/ 0 h 1670206"/>
              <a:gd name="connsiteX2" fmla="*/ 1458359 w 1537818"/>
              <a:gd name="connsiteY2" fmla="*/ 0 h 1670206"/>
              <a:gd name="connsiteX3" fmla="*/ 1537818 w 1537818"/>
              <a:gd name="connsiteY3" fmla="*/ 0 h 1670206"/>
              <a:gd name="connsiteX4" fmla="*/ 1537818 w 1537818"/>
              <a:gd name="connsiteY4" fmla="*/ 79459 h 1670206"/>
              <a:gd name="connsiteX5" fmla="*/ 1537818 w 1537818"/>
              <a:gd name="connsiteY5" fmla="*/ 1670206 h 1670206"/>
              <a:gd name="connsiteX6" fmla="*/ 767480 w 1537818"/>
              <a:gd name="connsiteY6" fmla="*/ 1670206 h 1670206"/>
              <a:gd name="connsiteX7" fmla="*/ 0 w 1537818"/>
              <a:gd name="connsiteY7" fmla="*/ 1670206 h 1670206"/>
              <a:gd name="connsiteX8" fmla="*/ 0 w 1537818"/>
              <a:gd name="connsiteY8" fmla="*/ 79459 h 1670206"/>
              <a:gd name="connsiteX9" fmla="*/ 79459 w 1537818"/>
              <a:gd name="connsiteY9" fmla="*/ 0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7818" h="1670206">
                <a:moveTo>
                  <a:pt x="79459" y="0"/>
                </a:moveTo>
                <a:lnTo>
                  <a:pt x="767480" y="0"/>
                </a:lnTo>
                <a:lnTo>
                  <a:pt x="1458359" y="0"/>
                </a:lnTo>
                <a:lnTo>
                  <a:pt x="1537818" y="0"/>
                </a:lnTo>
                <a:lnTo>
                  <a:pt x="1537818" y="79459"/>
                </a:lnTo>
                <a:lnTo>
                  <a:pt x="1537818" y="1670206"/>
                </a:lnTo>
                <a:lnTo>
                  <a:pt x="767480" y="1670206"/>
                </a:lnTo>
                <a:lnTo>
                  <a:pt x="0" y="1670206"/>
                </a:lnTo>
                <a:lnTo>
                  <a:pt x="0" y="79459"/>
                </a:lnTo>
                <a:cubicBezTo>
                  <a:pt x="0" y="35575"/>
                  <a:pt x="35575" y="0"/>
                  <a:pt x="79459" y="0"/>
                </a:cubicBezTo>
                <a:close/>
              </a:path>
            </a:pathLst>
          </a:cu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4" name="Freeform 60">
            <a:extLst>
              <a:ext uri="{FF2B5EF4-FFF2-40B4-BE49-F238E27FC236}">
                <a16:creationId xmlns:a16="http://schemas.microsoft.com/office/drawing/2014/main" id="{568A23C7-ADD9-458A-9A46-F0C9B7BD0AA5}"/>
              </a:ext>
            </a:extLst>
          </p:cNvPr>
          <p:cNvSpPr/>
          <p:nvPr/>
        </p:nvSpPr>
        <p:spPr bwMode="auto">
          <a:xfrm>
            <a:off x="4119861" y="2721831"/>
            <a:ext cx="931294" cy="1013530"/>
          </a:xfrm>
          <a:custGeom>
            <a:avLst/>
            <a:gdLst>
              <a:gd name="connsiteX0" fmla="*/ 0 w 1537818"/>
              <a:gd name="connsiteY0" fmla="*/ 0 h 1670206"/>
              <a:gd name="connsiteX1" fmla="*/ 79459 w 1537818"/>
              <a:gd name="connsiteY1" fmla="*/ 0 h 1670206"/>
              <a:gd name="connsiteX2" fmla="*/ 921585 w 1537818"/>
              <a:gd name="connsiteY2" fmla="*/ 0 h 1670206"/>
              <a:gd name="connsiteX3" fmla="*/ 1458359 w 1537818"/>
              <a:gd name="connsiteY3" fmla="*/ 0 h 1670206"/>
              <a:gd name="connsiteX4" fmla="*/ 1537818 w 1537818"/>
              <a:gd name="connsiteY4" fmla="*/ 79459 h 1670206"/>
              <a:gd name="connsiteX5" fmla="*/ 1537818 w 1537818"/>
              <a:gd name="connsiteY5" fmla="*/ 1670206 h 1670206"/>
              <a:gd name="connsiteX6" fmla="*/ 921585 w 1537818"/>
              <a:gd name="connsiteY6" fmla="*/ 1670206 h 1670206"/>
              <a:gd name="connsiteX7" fmla="*/ 0 w 1537818"/>
              <a:gd name="connsiteY7" fmla="*/ 1670206 h 1670206"/>
              <a:gd name="connsiteX8" fmla="*/ 0 w 1537818"/>
              <a:gd name="connsiteY8" fmla="*/ 79459 h 1670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7818" h="1670206">
                <a:moveTo>
                  <a:pt x="0" y="0"/>
                </a:moveTo>
                <a:lnTo>
                  <a:pt x="79459" y="0"/>
                </a:lnTo>
                <a:lnTo>
                  <a:pt x="921585" y="0"/>
                </a:lnTo>
                <a:lnTo>
                  <a:pt x="1458359" y="0"/>
                </a:lnTo>
                <a:cubicBezTo>
                  <a:pt x="1502243" y="0"/>
                  <a:pt x="1537818" y="35575"/>
                  <a:pt x="1537818" y="79459"/>
                </a:cubicBezTo>
                <a:lnTo>
                  <a:pt x="1537818" y="1670206"/>
                </a:lnTo>
                <a:lnTo>
                  <a:pt x="921585" y="1670206"/>
                </a:lnTo>
                <a:lnTo>
                  <a:pt x="0" y="1670206"/>
                </a:lnTo>
                <a:lnTo>
                  <a:pt x="0" y="79459"/>
                </a:lnTo>
                <a:close/>
              </a:path>
            </a:pathLst>
          </a:cu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5" name="Rectangle 14">
            <a:extLst>
              <a:ext uri="{FF2B5EF4-FFF2-40B4-BE49-F238E27FC236}">
                <a16:creationId xmlns:a16="http://schemas.microsoft.com/office/drawing/2014/main" id="{F54163D9-6291-48D8-9078-4062E2546758}"/>
              </a:ext>
            </a:extLst>
          </p:cNvPr>
          <p:cNvSpPr/>
          <p:nvPr/>
        </p:nvSpPr>
        <p:spPr bwMode="auto">
          <a:xfrm>
            <a:off x="3189633" y="3461067"/>
            <a:ext cx="932773" cy="1218154"/>
          </a:xfrm>
          <a:prstGeom prst="rect">
            <a:avLst/>
          </a:prstGeom>
          <a:solidFill>
            <a:srgbClr val="611C15"/>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6" name="Freeform 62">
            <a:extLst>
              <a:ext uri="{FF2B5EF4-FFF2-40B4-BE49-F238E27FC236}">
                <a16:creationId xmlns:a16="http://schemas.microsoft.com/office/drawing/2014/main" id="{D419915C-D111-4D3D-9854-80B34C46763F}"/>
              </a:ext>
            </a:extLst>
          </p:cNvPr>
          <p:cNvSpPr/>
          <p:nvPr/>
        </p:nvSpPr>
        <p:spPr bwMode="auto">
          <a:xfrm>
            <a:off x="3297769" y="2603208"/>
            <a:ext cx="565465" cy="101374"/>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7" name="Freeform 63">
            <a:extLst>
              <a:ext uri="{FF2B5EF4-FFF2-40B4-BE49-F238E27FC236}">
                <a16:creationId xmlns:a16="http://schemas.microsoft.com/office/drawing/2014/main" id="{315FC528-4DB6-47AA-958A-2D8D6BBEA411}"/>
              </a:ext>
            </a:extLst>
          </p:cNvPr>
          <p:cNvSpPr/>
          <p:nvPr/>
        </p:nvSpPr>
        <p:spPr bwMode="auto">
          <a:xfrm>
            <a:off x="4377347" y="2603208"/>
            <a:ext cx="565465" cy="101374"/>
          </a:xfrm>
          <a:custGeom>
            <a:avLst/>
            <a:gdLst>
              <a:gd name="connsiteX0" fmla="*/ 734234 w 860717"/>
              <a:gd name="connsiteY0" fmla="*/ 30645 h 154305"/>
              <a:gd name="connsiteX1" fmla="*/ 734234 w 860717"/>
              <a:gd name="connsiteY1" fmla="*/ 114705 h 154305"/>
              <a:gd name="connsiteX2" fmla="*/ 774787 w 860717"/>
              <a:gd name="connsiteY2" fmla="*/ 114705 h 154305"/>
              <a:gd name="connsiteX3" fmla="*/ 774787 w 860717"/>
              <a:gd name="connsiteY3" fmla="*/ 30645 h 154305"/>
              <a:gd name="connsiteX4" fmla="*/ 604573 w 860717"/>
              <a:gd name="connsiteY4" fmla="*/ 30645 h 154305"/>
              <a:gd name="connsiteX5" fmla="*/ 604573 w 860717"/>
              <a:gd name="connsiteY5" fmla="*/ 114705 h 154305"/>
              <a:gd name="connsiteX6" fmla="*/ 645126 w 860717"/>
              <a:gd name="connsiteY6" fmla="*/ 114705 h 154305"/>
              <a:gd name="connsiteX7" fmla="*/ 645126 w 860717"/>
              <a:gd name="connsiteY7" fmla="*/ 30645 h 154305"/>
              <a:gd name="connsiteX8" fmla="*/ 474911 w 860717"/>
              <a:gd name="connsiteY8" fmla="*/ 30645 h 154305"/>
              <a:gd name="connsiteX9" fmla="*/ 474911 w 860717"/>
              <a:gd name="connsiteY9" fmla="*/ 114705 h 154305"/>
              <a:gd name="connsiteX10" fmla="*/ 515464 w 860717"/>
              <a:gd name="connsiteY10" fmla="*/ 114705 h 154305"/>
              <a:gd name="connsiteX11" fmla="*/ 515464 w 860717"/>
              <a:gd name="connsiteY11" fmla="*/ 30645 h 154305"/>
              <a:gd name="connsiteX12" fmla="*/ 345250 w 860717"/>
              <a:gd name="connsiteY12" fmla="*/ 30645 h 154305"/>
              <a:gd name="connsiteX13" fmla="*/ 345250 w 860717"/>
              <a:gd name="connsiteY13" fmla="*/ 114705 h 154305"/>
              <a:gd name="connsiteX14" fmla="*/ 385803 w 860717"/>
              <a:gd name="connsiteY14" fmla="*/ 114705 h 154305"/>
              <a:gd name="connsiteX15" fmla="*/ 385803 w 860717"/>
              <a:gd name="connsiteY15" fmla="*/ 30645 h 154305"/>
              <a:gd name="connsiteX16" fmla="*/ 215588 w 860717"/>
              <a:gd name="connsiteY16" fmla="*/ 30645 h 154305"/>
              <a:gd name="connsiteX17" fmla="*/ 215588 w 860717"/>
              <a:gd name="connsiteY17" fmla="*/ 114705 h 154305"/>
              <a:gd name="connsiteX18" fmla="*/ 256141 w 860717"/>
              <a:gd name="connsiteY18" fmla="*/ 114705 h 154305"/>
              <a:gd name="connsiteX19" fmla="*/ 256141 w 860717"/>
              <a:gd name="connsiteY19" fmla="*/ 30645 h 154305"/>
              <a:gd name="connsiteX20" fmla="*/ 85927 w 860717"/>
              <a:gd name="connsiteY20" fmla="*/ 30645 h 154305"/>
              <a:gd name="connsiteX21" fmla="*/ 85927 w 860717"/>
              <a:gd name="connsiteY21" fmla="*/ 114705 h 154305"/>
              <a:gd name="connsiteX22" fmla="*/ 126480 w 860717"/>
              <a:gd name="connsiteY22" fmla="*/ 114705 h 154305"/>
              <a:gd name="connsiteX23" fmla="*/ 126480 w 860717"/>
              <a:gd name="connsiteY23" fmla="*/ 30645 h 154305"/>
              <a:gd name="connsiteX24" fmla="*/ 36660 w 860717"/>
              <a:gd name="connsiteY24" fmla="*/ 0 h 154305"/>
              <a:gd name="connsiteX25" fmla="*/ 824057 w 860717"/>
              <a:gd name="connsiteY25" fmla="*/ 0 h 154305"/>
              <a:gd name="connsiteX26" fmla="*/ 860717 w 860717"/>
              <a:gd name="connsiteY26" fmla="*/ 36660 h 154305"/>
              <a:gd name="connsiteX27" fmla="*/ 860717 w 860717"/>
              <a:gd name="connsiteY27" fmla="*/ 154305 h 154305"/>
              <a:gd name="connsiteX28" fmla="*/ 0 w 860717"/>
              <a:gd name="connsiteY28" fmla="*/ 154305 h 154305"/>
              <a:gd name="connsiteX29" fmla="*/ 0 w 860717"/>
              <a:gd name="connsiteY29" fmla="*/ 36660 h 154305"/>
              <a:gd name="connsiteX30" fmla="*/ 36660 w 860717"/>
              <a:gd name="connsiteY30" fmla="*/ 0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60717" h="154305">
                <a:moveTo>
                  <a:pt x="734234" y="30645"/>
                </a:moveTo>
                <a:lnTo>
                  <a:pt x="734234" y="114705"/>
                </a:lnTo>
                <a:lnTo>
                  <a:pt x="774787" y="114705"/>
                </a:lnTo>
                <a:lnTo>
                  <a:pt x="774787" y="30645"/>
                </a:lnTo>
                <a:close/>
                <a:moveTo>
                  <a:pt x="604573" y="30645"/>
                </a:moveTo>
                <a:lnTo>
                  <a:pt x="604573" y="114705"/>
                </a:lnTo>
                <a:lnTo>
                  <a:pt x="645126" y="114705"/>
                </a:lnTo>
                <a:lnTo>
                  <a:pt x="645126" y="30645"/>
                </a:lnTo>
                <a:close/>
                <a:moveTo>
                  <a:pt x="474911" y="30645"/>
                </a:moveTo>
                <a:lnTo>
                  <a:pt x="474911" y="114705"/>
                </a:lnTo>
                <a:lnTo>
                  <a:pt x="515464" y="114705"/>
                </a:lnTo>
                <a:lnTo>
                  <a:pt x="515464" y="30645"/>
                </a:lnTo>
                <a:close/>
                <a:moveTo>
                  <a:pt x="345250" y="30645"/>
                </a:moveTo>
                <a:lnTo>
                  <a:pt x="345250" y="114705"/>
                </a:lnTo>
                <a:lnTo>
                  <a:pt x="385803" y="114705"/>
                </a:lnTo>
                <a:lnTo>
                  <a:pt x="385803" y="30645"/>
                </a:lnTo>
                <a:close/>
                <a:moveTo>
                  <a:pt x="215588" y="30645"/>
                </a:moveTo>
                <a:lnTo>
                  <a:pt x="215588" y="114705"/>
                </a:lnTo>
                <a:lnTo>
                  <a:pt x="256141" y="114705"/>
                </a:lnTo>
                <a:lnTo>
                  <a:pt x="256141" y="30645"/>
                </a:lnTo>
                <a:close/>
                <a:moveTo>
                  <a:pt x="85927" y="30645"/>
                </a:moveTo>
                <a:lnTo>
                  <a:pt x="85927" y="114705"/>
                </a:lnTo>
                <a:lnTo>
                  <a:pt x="126480" y="114705"/>
                </a:lnTo>
                <a:lnTo>
                  <a:pt x="126480" y="30645"/>
                </a:lnTo>
                <a:close/>
                <a:moveTo>
                  <a:pt x="36660" y="0"/>
                </a:moveTo>
                <a:lnTo>
                  <a:pt x="824057" y="0"/>
                </a:lnTo>
                <a:cubicBezTo>
                  <a:pt x="844304" y="0"/>
                  <a:pt x="860717" y="16413"/>
                  <a:pt x="860717" y="36660"/>
                </a:cubicBezTo>
                <a:lnTo>
                  <a:pt x="860717" y="154305"/>
                </a:lnTo>
                <a:lnTo>
                  <a:pt x="0" y="154305"/>
                </a:lnTo>
                <a:lnTo>
                  <a:pt x="0" y="36660"/>
                </a:lnTo>
                <a:cubicBezTo>
                  <a:pt x="0" y="16413"/>
                  <a:pt x="16413" y="0"/>
                  <a:pt x="3666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D092090F-E28E-429A-AEED-A5EC470D761F}"/>
              </a:ext>
            </a:extLst>
          </p:cNvPr>
          <p:cNvSpPr/>
          <p:nvPr/>
        </p:nvSpPr>
        <p:spPr>
          <a:xfrm>
            <a:off x="3223057" y="2766981"/>
            <a:ext cx="1796582" cy="635559"/>
          </a:xfrm>
          <a:prstGeom prst="rect">
            <a:avLst/>
          </a:prstGeom>
        </p:spPr>
        <p:txBody>
          <a:bodyPr wrap="none">
            <a:spAutoFit/>
          </a:bodyPr>
          <a:lstStyle/>
          <a:p>
            <a:pPr marL="0" marR="0" lvl="0" indent="0" algn="ctr" defTabSz="912979" eaLnBrk="1" fontAlgn="auto" latinLnBrk="0" hangingPunct="1">
              <a:lnSpc>
                <a:spcPct val="100000"/>
              </a:lnSpc>
              <a:spcBef>
                <a:spcPts val="0"/>
              </a:spcBef>
              <a:spcAft>
                <a:spcPts val="0"/>
              </a:spcAft>
              <a:buClrTx/>
              <a:buSzTx/>
              <a:buFontTx/>
              <a:buNone/>
              <a:tabLst/>
              <a:defRPr/>
            </a:pPr>
            <a:r>
              <a:rPr kumimoji="0" lang="en-IN" sz="1765" b="0" i="0" u="none" strike="noStrike" kern="0" cap="none" spc="0" normalizeH="0" baseline="0" noProof="0">
                <a:ln>
                  <a:noFill/>
                </a:ln>
                <a:solidFill>
                  <a:srgbClr val="FFFFFF"/>
                </a:solidFill>
                <a:effectLst/>
                <a:uLnTx/>
                <a:uFillTx/>
              </a:rPr>
              <a:t>TDE-enabled</a:t>
            </a:r>
            <a:br>
              <a:rPr kumimoji="0" lang="en-IN" sz="1765" b="0" i="0" u="none" strike="noStrike" kern="0" cap="none" spc="0" normalizeH="0" baseline="0" noProof="0">
                <a:ln>
                  <a:noFill/>
                </a:ln>
                <a:solidFill>
                  <a:srgbClr val="FFFFFF"/>
                </a:solidFill>
                <a:effectLst/>
                <a:uLnTx/>
                <a:uFillTx/>
              </a:rPr>
            </a:br>
            <a:r>
              <a:rPr kumimoji="0" lang="en-IN" sz="1765" b="0" i="0" u="none" strike="noStrike" kern="0" cap="none" spc="0" normalizeH="0" baseline="0" noProof="0">
                <a:ln>
                  <a:noFill/>
                </a:ln>
                <a:solidFill>
                  <a:srgbClr val="FFFFFF"/>
                </a:solidFill>
                <a:effectLst/>
                <a:uLnTx/>
                <a:uFillTx/>
              </a:rPr>
              <a:t>ADO.NET library</a:t>
            </a:r>
          </a:p>
        </p:txBody>
      </p:sp>
      <p:sp>
        <p:nvSpPr>
          <p:cNvPr id="19" name="Rectangle 18">
            <a:extLst>
              <a:ext uri="{FF2B5EF4-FFF2-40B4-BE49-F238E27FC236}">
                <a16:creationId xmlns:a16="http://schemas.microsoft.com/office/drawing/2014/main" id="{9786042F-0C8C-4084-A045-8303FA072A85}"/>
              </a:ext>
            </a:extLst>
          </p:cNvPr>
          <p:cNvSpPr/>
          <p:nvPr/>
        </p:nvSpPr>
        <p:spPr bwMode="auto">
          <a:xfrm>
            <a:off x="4115717" y="3461067"/>
            <a:ext cx="935438" cy="1218154"/>
          </a:xfrm>
          <a:prstGeom prst="rect">
            <a:avLst/>
          </a:prstGeom>
          <a:solidFill>
            <a:srgbClr val="611C15"/>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20" name="Rectangle 19">
            <a:extLst>
              <a:ext uri="{FF2B5EF4-FFF2-40B4-BE49-F238E27FC236}">
                <a16:creationId xmlns:a16="http://schemas.microsoft.com/office/drawing/2014/main" id="{8B63A8E3-AC07-4857-A783-17D6CE7EDCD7}"/>
              </a:ext>
            </a:extLst>
          </p:cNvPr>
          <p:cNvSpPr/>
          <p:nvPr/>
        </p:nvSpPr>
        <p:spPr bwMode="auto">
          <a:xfrm>
            <a:off x="3760054" y="3461067"/>
            <a:ext cx="721085" cy="1218154"/>
          </a:xfrm>
          <a:prstGeom prst="rect">
            <a:avLst/>
          </a:prstGeom>
          <a:solidFill>
            <a:srgbClr val="494949">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sp>
        <p:nvSpPr>
          <p:cNvPr id="21" name="Freeform 67">
            <a:extLst>
              <a:ext uri="{FF2B5EF4-FFF2-40B4-BE49-F238E27FC236}">
                <a16:creationId xmlns:a16="http://schemas.microsoft.com/office/drawing/2014/main" id="{47852E53-E4BE-4AE5-95BA-5C4F3A37C994}"/>
              </a:ext>
            </a:extLst>
          </p:cNvPr>
          <p:cNvSpPr/>
          <p:nvPr/>
        </p:nvSpPr>
        <p:spPr bwMode="auto">
          <a:xfrm flipH="1">
            <a:off x="3192645" y="2736319"/>
            <a:ext cx="1861521" cy="194290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rgbClr val="FFFFFF">
              <a:alpha val="12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indent="-335951" algn="ctr" defTabSz="913576">
              <a:lnSpc>
                <a:spcPct val="90000"/>
              </a:lnSpc>
              <a:buFont typeface="Wingdings 3" panose="05040102010807070707" pitchFamily="18" charset="2"/>
              <a:buChar char="Æ"/>
              <a:defRPr/>
            </a:pPr>
            <a:endParaRPr lang="en-IN" sz="1961" b="1" kern="0" err="1">
              <a:solidFill>
                <a:srgbClr val="494949"/>
              </a:solidFill>
              <a:latin typeface="Segoe UI Light"/>
              <a:ea typeface="Segoe UI" pitchFamily="34" charset="0"/>
              <a:cs typeface="Segoe UI" pitchFamily="34" charset="0"/>
            </a:endParaRPr>
          </a:p>
        </p:txBody>
      </p:sp>
      <p:grpSp>
        <p:nvGrpSpPr>
          <p:cNvPr id="22" name="Group 21">
            <a:extLst>
              <a:ext uri="{FF2B5EF4-FFF2-40B4-BE49-F238E27FC236}">
                <a16:creationId xmlns:a16="http://schemas.microsoft.com/office/drawing/2014/main" id="{78C85B0B-362D-442C-8AEE-AA33E53A2FDC}"/>
              </a:ext>
            </a:extLst>
          </p:cNvPr>
          <p:cNvGrpSpPr/>
          <p:nvPr/>
        </p:nvGrpSpPr>
        <p:grpSpPr>
          <a:xfrm>
            <a:off x="3616816" y="3361179"/>
            <a:ext cx="1009057" cy="570545"/>
            <a:chOff x="5096185" y="4621627"/>
            <a:chExt cx="945631" cy="534684"/>
          </a:xfrm>
        </p:grpSpPr>
        <p:sp>
          <p:nvSpPr>
            <p:cNvPr id="23" name="Rounded Rectangle 69">
              <a:extLst>
                <a:ext uri="{FF2B5EF4-FFF2-40B4-BE49-F238E27FC236}">
                  <a16:creationId xmlns:a16="http://schemas.microsoft.com/office/drawing/2014/main" id="{AE082177-16FB-410C-90A2-C5683610D6C2}"/>
                </a:ext>
              </a:extLst>
            </p:cNvPr>
            <p:cNvSpPr/>
            <p:nvPr/>
          </p:nvSpPr>
          <p:spPr bwMode="auto">
            <a:xfrm>
              <a:off x="5096185" y="4621627"/>
              <a:ext cx="945631" cy="50028"/>
            </a:xfrm>
            <a:prstGeom prst="roundRect">
              <a:avLst>
                <a:gd name="adj"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marR="0" lvl="0" indent="-335951" algn="ctr" defTabSz="913576"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err="1">
                <a:ln>
                  <a:noFill/>
                </a:ln>
                <a:solidFill>
                  <a:srgbClr val="494949"/>
                </a:solidFill>
                <a:effectLst/>
                <a:uLnTx/>
                <a:uFillTx/>
                <a:latin typeface="Segoe UI Light"/>
                <a:ea typeface="Segoe UI" pitchFamily="34" charset="0"/>
                <a:cs typeface="Segoe UI" pitchFamily="34" charset="0"/>
              </a:endParaRPr>
            </a:p>
          </p:txBody>
        </p:sp>
        <p:sp>
          <p:nvSpPr>
            <p:cNvPr id="24" name="Rounded Rectangle 70">
              <a:extLst>
                <a:ext uri="{FF2B5EF4-FFF2-40B4-BE49-F238E27FC236}">
                  <a16:creationId xmlns:a16="http://schemas.microsoft.com/office/drawing/2014/main" id="{D26F6666-873D-4BC2-9F4D-31E33AB1AC4B}"/>
                </a:ext>
              </a:extLst>
            </p:cNvPr>
            <p:cNvSpPr/>
            <p:nvPr/>
          </p:nvSpPr>
          <p:spPr bwMode="auto">
            <a:xfrm>
              <a:off x="5496533" y="4651891"/>
              <a:ext cx="144934" cy="293326"/>
            </a:xfrm>
            <a:prstGeom prst="roundRect">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marR="0" lvl="0" indent="-335951" algn="ctr" defTabSz="913576"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err="1">
                <a:ln>
                  <a:noFill/>
                </a:ln>
                <a:solidFill>
                  <a:srgbClr val="494949"/>
                </a:solidFill>
                <a:effectLst/>
                <a:uLnTx/>
                <a:uFillTx/>
                <a:latin typeface="Segoe UI Light"/>
                <a:ea typeface="Segoe UI" pitchFamily="34" charset="0"/>
                <a:cs typeface="Segoe UI" pitchFamily="34" charset="0"/>
              </a:endParaRPr>
            </a:p>
          </p:txBody>
        </p:sp>
        <p:sp>
          <p:nvSpPr>
            <p:cNvPr id="25" name="Freeform 71">
              <a:extLst>
                <a:ext uri="{FF2B5EF4-FFF2-40B4-BE49-F238E27FC236}">
                  <a16:creationId xmlns:a16="http://schemas.microsoft.com/office/drawing/2014/main" id="{2E2F35CC-DC60-48A0-9BFC-2488B64A4536}"/>
                </a:ext>
              </a:extLst>
            </p:cNvPr>
            <p:cNvSpPr/>
            <p:nvPr>
              <p:custDataLst>
                <p:tags r:id="rId3"/>
              </p:custDataLst>
            </p:nvPr>
          </p:nvSpPr>
          <p:spPr>
            <a:xfrm>
              <a:off x="5420671" y="4778428"/>
              <a:ext cx="257730" cy="377883"/>
            </a:xfrm>
            <a:custGeom>
              <a:avLst/>
              <a:gdLst>
                <a:gd name="connsiteX0" fmla="*/ 312086 w 531789"/>
                <a:gd name="connsiteY0" fmla="*/ 115259 h 779713"/>
                <a:gd name="connsiteX1" fmla="*/ 240284 w 531789"/>
                <a:gd name="connsiteY1" fmla="*/ 135745 h 779713"/>
                <a:gd name="connsiteX2" fmla="*/ 198285 w 531789"/>
                <a:gd name="connsiteY2" fmla="*/ 270613 h 779713"/>
                <a:gd name="connsiteX3" fmla="*/ 194709 w 531789"/>
                <a:gd name="connsiteY3" fmla="*/ 271948 h 779713"/>
                <a:gd name="connsiteX4" fmla="*/ 410305 w 531789"/>
                <a:gd name="connsiteY4" fmla="*/ 271948 h 779713"/>
                <a:gd name="connsiteX5" fmla="*/ 381350 w 531789"/>
                <a:gd name="connsiteY5" fmla="*/ 143148 h 779713"/>
                <a:gd name="connsiteX6" fmla="*/ 312086 w 531789"/>
                <a:gd name="connsiteY6" fmla="*/ 115259 h 779713"/>
                <a:gd name="connsiteX7" fmla="*/ 318115 w 531789"/>
                <a:gd name="connsiteY7" fmla="*/ 317 h 779713"/>
                <a:gd name="connsiteX8" fmla="*/ 456650 w 531789"/>
                <a:gd name="connsiteY8" fmla="*/ 56095 h 779713"/>
                <a:gd name="connsiteX9" fmla="*/ 531618 w 531789"/>
                <a:gd name="connsiteY9" fmla="*/ 222109 h 779713"/>
                <a:gd name="connsiteX10" fmla="*/ 519104 w 531789"/>
                <a:gd name="connsiteY10" fmla="*/ 281128 h 779713"/>
                <a:gd name="connsiteX11" fmla="*/ 366170 w 531789"/>
                <a:gd name="connsiteY11" fmla="*/ 428017 h 779713"/>
                <a:gd name="connsiteX12" fmla="*/ 364934 w 531789"/>
                <a:gd name="connsiteY12" fmla="*/ 426184 h 779713"/>
                <a:gd name="connsiteX13" fmla="*/ 308273 w 531789"/>
                <a:gd name="connsiteY13" fmla="*/ 402714 h 779713"/>
                <a:gd name="connsiteX14" fmla="*/ 228141 w 531789"/>
                <a:gd name="connsiteY14" fmla="*/ 482844 h 779713"/>
                <a:gd name="connsiteX15" fmla="*/ 240285 w 531789"/>
                <a:gd name="connsiteY15" fmla="*/ 524085 h 779713"/>
                <a:gd name="connsiteX16" fmla="*/ 254918 w 531789"/>
                <a:gd name="connsiteY16" fmla="*/ 534872 h 779713"/>
                <a:gd name="connsiteX17" fmla="*/ 0 w 531789"/>
                <a:gd name="connsiteY17" fmla="*/ 779713 h 779713"/>
                <a:gd name="connsiteX18" fmla="*/ 0 w 531789"/>
                <a:gd name="connsiteY18" fmla="*/ 392833 h 779713"/>
                <a:gd name="connsiteX19" fmla="*/ 89771 w 531789"/>
                <a:gd name="connsiteY19" fmla="*/ 284841 h 779713"/>
                <a:gd name="connsiteX20" fmla="*/ 174518 w 531789"/>
                <a:gd name="connsiteY20" fmla="*/ 41289 h 779713"/>
                <a:gd name="connsiteX21" fmla="*/ 318115 w 531789"/>
                <a:gd name="connsiteY21" fmla="*/ 317 h 77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789" h="779713">
                  <a:moveTo>
                    <a:pt x="312086" y="115259"/>
                  </a:moveTo>
                  <a:cubicBezTo>
                    <a:pt x="287188" y="113951"/>
                    <a:pt x="261869" y="120702"/>
                    <a:pt x="240284" y="135745"/>
                  </a:cubicBezTo>
                  <a:cubicBezTo>
                    <a:pt x="197095" y="165816"/>
                    <a:pt x="179804" y="221338"/>
                    <a:pt x="198285" y="270613"/>
                  </a:cubicBezTo>
                  <a:lnTo>
                    <a:pt x="194709" y="271948"/>
                  </a:lnTo>
                  <a:lnTo>
                    <a:pt x="410305" y="271948"/>
                  </a:lnTo>
                  <a:cubicBezTo>
                    <a:pt x="431048" y="227761"/>
                    <a:pt x="418733" y="175481"/>
                    <a:pt x="381350" y="143148"/>
                  </a:cubicBezTo>
                  <a:cubicBezTo>
                    <a:pt x="361448" y="125929"/>
                    <a:pt x="336978" y="116561"/>
                    <a:pt x="312086" y="115259"/>
                  </a:cubicBezTo>
                  <a:close/>
                  <a:moveTo>
                    <a:pt x="318115" y="317"/>
                  </a:moveTo>
                  <a:cubicBezTo>
                    <a:pt x="367911" y="2927"/>
                    <a:pt x="416847" y="21671"/>
                    <a:pt x="456650" y="56095"/>
                  </a:cubicBezTo>
                  <a:cubicBezTo>
                    <a:pt x="506660" y="99349"/>
                    <a:pt x="534240" y="160453"/>
                    <a:pt x="531618" y="222109"/>
                  </a:cubicBezTo>
                  <a:lnTo>
                    <a:pt x="519104" y="281128"/>
                  </a:lnTo>
                  <a:lnTo>
                    <a:pt x="366170" y="428017"/>
                  </a:lnTo>
                  <a:lnTo>
                    <a:pt x="364934" y="426184"/>
                  </a:lnTo>
                  <a:cubicBezTo>
                    <a:pt x="350433" y="411684"/>
                    <a:pt x="330400" y="402714"/>
                    <a:pt x="308273" y="402714"/>
                  </a:cubicBezTo>
                  <a:cubicBezTo>
                    <a:pt x="264019" y="402714"/>
                    <a:pt x="228141" y="438591"/>
                    <a:pt x="228141" y="482844"/>
                  </a:cubicBezTo>
                  <a:cubicBezTo>
                    <a:pt x="228141" y="498195"/>
                    <a:pt x="232459" y="512538"/>
                    <a:pt x="240285" y="524085"/>
                  </a:cubicBezTo>
                  <a:lnTo>
                    <a:pt x="254918" y="534872"/>
                  </a:lnTo>
                  <a:lnTo>
                    <a:pt x="0" y="779713"/>
                  </a:lnTo>
                  <a:lnTo>
                    <a:pt x="0" y="392833"/>
                  </a:lnTo>
                  <a:cubicBezTo>
                    <a:pt x="0" y="337693"/>
                    <a:pt x="36930" y="291172"/>
                    <a:pt x="89771" y="284841"/>
                  </a:cubicBezTo>
                  <a:cubicBezTo>
                    <a:pt x="59567" y="194632"/>
                    <a:pt x="95214" y="96495"/>
                    <a:pt x="174518" y="41289"/>
                  </a:cubicBezTo>
                  <a:cubicBezTo>
                    <a:pt x="217694" y="11211"/>
                    <a:pt x="268332" y="-2293"/>
                    <a:pt x="318115" y="317"/>
                  </a:cubicBezTo>
                  <a:close/>
                </a:path>
              </a:pathLst>
            </a:custGeom>
            <a:solidFill>
              <a:srgbClr val="FFFFFF">
                <a:alpha val="19000"/>
              </a:srgbClr>
            </a:solidFill>
            <a:ln w="6350" cap="flat" cmpd="sng" algn="ctr">
              <a:noFill/>
              <a:prstDash val="solid"/>
            </a:ln>
            <a:effectLst/>
          </p:spPr>
          <p:txBody>
            <a:bodyPr wrap="square" rtlCol="0" anchor="ctr">
              <a:noAutofit/>
            </a:bodyPr>
            <a:lstStyle/>
            <a:p>
              <a:pPr marL="0" marR="0" lvl="0" indent="0" algn="ctr" defTabSz="91297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494949"/>
                </a:solidFill>
                <a:effectLst/>
                <a:uLnTx/>
                <a:uFillTx/>
              </a:endParaRPr>
            </a:p>
          </p:txBody>
        </p:sp>
        <p:sp>
          <p:nvSpPr>
            <p:cNvPr id="26" name="Rounded Rectangle 72">
              <a:extLst>
                <a:ext uri="{FF2B5EF4-FFF2-40B4-BE49-F238E27FC236}">
                  <a16:creationId xmlns:a16="http://schemas.microsoft.com/office/drawing/2014/main" id="{CEC67EA0-897A-497B-92D5-3F944E8A522D}"/>
                </a:ext>
              </a:extLst>
            </p:cNvPr>
            <p:cNvSpPr/>
            <p:nvPr/>
          </p:nvSpPr>
          <p:spPr bwMode="auto">
            <a:xfrm>
              <a:off x="5537469" y="4740327"/>
              <a:ext cx="63063" cy="150479"/>
            </a:xfrm>
            <a:prstGeom prst="roundRect">
              <a:avLst/>
            </a:prstGeom>
            <a:solidFill>
              <a:srgbClr val="494949">
                <a:lumMod val="65000"/>
                <a:lumOff val="3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marR="0" lvl="0" indent="-335951" algn="ctr" defTabSz="913576"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err="1">
                <a:ln>
                  <a:noFill/>
                </a:ln>
                <a:solidFill>
                  <a:srgbClr val="494949"/>
                </a:solidFill>
                <a:effectLst/>
                <a:uLnTx/>
                <a:uFillTx/>
                <a:latin typeface="Segoe UI Light"/>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056CBA0E-EB86-4E01-8728-536AA2128F0F}"/>
              </a:ext>
            </a:extLst>
          </p:cNvPr>
          <p:cNvSpPr txBox="1"/>
          <p:nvPr/>
        </p:nvSpPr>
        <p:spPr>
          <a:xfrm>
            <a:off x="5951230" y="2739845"/>
            <a:ext cx="1509406" cy="244426"/>
          </a:xfrm>
          <a:prstGeom prst="rect">
            <a:avLst/>
          </a:prstGeom>
          <a:noFill/>
        </p:spPr>
        <p:txBody>
          <a:bodyPr wrap="square" lIns="0" tIns="0" rIns="0" bIns="0" rtlCol="0">
            <a:spAutoFit/>
          </a:bodyPr>
          <a:lstStyle/>
          <a:p>
            <a:pPr algn="ctr" defTabSz="912979">
              <a:lnSpc>
                <a:spcPct val="90000"/>
              </a:lnSpc>
              <a:spcAft>
                <a:spcPts val="588"/>
              </a:spcAft>
            </a:pPr>
            <a:r>
              <a:rPr lang="en-US" sz="1765">
                <a:solidFill>
                  <a:srgbClr val="FFFFFF"/>
                </a:solidFill>
                <a:latin typeface="Segoe UI Semibold" panose="020B0702040204020203" pitchFamily="34" charset="0"/>
                <a:cs typeface="Segoe UI Semibold" panose="020B0702040204020203" pitchFamily="34" charset="0"/>
              </a:rPr>
              <a:t>SQL Server</a:t>
            </a:r>
          </a:p>
        </p:txBody>
      </p:sp>
      <p:grpSp>
        <p:nvGrpSpPr>
          <p:cNvPr id="28" name="Group 27">
            <a:extLst>
              <a:ext uri="{FF2B5EF4-FFF2-40B4-BE49-F238E27FC236}">
                <a16:creationId xmlns:a16="http://schemas.microsoft.com/office/drawing/2014/main" id="{8B3F3E12-DC0C-45ED-84EC-9C56AE38DCF7}"/>
              </a:ext>
            </a:extLst>
          </p:cNvPr>
          <p:cNvGrpSpPr/>
          <p:nvPr/>
        </p:nvGrpSpPr>
        <p:grpSpPr>
          <a:xfrm flipH="1" flipV="1">
            <a:off x="5610021" y="3071806"/>
            <a:ext cx="947318" cy="842199"/>
            <a:chOff x="3724865" y="3416489"/>
            <a:chExt cx="988398" cy="988397"/>
          </a:xfrm>
        </p:grpSpPr>
        <p:grpSp>
          <p:nvGrpSpPr>
            <p:cNvPr id="29" name="Group 28">
              <a:extLst>
                <a:ext uri="{FF2B5EF4-FFF2-40B4-BE49-F238E27FC236}">
                  <a16:creationId xmlns:a16="http://schemas.microsoft.com/office/drawing/2014/main" id="{B7A2FB36-A544-479F-8C2D-074D089E2B25}"/>
                </a:ext>
              </a:extLst>
            </p:cNvPr>
            <p:cNvGrpSpPr/>
            <p:nvPr/>
          </p:nvGrpSpPr>
          <p:grpSpPr>
            <a:xfrm>
              <a:off x="3724865" y="3416489"/>
              <a:ext cx="988398" cy="988397"/>
              <a:chOff x="3706887" y="3169520"/>
              <a:chExt cx="988398" cy="988397"/>
            </a:xfrm>
          </p:grpSpPr>
          <p:sp>
            <p:nvSpPr>
              <p:cNvPr id="31" name="Oval 30">
                <a:extLst>
                  <a:ext uri="{FF2B5EF4-FFF2-40B4-BE49-F238E27FC236}">
                    <a16:creationId xmlns:a16="http://schemas.microsoft.com/office/drawing/2014/main" id="{F81A1C52-465C-47EA-88F3-AA4F2B31E1E6}"/>
                  </a:ext>
                </a:extLst>
              </p:cNvPr>
              <p:cNvSpPr/>
              <p:nvPr/>
            </p:nvSpPr>
            <p:spPr bwMode="auto">
              <a:xfrm>
                <a:off x="3814757" y="3549773"/>
                <a:ext cx="432251" cy="432252"/>
              </a:xfrm>
              <a:prstGeom prst="ellipse">
                <a:avLst/>
              </a:prstGeom>
              <a:solidFill>
                <a:srgbClr val="FFFFFF">
                  <a:alpha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eaLnBrk="1" fontAlgn="auto" latinLnBrk="0" hangingPunct="1">
                  <a:lnSpc>
                    <a:spcPct val="90000"/>
                  </a:lnSpc>
                  <a:spcBef>
                    <a:spcPts val="0"/>
                  </a:spcBef>
                  <a:spcAft>
                    <a:spcPts val="0"/>
                  </a:spcAft>
                  <a:buClrTx/>
                  <a:buSzTx/>
                  <a:buFontTx/>
                  <a:buNone/>
                  <a:tabLst/>
                  <a:defRPr/>
                </a:pPr>
                <a:endParaRPr kumimoji="0" lang="en-US" sz="1961" b="1" i="0" u="none" strike="noStrike" kern="0" cap="none" spc="0" normalizeH="0" baseline="0" noProof="0">
                  <a:ln>
                    <a:noFill/>
                  </a:ln>
                  <a:solidFill>
                    <a:srgbClr val="494949"/>
                  </a:solidFill>
                  <a:effectLst/>
                  <a:uLnTx/>
                  <a:uFillTx/>
                  <a:latin typeface="Segoe UI Light"/>
                  <a:ea typeface="Segoe UI" pitchFamily="34" charset="0"/>
                  <a:cs typeface="Segoe UI" pitchFamily="34" charset="0"/>
                </a:endParaRPr>
              </a:p>
            </p:txBody>
          </p:sp>
          <p:sp>
            <p:nvSpPr>
              <p:cNvPr id="32" name="Freeform 78">
                <a:extLst>
                  <a:ext uri="{FF2B5EF4-FFF2-40B4-BE49-F238E27FC236}">
                    <a16:creationId xmlns:a16="http://schemas.microsoft.com/office/drawing/2014/main" id="{24B542B6-9304-47EB-A06C-D284A44FBDD6}"/>
                  </a:ext>
                </a:extLst>
              </p:cNvPr>
              <p:cNvSpPr>
                <a:spLocks noEditPoints="1"/>
              </p:cNvSpPr>
              <p:nvPr/>
            </p:nvSpPr>
            <p:spPr bwMode="auto">
              <a:xfrm rot="16770598">
                <a:off x="3706887" y="3169520"/>
                <a:ext cx="988397" cy="988398"/>
              </a:xfrm>
              <a:custGeom>
                <a:avLst/>
                <a:gdLst>
                  <a:gd name="T0" fmla="*/ 54 w 428"/>
                  <a:gd name="T1" fmla="*/ 53 h 428"/>
                  <a:gd name="T2" fmla="*/ 54 w 428"/>
                  <a:gd name="T3" fmla="*/ 249 h 428"/>
                  <a:gd name="T4" fmla="*/ 218 w 428"/>
                  <a:gd name="T5" fmla="*/ 272 h 428"/>
                  <a:gd name="T6" fmla="*/ 359 w 428"/>
                  <a:gd name="T7" fmla="*/ 413 h 428"/>
                  <a:gd name="T8" fmla="*/ 413 w 428"/>
                  <a:gd name="T9" fmla="*/ 413 h 428"/>
                  <a:gd name="T10" fmla="*/ 413 w 428"/>
                  <a:gd name="T11" fmla="*/ 359 h 428"/>
                  <a:gd name="T12" fmla="*/ 272 w 428"/>
                  <a:gd name="T13" fmla="*/ 218 h 428"/>
                  <a:gd name="T14" fmla="*/ 249 w 428"/>
                  <a:gd name="T15" fmla="*/ 53 h 428"/>
                  <a:gd name="T16" fmla="*/ 54 w 428"/>
                  <a:gd name="T17" fmla="*/ 53 h 428"/>
                  <a:gd name="T18" fmla="*/ 216 w 428"/>
                  <a:gd name="T19" fmla="*/ 215 h 428"/>
                  <a:gd name="T20" fmla="*/ 87 w 428"/>
                  <a:gd name="T21" fmla="*/ 215 h 428"/>
                  <a:gd name="T22" fmla="*/ 87 w 428"/>
                  <a:gd name="T23" fmla="*/ 87 h 428"/>
                  <a:gd name="T24" fmla="*/ 216 w 428"/>
                  <a:gd name="T25" fmla="*/ 87 h 428"/>
                  <a:gd name="T26" fmla="*/ 216 w 428"/>
                  <a:gd name="T2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8" h="428">
                    <a:moveTo>
                      <a:pt x="54" y="53"/>
                    </a:moveTo>
                    <a:cubicBezTo>
                      <a:pt x="0" y="107"/>
                      <a:pt x="0" y="195"/>
                      <a:pt x="54" y="249"/>
                    </a:cubicBezTo>
                    <a:cubicBezTo>
                      <a:pt x="98" y="293"/>
                      <a:pt x="166" y="301"/>
                      <a:pt x="218" y="272"/>
                    </a:cubicBezTo>
                    <a:cubicBezTo>
                      <a:pt x="359" y="413"/>
                      <a:pt x="359" y="413"/>
                      <a:pt x="359" y="413"/>
                    </a:cubicBezTo>
                    <a:cubicBezTo>
                      <a:pt x="374" y="428"/>
                      <a:pt x="398" y="428"/>
                      <a:pt x="413" y="413"/>
                    </a:cubicBezTo>
                    <a:cubicBezTo>
                      <a:pt x="428" y="398"/>
                      <a:pt x="428" y="374"/>
                      <a:pt x="413" y="359"/>
                    </a:cubicBezTo>
                    <a:cubicBezTo>
                      <a:pt x="272" y="218"/>
                      <a:pt x="272" y="218"/>
                      <a:pt x="272" y="218"/>
                    </a:cubicBezTo>
                    <a:cubicBezTo>
                      <a:pt x="301" y="166"/>
                      <a:pt x="294" y="98"/>
                      <a:pt x="249" y="53"/>
                    </a:cubicBezTo>
                    <a:cubicBezTo>
                      <a:pt x="195" y="0"/>
                      <a:pt x="108" y="0"/>
                      <a:pt x="54" y="53"/>
                    </a:cubicBezTo>
                    <a:close/>
                    <a:moveTo>
                      <a:pt x="216" y="215"/>
                    </a:moveTo>
                    <a:cubicBezTo>
                      <a:pt x="180" y="251"/>
                      <a:pt x="123" y="251"/>
                      <a:pt x="87" y="215"/>
                    </a:cubicBezTo>
                    <a:cubicBezTo>
                      <a:pt x="52" y="180"/>
                      <a:pt x="52" y="122"/>
                      <a:pt x="87" y="87"/>
                    </a:cubicBezTo>
                    <a:cubicBezTo>
                      <a:pt x="123" y="51"/>
                      <a:pt x="180" y="51"/>
                      <a:pt x="216" y="87"/>
                    </a:cubicBezTo>
                    <a:cubicBezTo>
                      <a:pt x="251" y="122"/>
                      <a:pt x="251" y="180"/>
                      <a:pt x="216" y="215"/>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494949"/>
                  </a:solidFill>
                  <a:effectLst/>
                  <a:uLnTx/>
                  <a:uFillTx/>
                  <a:latin typeface="Segoe UI" charset="0"/>
                  <a:ea typeface="MS PGothic" charset="0"/>
                </a:endParaRPr>
              </a:p>
            </p:txBody>
          </p:sp>
        </p:grpSp>
        <p:sp>
          <p:nvSpPr>
            <p:cNvPr id="30" name="Freeform 76">
              <a:extLst>
                <a:ext uri="{FF2B5EF4-FFF2-40B4-BE49-F238E27FC236}">
                  <a16:creationId xmlns:a16="http://schemas.microsoft.com/office/drawing/2014/main" id="{CB18641E-BF8E-4C55-89D1-3E328C1A0D92}"/>
                </a:ext>
              </a:extLst>
            </p:cNvPr>
            <p:cNvSpPr>
              <a:spLocks/>
            </p:cNvSpPr>
            <p:nvPr/>
          </p:nvSpPr>
          <p:spPr bwMode="auto">
            <a:xfrm rot="16770598">
              <a:off x="4234094" y="3804979"/>
              <a:ext cx="145281" cy="148436"/>
            </a:xfrm>
            <a:custGeom>
              <a:avLst/>
              <a:gdLst>
                <a:gd name="T0" fmla="*/ 0 w 64"/>
                <a:gd name="T1" fmla="*/ 54 h 68"/>
                <a:gd name="T2" fmla="*/ 54 w 64"/>
                <a:gd name="T3" fmla="*/ 0 h 68"/>
                <a:gd name="T4" fmla="*/ 64 w 64"/>
                <a:gd name="T5" fmla="*/ 10 h 68"/>
                <a:gd name="T6" fmla="*/ 15 w 64"/>
                <a:gd name="T7" fmla="*/ 68 h 68"/>
                <a:gd name="T8" fmla="*/ 0 w 64"/>
                <a:gd name="T9" fmla="*/ 54 h 68"/>
              </a:gdLst>
              <a:ahLst/>
              <a:cxnLst>
                <a:cxn ang="0">
                  <a:pos x="T0" y="T1"/>
                </a:cxn>
                <a:cxn ang="0">
                  <a:pos x="T2" y="T3"/>
                </a:cxn>
                <a:cxn ang="0">
                  <a:pos x="T4" y="T5"/>
                </a:cxn>
                <a:cxn ang="0">
                  <a:pos x="T6" y="T7"/>
                </a:cxn>
                <a:cxn ang="0">
                  <a:pos x="T8" y="T9"/>
                </a:cxn>
              </a:cxnLst>
              <a:rect l="0" t="0" r="r" b="b"/>
              <a:pathLst>
                <a:path w="64" h="68">
                  <a:moveTo>
                    <a:pt x="0" y="54"/>
                  </a:moveTo>
                  <a:cubicBezTo>
                    <a:pt x="0" y="54"/>
                    <a:pt x="42" y="29"/>
                    <a:pt x="54" y="0"/>
                  </a:cubicBezTo>
                  <a:cubicBezTo>
                    <a:pt x="64" y="10"/>
                    <a:pt x="64" y="10"/>
                    <a:pt x="64" y="10"/>
                  </a:cubicBezTo>
                  <a:cubicBezTo>
                    <a:pt x="64" y="10"/>
                    <a:pt x="48" y="46"/>
                    <a:pt x="15" y="68"/>
                  </a:cubicBezTo>
                  <a:lnTo>
                    <a:pt x="0" y="54"/>
                  </a:ln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marL="0" marR="0" lvl="0" indent="0" algn="l" defTabSz="91333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494949"/>
                </a:solidFill>
                <a:effectLst/>
                <a:uLnTx/>
                <a:uFillTx/>
                <a:latin typeface="Segoe UI" charset="0"/>
                <a:ea typeface="MS PGothic" charset="0"/>
              </a:endParaRPr>
            </a:p>
          </p:txBody>
        </p:sp>
      </p:grpSp>
      <p:sp>
        <p:nvSpPr>
          <p:cNvPr id="33" name="TextBox 32">
            <a:extLst>
              <a:ext uri="{FF2B5EF4-FFF2-40B4-BE49-F238E27FC236}">
                <a16:creationId xmlns:a16="http://schemas.microsoft.com/office/drawing/2014/main" id="{5080ED38-41E5-415A-99EE-FB5A2A8C5BD9}"/>
              </a:ext>
            </a:extLst>
          </p:cNvPr>
          <p:cNvSpPr txBox="1"/>
          <p:nvPr/>
        </p:nvSpPr>
        <p:spPr>
          <a:xfrm>
            <a:off x="2032334" y="2755082"/>
            <a:ext cx="1299868" cy="501784"/>
          </a:xfrm>
          <a:prstGeom prst="rect">
            <a:avLst/>
          </a:prstGeom>
          <a:noFill/>
        </p:spPr>
        <p:txBody>
          <a:bodyPr wrap="square" lIns="179208" tIns="143366" rIns="179208" bIns="143366" rtlCol="0">
            <a:noAutofit/>
          </a:bodyPr>
          <a:lstStyle/>
          <a:p>
            <a:pPr algn="ctr" defTabSz="912979">
              <a:lnSpc>
                <a:spcPct val="90000"/>
              </a:lnSpc>
              <a:spcAft>
                <a:spcPts val="588"/>
              </a:spcAft>
            </a:pPr>
            <a:r>
              <a:rPr lang="en-US" sz="1369">
                <a:solidFill>
                  <a:srgbClr val="FFFF00"/>
                </a:solidFill>
                <a:latin typeface="Segoe UI Semibold" panose="020B0702040204020203" pitchFamily="34" charset="0"/>
                <a:cs typeface="Segoe UI Semibold" panose="020B0702040204020203" pitchFamily="34" charset="0"/>
              </a:rPr>
              <a:t>Encrypted </a:t>
            </a:r>
            <a:br>
              <a:rPr lang="en-US" sz="1369">
                <a:solidFill>
                  <a:srgbClr val="FFFF00"/>
                </a:solidFill>
                <a:latin typeface="Segoe UI Semibold" panose="020B0702040204020203" pitchFamily="34" charset="0"/>
                <a:cs typeface="Segoe UI Semibold" panose="020B0702040204020203" pitchFamily="34" charset="0"/>
              </a:rPr>
            </a:br>
            <a:r>
              <a:rPr lang="en-US" sz="1369">
                <a:solidFill>
                  <a:srgbClr val="FFFF00"/>
                </a:solidFill>
                <a:latin typeface="Segoe UI Semibold" panose="020B0702040204020203" pitchFamily="34" charset="0"/>
                <a:cs typeface="Segoe UI Semibold" panose="020B0702040204020203" pitchFamily="34" charset="0"/>
              </a:rPr>
              <a:t>query</a:t>
            </a:r>
          </a:p>
        </p:txBody>
      </p:sp>
      <p:sp>
        <p:nvSpPr>
          <p:cNvPr id="34" name="TextBox 33">
            <a:extLst>
              <a:ext uri="{FF2B5EF4-FFF2-40B4-BE49-F238E27FC236}">
                <a16:creationId xmlns:a16="http://schemas.microsoft.com/office/drawing/2014/main" id="{FFE9B7B7-3A69-461F-A6E1-138A7C770D41}"/>
              </a:ext>
            </a:extLst>
          </p:cNvPr>
          <p:cNvSpPr txBox="1"/>
          <p:nvPr/>
        </p:nvSpPr>
        <p:spPr>
          <a:xfrm>
            <a:off x="5721024" y="4020825"/>
            <a:ext cx="1892909" cy="434620"/>
          </a:xfrm>
          <a:prstGeom prst="rect">
            <a:avLst/>
          </a:prstGeom>
          <a:noFill/>
        </p:spPr>
        <p:txBody>
          <a:bodyPr wrap="square" lIns="179208" tIns="143366" rIns="179208" bIns="143366" rtlCol="0">
            <a:noAutofit/>
          </a:bodyPr>
          <a:lstStyle/>
          <a:p>
            <a:pPr algn="r" defTabSz="912979">
              <a:lnSpc>
                <a:spcPct val="90000"/>
              </a:lnSpc>
              <a:spcAft>
                <a:spcPts val="588"/>
              </a:spcAft>
            </a:pPr>
            <a:r>
              <a:rPr lang="en-US" sz="1369">
                <a:solidFill>
                  <a:srgbClr val="FFFF00"/>
                </a:solidFill>
                <a:latin typeface="Segoe UI Semibold" panose="020B0702040204020203" pitchFamily="34" charset="0"/>
                <a:cs typeface="Segoe UI Semibold" panose="020B0702040204020203" pitchFamily="34" charset="0"/>
              </a:rPr>
              <a:t>Encrypted  columnar</a:t>
            </a:r>
            <a:br>
              <a:rPr lang="en-US" sz="1369">
                <a:solidFill>
                  <a:srgbClr val="FFFF00"/>
                </a:solidFill>
                <a:latin typeface="Segoe UI Semibold" panose="020B0702040204020203" pitchFamily="34" charset="0"/>
                <a:cs typeface="Segoe UI Semibold" panose="020B0702040204020203" pitchFamily="34" charset="0"/>
              </a:rPr>
            </a:br>
            <a:r>
              <a:rPr lang="en-US" sz="1369">
                <a:solidFill>
                  <a:srgbClr val="FFFF00"/>
                </a:solidFill>
                <a:latin typeface="Segoe UI Semibold" panose="020B0702040204020203" pitchFamily="34" charset="0"/>
                <a:cs typeface="Segoe UI Semibold" panose="020B0702040204020203" pitchFamily="34" charset="0"/>
              </a:rPr>
              <a:t>key</a:t>
            </a:r>
          </a:p>
        </p:txBody>
      </p:sp>
      <p:grpSp>
        <p:nvGrpSpPr>
          <p:cNvPr id="35" name="Group 34">
            <a:extLst>
              <a:ext uri="{FF2B5EF4-FFF2-40B4-BE49-F238E27FC236}">
                <a16:creationId xmlns:a16="http://schemas.microsoft.com/office/drawing/2014/main" id="{81D6D622-5CC2-4563-94B2-0C2475B083FF}"/>
              </a:ext>
            </a:extLst>
          </p:cNvPr>
          <p:cNvGrpSpPr/>
          <p:nvPr/>
        </p:nvGrpSpPr>
        <p:grpSpPr>
          <a:xfrm>
            <a:off x="816356" y="3033624"/>
            <a:ext cx="1380044" cy="1034063"/>
            <a:chOff x="694457" y="3477304"/>
            <a:chExt cx="1408316" cy="1055248"/>
          </a:xfrm>
        </p:grpSpPr>
        <p:grpSp>
          <p:nvGrpSpPr>
            <p:cNvPr id="36" name="Group 35">
              <a:extLst>
                <a:ext uri="{FF2B5EF4-FFF2-40B4-BE49-F238E27FC236}">
                  <a16:creationId xmlns:a16="http://schemas.microsoft.com/office/drawing/2014/main" id="{19D7832F-FE0A-4426-BE39-5FF85C5F8DB7}"/>
                </a:ext>
              </a:extLst>
            </p:cNvPr>
            <p:cNvGrpSpPr/>
            <p:nvPr/>
          </p:nvGrpSpPr>
          <p:grpSpPr>
            <a:xfrm>
              <a:off x="694457" y="3477304"/>
              <a:ext cx="1408316" cy="1055248"/>
              <a:chOff x="1111115" y="2463858"/>
              <a:chExt cx="1555885" cy="1165821"/>
            </a:xfrm>
          </p:grpSpPr>
          <p:sp>
            <p:nvSpPr>
              <p:cNvPr id="38" name="Freeform 84">
                <a:extLst>
                  <a:ext uri="{FF2B5EF4-FFF2-40B4-BE49-F238E27FC236}">
                    <a16:creationId xmlns:a16="http://schemas.microsoft.com/office/drawing/2014/main" id="{9AFE16A3-D71A-4BB3-9E1A-4308419704DB}"/>
                  </a:ext>
                </a:extLst>
              </p:cNvPr>
              <p:cNvSpPr>
                <a:spLocks noChangeAspect="1"/>
              </p:cNvSpPr>
              <p:nvPr/>
            </p:nvSpPr>
            <p:spPr bwMode="auto">
              <a:xfrm>
                <a:off x="1184439" y="2654562"/>
                <a:ext cx="1481960" cy="962317"/>
              </a:xfrm>
              <a:custGeom>
                <a:avLst/>
                <a:gdLst>
                  <a:gd name="connsiteX0" fmla="*/ 678350 w 1481959"/>
                  <a:gd name="connsiteY0" fmla="*/ 258990 h 962317"/>
                  <a:gd name="connsiteX1" fmla="*/ 688805 w 1481959"/>
                  <a:gd name="connsiteY1" fmla="*/ 259224 h 962317"/>
                  <a:gd name="connsiteX2" fmla="*/ 971484 w 1481959"/>
                  <a:gd name="connsiteY2" fmla="*/ 259224 h 962317"/>
                  <a:gd name="connsiteX3" fmla="*/ 1006067 w 1481959"/>
                  <a:gd name="connsiteY3" fmla="*/ 292305 h 962317"/>
                  <a:gd name="connsiteX4" fmla="*/ 1006067 w 1481959"/>
                  <a:gd name="connsiteY4" fmla="*/ 576488 h 962317"/>
                  <a:gd name="connsiteX5" fmla="*/ 1004269 w 1481959"/>
                  <a:gd name="connsiteY5" fmla="*/ 595185 h 962317"/>
                  <a:gd name="connsiteX6" fmla="*/ 996845 w 1481959"/>
                  <a:gd name="connsiteY6" fmla="*/ 596703 h 962317"/>
                  <a:gd name="connsiteX7" fmla="*/ 946477 w 1481959"/>
                  <a:gd name="connsiteY7" fmla="*/ 546841 h 962317"/>
                  <a:gd name="connsiteX8" fmla="*/ 903068 w 1481959"/>
                  <a:gd name="connsiteY8" fmla="*/ 547059 h 962317"/>
                  <a:gd name="connsiteX9" fmla="*/ 711725 w 1481959"/>
                  <a:gd name="connsiteY9" fmla="*/ 740344 h 962317"/>
                  <a:gd name="connsiteX10" fmla="*/ 661739 w 1481959"/>
                  <a:gd name="connsiteY10" fmla="*/ 719332 h 962317"/>
                  <a:gd name="connsiteX11" fmla="*/ 535436 w 1481959"/>
                  <a:gd name="connsiteY11" fmla="*/ 593028 h 962317"/>
                  <a:gd name="connsiteX12" fmla="*/ 520710 w 1481959"/>
                  <a:gd name="connsiteY12" fmla="*/ 557602 h 962317"/>
                  <a:gd name="connsiteX13" fmla="*/ 597984 w 1481959"/>
                  <a:gd name="connsiteY13" fmla="*/ 478826 h 962317"/>
                  <a:gd name="connsiteX14" fmla="*/ 709855 w 1481959"/>
                  <a:gd name="connsiteY14" fmla="*/ 368988 h 962317"/>
                  <a:gd name="connsiteX15" fmla="*/ 720565 w 1481959"/>
                  <a:gd name="connsiteY15" fmla="*/ 351055 h 962317"/>
                  <a:gd name="connsiteX16" fmla="*/ 722022 w 1481959"/>
                  <a:gd name="connsiteY16" fmla="*/ 347917 h 962317"/>
                  <a:gd name="connsiteX17" fmla="*/ 723721 w 1481959"/>
                  <a:gd name="connsiteY17" fmla="*/ 338718 h 962317"/>
                  <a:gd name="connsiteX18" fmla="*/ 723262 w 1481959"/>
                  <a:gd name="connsiteY18" fmla="*/ 334338 h 962317"/>
                  <a:gd name="connsiteX19" fmla="*/ 723111 w 1481959"/>
                  <a:gd name="connsiteY19" fmla="*/ 333602 h 962317"/>
                  <a:gd name="connsiteX20" fmla="*/ 714729 w 1481959"/>
                  <a:gd name="connsiteY20" fmla="*/ 315979 h 962317"/>
                  <a:gd name="connsiteX21" fmla="*/ 678087 w 1481959"/>
                  <a:gd name="connsiteY21" fmla="*/ 280035 h 962317"/>
                  <a:gd name="connsiteX22" fmla="*/ 668098 w 1481959"/>
                  <a:gd name="connsiteY22" fmla="*/ 262301 h 962317"/>
                  <a:gd name="connsiteX23" fmla="*/ 678350 w 1481959"/>
                  <a:gd name="connsiteY23" fmla="*/ 258990 h 962317"/>
                  <a:gd name="connsiteX24" fmla="*/ 72174 w 1481959"/>
                  <a:gd name="connsiteY24" fmla="*/ 72174 h 962317"/>
                  <a:gd name="connsiteX25" fmla="*/ 72174 w 1481959"/>
                  <a:gd name="connsiteY25" fmla="*/ 887737 h 962317"/>
                  <a:gd name="connsiteX26" fmla="*/ 1402569 w 1481959"/>
                  <a:gd name="connsiteY26" fmla="*/ 887737 h 962317"/>
                  <a:gd name="connsiteX27" fmla="*/ 1402569 w 1481959"/>
                  <a:gd name="connsiteY27" fmla="*/ 72174 h 962317"/>
                  <a:gd name="connsiteX28" fmla="*/ 65620 w 1481959"/>
                  <a:gd name="connsiteY28" fmla="*/ 0 h 962317"/>
                  <a:gd name="connsiteX29" fmla="*/ 1416339 w 1481959"/>
                  <a:gd name="connsiteY29" fmla="*/ 0 h 962317"/>
                  <a:gd name="connsiteX30" fmla="*/ 1481959 w 1481959"/>
                  <a:gd name="connsiteY30" fmla="*/ 65621 h 962317"/>
                  <a:gd name="connsiteX31" fmla="*/ 1481959 w 1481959"/>
                  <a:gd name="connsiteY31" fmla="*/ 896697 h 962317"/>
                  <a:gd name="connsiteX32" fmla="*/ 1416339 w 1481959"/>
                  <a:gd name="connsiteY32" fmla="*/ 962317 h 962317"/>
                  <a:gd name="connsiteX33" fmla="*/ 65620 w 1481959"/>
                  <a:gd name="connsiteY33" fmla="*/ 962317 h 962317"/>
                  <a:gd name="connsiteX34" fmla="*/ 0 w 1481959"/>
                  <a:gd name="connsiteY34" fmla="*/ 896697 h 962317"/>
                  <a:gd name="connsiteX35" fmla="*/ 0 w 1481959"/>
                  <a:gd name="connsiteY35" fmla="*/ 65621 h 962317"/>
                  <a:gd name="connsiteX36" fmla="*/ 65620 w 1481959"/>
                  <a:gd name="connsiteY36"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959" h="962317">
                    <a:moveTo>
                      <a:pt x="678350" y="258990"/>
                    </a:moveTo>
                    <a:cubicBezTo>
                      <a:pt x="681742" y="259020"/>
                      <a:pt x="685484" y="259288"/>
                      <a:pt x="688805" y="259224"/>
                    </a:cubicBezTo>
                    <a:lnTo>
                      <a:pt x="971484" y="259224"/>
                    </a:lnTo>
                    <a:cubicBezTo>
                      <a:pt x="1000302" y="256718"/>
                      <a:pt x="1008071" y="270753"/>
                      <a:pt x="1006067" y="292305"/>
                    </a:cubicBezTo>
                    <a:lnTo>
                      <a:pt x="1006067" y="576488"/>
                    </a:lnTo>
                    <a:lnTo>
                      <a:pt x="1004269" y="595185"/>
                    </a:lnTo>
                    <a:cubicBezTo>
                      <a:pt x="1002451" y="598026"/>
                      <a:pt x="999695" y="598003"/>
                      <a:pt x="996845" y="596703"/>
                    </a:cubicBezTo>
                    <a:lnTo>
                      <a:pt x="946477" y="546841"/>
                    </a:lnTo>
                    <a:cubicBezTo>
                      <a:pt x="934430" y="534914"/>
                      <a:pt x="914995" y="535011"/>
                      <a:pt x="903068" y="547059"/>
                    </a:cubicBezTo>
                    <a:lnTo>
                      <a:pt x="711725" y="740344"/>
                    </a:lnTo>
                    <a:cubicBezTo>
                      <a:pt x="699360" y="748226"/>
                      <a:pt x="689313" y="744295"/>
                      <a:pt x="661739" y="719332"/>
                    </a:cubicBezTo>
                    <a:lnTo>
                      <a:pt x="535436" y="593028"/>
                    </a:lnTo>
                    <a:cubicBezTo>
                      <a:pt x="524870" y="579553"/>
                      <a:pt x="516830" y="569445"/>
                      <a:pt x="520710" y="557602"/>
                    </a:cubicBezTo>
                    <a:lnTo>
                      <a:pt x="597984" y="478826"/>
                    </a:lnTo>
                    <a:lnTo>
                      <a:pt x="709855" y="368988"/>
                    </a:lnTo>
                    <a:cubicBezTo>
                      <a:pt x="715078" y="361976"/>
                      <a:pt x="718582" y="356117"/>
                      <a:pt x="720565" y="351055"/>
                    </a:cubicBezTo>
                    <a:cubicBezTo>
                      <a:pt x="721405" y="350159"/>
                      <a:pt x="721848" y="349083"/>
                      <a:pt x="722022" y="347917"/>
                    </a:cubicBezTo>
                    <a:cubicBezTo>
                      <a:pt x="723326" y="344409"/>
                      <a:pt x="723862" y="341379"/>
                      <a:pt x="723721" y="338718"/>
                    </a:cubicBezTo>
                    <a:cubicBezTo>
                      <a:pt x="723959" y="337241"/>
                      <a:pt x="723892" y="335759"/>
                      <a:pt x="723262" y="334338"/>
                    </a:cubicBezTo>
                    <a:cubicBezTo>
                      <a:pt x="723291" y="334071"/>
                      <a:pt x="723225" y="333829"/>
                      <a:pt x="723111" y="333602"/>
                    </a:cubicBezTo>
                    <a:cubicBezTo>
                      <a:pt x="722700" y="327088"/>
                      <a:pt x="719734" y="320887"/>
                      <a:pt x="714729" y="315979"/>
                    </a:cubicBezTo>
                    <a:lnTo>
                      <a:pt x="678087" y="280035"/>
                    </a:lnTo>
                    <a:lnTo>
                      <a:pt x="668098" y="262301"/>
                    </a:lnTo>
                    <a:cubicBezTo>
                      <a:pt x="669005" y="259420"/>
                      <a:pt x="673283" y="258942"/>
                      <a:pt x="678350" y="258990"/>
                    </a:cubicBezTo>
                    <a:close/>
                    <a:moveTo>
                      <a:pt x="72174" y="72174"/>
                    </a:moveTo>
                    <a:lnTo>
                      <a:pt x="72174" y="887737"/>
                    </a:lnTo>
                    <a:lnTo>
                      <a:pt x="1402569" y="887737"/>
                    </a:lnTo>
                    <a:lnTo>
                      <a:pt x="1402569" y="72174"/>
                    </a:lnTo>
                    <a:close/>
                    <a:moveTo>
                      <a:pt x="65620" y="0"/>
                    </a:moveTo>
                    <a:lnTo>
                      <a:pt x="1416339" y="0"/>
                    </a:lnTo>
                    <a:cubicBezTo>
                      <a:pt x="1452581" y="0"/>
                      <a:pt x="1481959" y="29379"/>
                      <a:pt x="1481959" y="65621"/>
                    </a:cubicBezTo>
                    <a:lnTo>
                      <a:pt x="1481959" y="896697"/>
                    </a:lnTo>
                    <a:cubicBezTo>
                      <a:pt x="1481959" y="932938"/>
                      <a:pt x="1452581" y="962317"/>
                      <a:pt x="1416339" y="962317"/>
                    </a:cubicBezTo>
                    <a:lnTo>
                      <a:pt x="65620" y="962317"/>
                    </a:lnTo>
                    <a:cubicBezTo>
                      <a:pt x="29379" y="962317"/>
                      <a:pt x="0" y="932938"/>
                      <a:pt x="0" y="896697"/>
                    </a:cubicBezTo>
                    <a:lnTo>
                      <a:pt x="0" y="65621"/>
                    </a:lnTo>
                    <a:cubicBezTo>
                      <a:pt x="0" y="29379"/>
                      <a:pt x="29379" y="0"/>
                      <a:pt x="65620" y="0"/>
                    </a:cubicBezTo>
                    <a:close/>
                  </a:path>
                </a:pathLst>
              </a:custGeom>
              <a:solidFill>
                <a:srgbClr val="0072C6"/>
              </a:solidFill>
              <a:ln w="9525" cap="flat" cmpd="sng" algn="ctr">
                <a:noFill/>
                <a:prstDash val="solid"/>
              </a:ln>
              <a:effectLst/>
            </p:spPr>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575">
                  <a:defRPr/>
                </a:pPr>
                <a:endParaRPr lang="en-US" sz="1369" kern="0" spc="-49">
                  <a:ln>
                    <a:solidFill>
                      <a:srgbClr val="FFFFFF">
                        <a:alpha val="0"/>
                      </a:srgbClr>
                    </a:solidFill>
                  </a:ln>
                  <a:solidFill>
                    <a:srgbClr val="494949"/>
                  </a:solidFill>
                  <a:ea typeface="Segoe UI" pitchFamily="34" charset="0"/>
                  <a:cs typeface="Segoe UI" pitchFamily="34" charset="0"/>
                </a:endParaRPr>
              </a:p>
            </p:txBody>
          </p:sp>
          <p:sp>
            <p:nvSpPr>
              <p:cNvPr id="39" name="Freeform 85">
                <a:extLst>
                  <a:ext uri="{FF2B5EF4-FFF2-40B4-BE49-F238E27FC236}">
                    <a16:creationId xmlns:a16="http://schemas.microsoft.com/office/drawing/2014/main" id="{3CE2CA8A-9716-4D8E-A08C-48E0B56DDF16}"/>
                  </a:ext>
                </a:extLst>
              </p:cNvPr>
              <p:cNvSpPr>
                <a:spLocks noChangeAspect="1"/>
              </p:cNvSpPr>
              <p:nvPr/>
            </p:nvSpPr>
            <p:spPr bwMode="auto">
              <a:xfrm>
                <a:off x="1182634" y="2463858"/>
                <a:ext cx="1484366" cy="174178"/>
              </a:xfrm>
              <a:custGeom>
                <a:avLst/>
                <a:gdLst>
                  <a:gd name="connsiteX0" fmla="*/ 1126907 w 1484366"/>
                  <a:gd name="connsiteY0" fmla="*/ 92222 h 174178"/>
                  <a:gd name="connsiteX1" fmla="*/ 1126907 w 1484366"/>
                  <a:gd name="connsiteY1" fmla="*/ 100883 h 174178"/>
                  <a:gd name="connsiteX2" fmla="*/ 1184646 w 1484366"/>
                  <a:gd name="connsiteY2" fmla="*/ 100883 h 174178"/>
                  <a:gd name="connsiteX3" fmla="*/ 1184646 w 1484366"/>
                  <a:gd name="connsiteY3" fmla="*/ 92222 h 174178"/>
                  <a:gd name="connsiteX4" fmla="*/ 1229754 w 1484366"/>
                  <a:gd name="connsiteY4" fmla="*/ 51724 h 174178"/>
                  <a:gd name="connsiteX5" fmla="*/ 1276267 w 1484366"/>
                  <a:gd name="connsiteY5" fmla="*/ 51724 h 174178"/>
                  <a:gd name="connsiteX6" fmla="*/ 1276267 w 1484366"/>
                  <a:gd name="connsiteY6" fmla="*/ 98237 h 174178"/>
                  <a:gd name="connsiteX7" fmla="*/ 1229754 w 1484366"/>
                  <a:gd name="connsiteY7" fmla="*/ 98237 h 174178"/>
                  <a:gd name="connsiteX8" fmla="*/ 1224142 w 1484366"/>
                  <a:gd name="connsiteY8" fmla="*/ 46112 h 174178"/>
                  <a:gd name="connsiteX9" fmla="*/ 1224142 w 1484366"/>
                  <a:gd name="connsiteY9" fmla="*/ 103850 h 174178"/>
                  <a:gd name="connsiteX10" fmla="*/ 1281879 w 1484366"/>
                  <a:gd name="connsiteY10" fmla="*/ 103850 h 174178"/>
                  <a:gd name="connsiteX11" fmla="*/ 1281879 w 1484366"/>
                  <a:gd name="connsiteY11" fmla="*/ 46112 h 174178"/>
                  <a:gd name="connsiteX12" fmla="*/ 1335992 w 1484366"/>
                  <a:gd name="connsiteY12" fmla="*/ 45213 h 174178"/>
                  <a:gd name="connsiteX13" fmla="*/ 1328262 w 1484366"/>
                  <a:gd name="connsiteY13" fmla="*/ 54101 h 174178"/>
                  <a:gd name="connsiteX14" fmla="*/ 1352498 w 1484366"/>
                  <a:gd name="connsiteY14" fmla="*/ 75181 h 174178"/>
                  <a:gd name="connsiteX15" fmla="*/ 1328262 w 1484366"/>
                  <a:gd name="connsiteY15" fmla="*/ 96262 h 174178"/>
                  <a:gd name="connsiteX16" fmla="*/ 1335992 w 1484366"/>
                  <a:gd name="connsiteY16" fmla="*/ 105149 h 174178"/>
                  <a:gd name="connsiteX17" fmla="*/ 1361471 w 1484366"/>
                  <a:gd name="connsiteY17" fmla="*/ 82986 h 174178"/>
                  <a:gd name="connsiteX18" fmla="*/ 1386951 w 1484366"/>
                  <a:gd name="connsiteY18" fmla="*/ 105149 h 174178"/>
                  <a:gd name="connsiteX19" fmla="*/ 1394681 w 1484366"/>
                  <a:gd name="connsiteY19" fmla="*/ 96262 h 174178"/>
                  <a:gd name="connsiteX20" fmla="*/ 1370445 w 1484366"/>
                  <a:gd name="connsiteY20" fmla="*/ 75181 h 174178"/>
                  <a:gd name="connsiteX21" fmla="*/ 1394681 w 1484366"/>
                  <a:gd name="connsiteY21" fmla="*/ 54101 h 174178"/>
                  <a:gd name="connsiteX22" fmla="*/ 1386951 w 1484366"/>
                  <a:gd name="connsiteY22" fmla="*/ 45213 h 174178"/>
                  <a:gd name="connsiteX23" fmla="*/ 1361471 w 1484366"/>
                  <a:gd name="connsiteY23" fmla="*/ 67375 h 174178"/>
                  <a:gd name="connsiteX24" fmla="*/ 63432 w 1484366"/>
                  <a:gd name="connsiteY24" fmla="*/ 0 h 174178"/>
                  <a:gd name="connsiteX25" fmla="*/ 83802 w 1484366"/>
                  <a:gd name="connsiteY25" fmla="*/ 0 h 174178"/>
                  <a:gd name="connsiteX26" fmla="*/ 1420934 w 1484366"/>
                  <a:gd name="connsiteY26" fmla="*/ 0 h 174178"/>
                  <a:gd name="connsiteX27" fmla="*/ 1484366 w 1484366"/>
                  <a:gd name="connsiteY27" fmla="*/ 63432 h 174178"/>
                  <a:gd name="connsiteX28" fmla="*/ 1484366 w 1484366"/>
                  <a:gd name="connsiteY28" fmla="*/ 150684 h 174178"/>
                  <a:gd name="connsiteX29" fmla="*/ 1479753 w 1484366"/>
                  <a:gd name="connsiteY29" fmla="*/ 174178 h 174178"/>
                  <a:gd name="connsiteX30" fmla="*/ 1430558 w 1484366"/>
                  <a:gd name="connsiteY30" fmla="*/ 149160 h 174178"/>
                  <a:gd name="connsiteX31" fmla="*/ 49548 w 1484366"/>
                  <a:gd name="connsiteY31" fmla="*/ 149661 h 174178"/>
                  <a:gd name="connsiteX32" fmla="*/ 1505 w 1484366"/>
                  <a:gd name="connsiteY32" fmla="*/ 161689 h 174178"/>
                  <a:gd name="connsiteX33" fmla="*/ 0 w 1484366"/>
                  <a:gd name="connsiteY33" fmla="*/ 63432 h 174178"/>
                  <a:gd name="connsiteX34" fmla="*/ 1289 w 1484366"/>
                  <a:gd name="connsiteY34" fmla="*/ 50648 h 174178"/>
                  <a:gd name="connsiteX35" fmla="*/ 4985 w 1484366"/>
                  <a:gd name="connsiteY35" fmla="*/ 38742 h 174178"/>
                  <a:gd name="connsiteX36" fmla="*/ 18580 w 1484366"/>
                  <a:gd name="connsiteY36" fmla="*/ 18578 h 174178"/>
                  <a:gd name="connsiteX37" fmla="*/ 38741 w 1484366"/>
                  <a:gd name="connsiteY37" fmla="*/ 4985 h 174178"/>
                  <a:gd name="connsiteX38" fmla="*/ 50648 w 1484366"/>
                  <a:gd name="connsiteY38" fmla="*/ 1289 h 174178"/>
                  <a:gd name="connsiteX39" fmla="*/ 63432 w 1484366"/>
                  <a:gd name="connsiteY39" fmla="*/ 0 h 17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4366" h="174178">
                    <a:moveTo>
                      <a:pt x="1126907" y="92222"/>
                    </a:moveTo>
                    <a:lnTo>
                      <a:pt x="1126907" y="100883"/>
                    </a:lnTo>
                    <a:lnTo>
                      <a:pt x="1184646" y="100883"/>
                    </a:lnTo>
                    <a:lnTo>
                      <a:pt x="1184646" y="92222"/>
                    </a:lnTo>
                    <a:close/>
                    <a:moveTo>
                      <a:pt x="1229754" y="51724"/>
                    </a:moveTo>
                    <a:lnTo>
                      <a:pt x="1276267" y="51724"/>
                    </a:lnTo>
                    <a:lnTo>
                      <a:pt x="1276267" y="98237"/>
                    </a:lnTo>
                    <a:lnTo>
                      <a:pt x="1229754" y="98237"/>
                    </a:lnTo>
                    <a:close/>
                    <a:moveTo>
                      <a:pt x="1224142" y="46112"/>
                    </a:moveTo>
                    <a:lnTo>
                      <a:pt x="1224142" y="103850"/>
                    </a:lnTo>
                    <a:lnTo>
                      <a:pt x="1281879" y="103850"/>
                    </a:lnTo>
                    <a:lnTo>
                      <a:pt x="1281879" y="46112"/>
                    </a:lnTo>
                    <a:close/>
                    <a:moveTo>
                      <a:pt x="1335992" y="45213"/>
                    </a:moveTo>
                    <a:lnTo>
                      <a:pt x="1328262" y="54101"/>
                    </a:lnTo>
                    <a:lnTo>
                      <a:pt x="1352498" y="75181"/>
                    </a:lnTo>
                    <a:lnTo>
                      <a:pt x="1328262" y="96262"/>
                    </a:lnTo>
                    <a:lnTo>
                      <a:pt x="1335992" y="105149"/>
                    </a:lnTo>
                    <a:lnTo>
                      <a:pt x="1361471" y="82986"/>
                    </a:lnTo>
                    <a:lnTo>
                      <a:pt x="1386951" y="105149"/>
                    </a:lnTo>
                    <a:lnTo>
                      <a:pt x="1394681" y="96262"/>
                    </a:lnTo>
                    <a:lnTo>
                      <a:pt x="1370445" y="75181"/>
                    </a:lnTo>
                    <a:lnTo>
                      <a:pt x="1394681" y="54101"/>
                    </a:lnTo>
                    <a:lnTo>
                      <a:pt x="1386951" y="45213"/>
                    </a:lnTo>
                    <a:lnTo>
                      <a:pt x="1361471" y="67375"/>
                    </a:lnTo>
                    <a:close/>
                    <a:moveTo>
                      <a:pt x="63432" y="0"/>
                    </a:moveTo>
                    <a:lnTo>
                      <a:pt x="83802" y="0"/>
                    </a:lnTo>
                    <a:lnTo>
                      <a:pt x="1420934" y="0"/>
                    </a:lnTo>
                    <a:cubicBezTo>
                      <a:pt x="1455967" y="0"/>
                      <a:pt x="1484366" y="28399"/>
                      <a:pt x="1484366" y="63432"/>
                    </a:cubicBezTo>
                    <a:lnTo>
                      <a:pt x="1484366" y="150684"/>
                    </a:lnTo>
                    <a:cubicBezTo>
                      <a:pt x="1484366" y="159000"/>
                      <a:pt x="1482766" y="166943"/>
                      <a:pt x="1479753" y="174178"/>
                    </a:cubicBezTo>
                    <a:cubicBezTo>
                      <a:pt x="1468946" y="158703"/>
                      <a:pt x="1450867" y="149160"/>
                      <a:pt x="1430558" y="149160"/>
                    </a:cubicBezTo>
                    <a:lnTo>
                      <a:pt x="49548" y="149661"/>
                    </a:lnTo>
                    <a:cubicBezTo>
                      <a:pt x="33534" y="148156"/>
                      <a:pt x="13509" y="150663"/>
                      <a:pt x="1505" y="161689"/>
                    </a:cubicBezTo>
                    <a:cubicBezTo>
                      <a:pt x="1002" y="128937"/>
                      <a:pt x="501" y="96184"/>
                      <a:pt x="0" y="63432"/>
                    </a:cubicBezTo>
                    <a:cubicBezTo>
                      <a:pt x="0" y="59053"/>
                      <a:pt x="444" y="54777"/>
                      <a:pt x="1289" y="50648"/>
                    </a:cubicBezTo>
                    <a:cubicBezTo>
                      <a:pt x="2135" y="46519"/>
                      <a:pt x="3380" y="42536"/>
                      <a:pt x="4985" y="38742"/>
                    </a:cubicBezTo>
                    <a:cubicBezTo>
                      <a:pt x="8195" y="31153"/>
                      <a:pt x="12839" y="24319"/>
                      <a:pt x="18580" y="18578"/>
                    </a:cubicBezTo>
                    <a:cubicBezTo>
                      <a:pt x="24319" y="12839"/>
                      <a:pt x="31152" y="8195"/>
                      <a:pt x="38741" y="4985"/>
                    </a:cubicBezTo>
                    <a:cubicBezTo>
                      <a:pt x="42536" y="3380"/>
                      <a:pt x="46519" y="2133"/>
                      <a:pt x="50648" y="1289"/>
                    </a:cubicBezTo>
                    <a:cubicBezTo>
                      <a:pt x="54778" y="444"/>
                      <a:pt x="59053" y="0"/>
                      <a:pt x="63432" y="0"/>
                    </a:cubicBezTo>
                    <a:close/>
                  </a:path>
                </a:pathLst>
              </a:custGeom>
              <a:solidFill>
                <a:srgbClr val="0072C6">
                  <a:lumMod val="50000"/>
                </a:srgbClr>
              </a:solidFill>
              <a:ln w="9525" cap="flat" cmpd="sng" algn="ctr">
                <a:noFill/>
                <a:prstDash val="solid"/>
              </a:ln>
              <a:effectLst/>
            </p:spPr>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575">
                  <a:defRPr/>
                </a:pPr>
                <a:endParaRPr lang="en-US" sz="1369" kern="0" spc="-49">
                  <a:ln>
                    <a:solidFill>
                      <a:srgbClr val="FFFFFF">
                        <a:alpha val="0"/>
                      </a:srgbClr>
                    </a:solidFill>
                  </a:ln>
                  <a:solidFill>
                    <a:srgbClr val="494949"/>
                  </a:solidFill>
                  <a:ea typeface="Segoe UI" pitchFamily="34" charset="0"/>
                  <a:cs typeface="Segoe UI" pitchFamily="34" charset="0"/>
                </a:endParaRPr>
              </a:p>
            </p:txBody>
          </p:sp>
          <p:sp>
            <p:nvSpPr>
              <p:cNvPr id="40" name="Freeform 86">
                <a:extLst>
                  <a:ext uri="{FF2B5EF4-FFF2-40B4-BE49-F238E27FC236}">
                    <a16:creationId xmlns:a16="http://schemas.microsoft.com/office/drawing/2014/main" id="{97D08DA1-476E-43FA-9570-D4A4DE6EC774}"/>
                  </a:ext>
                </a:extLst>
              </p:cNvPr>
              <p:cNvSpPr>
                <a:spLocks noChangeAspect="1"/>
              </p:cNvSpPr>
              <p:nvPr/>
            </p:nvSpPr>
            <p:spPr bwMode="auto">
              <a:xfrm>
                <a:off x="1111115" y="2667362"/>
                <a:ext cx="1457489" cy="962317"/>
              </a:xfrm>
              <a:custGeom>
                <a:avLst/>
                <a:gdLst>
                  <a:gd name="connsiteX0" fmla="*/ 65139 w 1457489"/>
                  <a:gd name="connsiteY0" fmla="*/ 0 h 962317"/>
                  <a:gd name="connsiteX1" fmla="*/ 1416820 w 1457489"/>
                  <a:gd name="connsiteY1" fmla="*/ 0 h 962317"/>
                  <a:gd name="connsiteX2" fmla="*/ 1442175 w 1457489"/>
                  <a:gd name="connsiteY2" fmla="*/ 5119 h 962317"/>
                  <a:gd name="connsiteX3" fmla="*/ 1457489 w 1457489"/>
                  <a:gd name="connsiteY3" fmla="*/ 15444 h 962317"/>
                  <a:gd name="connsiteX4" fmla="*/ 181174 w 1457489"/>
                  <a:gd name="connsiteY4" fmla="*/ 962317 h 962317"/>
                  <a:gd name="connsiteX5" fmla="*/ 65139 w 1457489"/>
                  <a:gd name="connsiteY5" fmla="*/ 962317 h 962317"/>
                  <a:gd name="connsiteX6" fmla="*/ 0 w 1457489"/>
                  <a:gd name="connsiteY6" fmla="*/ 897178 h 962317"/>
                  <a:gd name="connsiteX7" fmla="*/ 0 w 1457489"/>
                  <a:gd name="connsiteY7" fmla="*/ 65139 h 962317"/>
                  <a:gd name="connsiteX8" fmla="*/ 65139 w 1457489"/>
                  <a:gd name="connsiteY8" fmla="*/ 0 h 9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489" h="962317">
                    <a:moveTo>
                      <a:pt x="65139" y="0"/>
                    </a:moveTo>
                    <a:lnTo>
                      <a:pt x="1416820" y="0"/>
                    </a:lnTo>
                    <a:cubicBezTo>
                      <a:pt x="1425814" y="0"/>
                      <a:pt x="1434382" y="1823"/>
                      <a:pt x="1442175" y="5119"/>
                    </a:cubicBezTo>
                    <a:lnTo>
                      <a:pt x="1457489" y="15444"/>
                    </a:lnTo>
                    <a:lnTo>
                      <a:pt x="181174" y="962317"/>
                    </a:lnTo>
                    <a:lnTo>
                      <a:pt x="65139" y="962317"/>
                    </a:lnTo>
                    <a:cubicBezTo>
                      <a:pt x="29164" y="962317"/>
                      <a:pt x="0" y="933153"/>
                      <a:pt x="0" y="897178"/>
                    </a:cubicBezTo>
                    <a:lnTo>
                      <a:pt x="0" y="65139"/>
                    </a:lnTo>
                    <a:cubicBezTo>
                      <a:pt x="0" y="29164"/>
                      <a:pt x="29164" y="0"/>
                      <a:pt x="65139" y="0"/>
                    </a:cubicBezTo>
                    <a:close/>
                  </a:path>
                </a:pathLst>
              </a:custGeom>
              <a:solidFill>
                <a:srgbClr val="FFFFFF">
                  <a:alpha val="18000"/>
                </a:srgbClr>
              </a:solidFill>
              <a:ln w="9525" cap="flat" cmpd="sng" algn="ctr">
                <a:noFill/>
                <a:prstDash val="solid"/>
              </a:ln>
              <a:effectLst/>
            </p:spPr>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575">
                  <a:defRPr/>
                </a:pPr>
                <a:endParaRPr lang="en-US" sz="1369" kern="0" spc="-49">
                  <a:ln>
                    <a:solidFill>
                      <a:srgbClr val="FFFFFF">
                        <a:alpha val="0"/>
                      </a:srgbClr>
                    </a:solidFill>
                  </a:ln>
                  <a:solidFill>
                    <a:srgbClr val="494949"/>
                  </a:solidFill>
                  <a:ea typeface="Segoe UI" pitchFamily="34" charset="0"/>
                  <a:cs typeface="Segoe UI" pitchFamily="34" charset="0"/>
                </a:endParaRPr>
              </a:p>
            </p:txBody>
          </p:sp>
        </p:grpSp>
        <p:sp>
          <p:nvSpPr>
            <p:cNvPr id="37" name="Rounded Rectangle 83">
              <a:extLst>
                <a:ext uri="{FF2B5EF4-FFF2-40B4-BE49-F238E27FC236}">
                  <a16:creationId xmlns:a16="http://schemas.microsoft.com/office/drawing/2014/main" id="{59E3CC34-76EF-4FAF-BD60-586CF613D629}"/>
                </a:ext>
              </a:extLst>
            </p:cNvPr>
            <p:cNvSpPr/>
            <p:nvPr/>
          </p:nvSpPr>
          <p:spPr bwMode="auto">
            <a:xfrm>
              <a:off x="880998" y="3745119"/>
              <a:ext cx="1154851" cy="703825"/>
            </a:xfrm>
            <a:prstGeom prst="roundRect">
              <a:avLst>
                <a:gd name="adj" fmla="val 0"/>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6">
                <a:lnSpc>
                  <a:spcPct val="90000"/>
                </a:lnSpc>
                <a:defRPr/>
              </a:pPr>
              <a:r>
                <a:rPr lang="en-US" sz="1567" b="1" kern="0">
                  <a:solidFill>
                    <a:srgbClr val="494949"/>
                  </a:solidFill>
                  <a:ea typeface="Segoe UI" pitchFamily="34" charset="0"/>
                  <a:cs typeface="Segoe UI" pitchFamily="34" charset="0"/>
                </a:rPr>
                <a:t>No app changes</a:t>
              </a:r>
            </a:p>
          </p:txBody>
        </p:sp>
      </p:grpSp>
      <p:grpSp>
        <p:nvGrpSpPr>
          <p:cNvPr id="41" name="Group 40">
            <a:extLst>
              <a:ext uri="{FF2B5EF4-FFF2-40B4-BE49-F238E27FC236}">
                <a16:creationId xmlns:a16="http://schemas.microsoft.com/office/drawing/2014/main" id="{CDDAA234-41CD-4E0A-A01D-5760967DF074}"/>
              </a:ext>
            </a:extLst>
          </p:cNvPr>
          <p:cNvGrpSpPr/>
          <p:nvPr/>
        </p:nvGrpSpPr>
        <p:grpSpPr>
          <a:xfrm>
            <a:off x="786468" y="3541169"/>
            <a:ext cx="423336" cy="544055"/>
            <a:chOff x="535013" y="3970759"/>
            <a:chExt cx="432008" cy="555200"/>
          </a:xfrm>
        </p:grpSpPr>
        <p:sp>
          <p:nvSpPr>
            <p:cNvPr id="42" name="Rectangle 74">
              <a:extLst>
                <a:ext uri="{FF2B5EF4-FFF2-40B4-BE49-F238E27FC236}">
                  <a16:creationId xmlns:a16="http://schemas.microsoft.com/office/drawing/2014/main" id="{4825C5C1-9385-426F-9213-611739440A14}"/>
                </a:ext>
              </a:extLst>
            </p:cNvPr>
            <p:cNvSpPr/>
            <p:nvPr>
              <p:custDataLst>
                <p:tags r:id="rId2"/>
              </p:custDataLst>
            </p:nvPr>
          </p:nvSpPr>
          <p:spPr>
            <a:xfrm>
              <a:off x="535013" y="3970759"/>
              <a:ext cx="432008" cy="555200"/>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68217A"/>
            </a:solidFill>
            <a:ln w="6350" cap="flat" cmpd="sng" algn="ctr">
              <a:solidFill>
                <a:srgbClr val="D2D2D2"/>
              </a:solidFill>
              <a:prstDash val="solid"/>
            </a:ln>
            <a:effectLst/>
          </p:spPr>
          <p:txBody>
            <a:bodyPr rtlCol="0" anchor="ctr"/>
            <a:lstStyle/>
            <a:p>
              <a:pPr marL="0" marR="0" lvl="0" indent="0" algn="ctr" defTabSz="91297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494949"/>
                </a:solidFill>
                <a:effectLst/>
                <a:uLnTx/>
                <a:uFillTx/>
              </a:endParaRPr>
            </a:p>
          </p:txBody>
        </p:sp>
        <p:sp>
          <p:nvSpPr>
            <p:cNvPr id="43" name="Freeform 89">
              <a:extLst>
                <a:ext uri="{FF2B5EF4-FFF2-40B4-BE49-F238E27FC236}">
                  <a16:creationId xmlns:a16="http://schemas.microsoft.com/office/drawing/2014/main" id="{81A1BE35-2B3F-4BEE-8E8C-07034348D752}"/>
                </a:ext>
              </a:extLst>
            </p:cNvPr>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rgbClr val="FFFFFF">
                <a:alpha val="21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marR="0" lvl="0" indent="-335951" algn="ctr" defTabSz="913576"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err="1">
                <a:ln>
                  <a:noFill/>
                </a:ln>
                <a:solidFill>
                  <a:srgbClr val="494949"/>
                </a:solidFill>
                <a:effectLst/>
                <a:uLnTx/>
                <a:uFillTx/>
                <a:latin typeface="Segoe UI Light"/>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2304F929-AD09-4FC7-8B36-0113988FDB0C}"/>
              </a:ext>
            </a:extLst>
          </p:cNvPr>
          <p:cNvGrpSpPr/>
          <p:nvPr/>
        </p:nvGrpSpPr>
        <p:grpSpPr>
          <a:xfrm>
            <a:off x="6965288" y="3541168"/>
            <a:ext cx="423336" cy="544055"/>
            <a:chOff x="535014" y="3970765"/>
            <a:chExt cx="432008" cy="555201"/>
          </a:xfrm>
        </p:grpSpPr>
        <p:sp>
          <p:nvSpPr>
            <p:cNvPr id="45" name="Rectangle 74">
              <a:extLst>
                <a:ext uri="{FF2B5EF4-FFF2-40B4-BE49-F238E27FC236}">
                  <a16:creationId xmlns:a16="http://schemas.microsoft.com/office/drawing/2014/main" id="{FE1BBC41-F95B-4889-9D2D-95F35C75A92B}"/>
                </a:ext>
              </a:extLst>
            </p:cNvPr>
            <p:cNvSpPr/>
            <p:nvPr>
              <p:custDataLst>
                <p:tags r:id="rId1"/>
              </p:custDataLst>
            </p:nvPr>
          </p:nvSpPr>
          <p:spPr>
            <a:xfrm>
              <a:off x="535014" y="3970765"/>
              <a:ext cx="432008" cy="555201"/>
            </a:xfrm>
            <a:custGeom>
              <a:avLst/>
              <a:gdLst/>
              <a:ahLst/>
              <a:cxnLst/>
              <a:rect l="l" t="t" r="r" b="b"/>
              <a:pathLst>
                <a:path w="93101" h="119655">
                  <a:moveTo>
                    <a:pt x="46888" y="61255"/>
                  </a:moveTo>
                  <a:cubicBezTo>
                    <a:pt x="40157" y="61255"/>
                    <a:pt x="34700" y="66712"/>
                    <a:pt x="34700" y="73443"/>
                  </a:cubicBezTo>
                  <a:cubicBezTo>
                    <a:pt x="34700" y="78113"/>
                    <a:pt x="37327" y="82169"/>
                    <a:pt x="41596" y="83438"/>
                  </a:cubicBezTo>
                  <a:lnTo>
                    <a:pt x="38933" y="104741"/>
                  </a:lnTo>
                  <a:lnTo>
                    <a:pt x="55183" y="104741"/>
                  </a:lnTo>
                  <a:lnTo>
                    <a:pt x="52504" y="83305"/>
                  </a:lnTo>
                  <a:cubicBezTo>
                    <a:pt x="56597" y="81937"/>
                    <a:pt x="59076" y="77980"/>
                    <a:pt x="59076" y="73443"/>
                  </a:cubicBezTo>
                  <a:cubicBezTo>
                    <a:pt x="59076" y="66712"/>
                    <a:pt x="53619" y="61255"/>
                    <a:pt x="46888" y="61255"/>
                  </a:cubicBezTo>
                  <a:close/>
                  <a:moveTo>
                    <a:pt x="47468" y="17532"/>
                  </a:moveTo>
                  <a:cubicBezTo>
                    <a:pt x="43681" y="17333"/>
                    <a:pt x="39830" y="18360"/>
                    <a:pt x="36547" y="20648"/>
                  </a:cubicBezTo>
                  <a:cubicBezTo>
                    <a:pt x="29978" y="25222"/>
                    <a:pt x="27348" y="33667"/>
                    <a:pt x="30159" y="41162"/>
                  </a:cubicBezTo>
                  <a:lnTo>
                    <a:pt x="29615" y="41365"/>
                  </a:lnTo>
                  <a:lnTo>
                    <a:pt x="62407" y="41365"/>
                  </a:lnTo>
                  <a:cubicBezTo>
                    <a:pt x="65562" y="34644"/>
                    <a:pt x="63689" y="26692"/>
                    <a:pt x="58003" y="21774"/>
                  </a:cubicBezTo>
                  <a:cubicBezTo>
                    <a:pt x="54976" y="19155"/>
                    <a:pt x="51254" y="17730"/>
                    <a:pt x="47468" y="17532"/>
                  </a:cubicBezTo>
                  <a:close/>
                  <a:moveTo>
                    <a:pt x="48385" y="49"/>
                  </a:moveTo>
                  <a:cubicBezTo>
                    <a:pt x="55959" y="446"/>
                    <a:pt x="63402" y="3297"/>
                    <a:pt x="69456" y="8533"/>
                  </a:cubicBezTo>
                  <a:cubicBezTo>
                    <a:pt x="79598" y="17305"/>
                    <a:pt x="83675" y="30904"/>
                    <a:pt x="78885" y="43093"/>
                  </a:cubicBezTo>
                  <a:cubicBezTo>
                    <a:pt x="87177" y="43906"/>
                    <a:pt x="93101" y="51139"/>
                    <a:pt x="93101" y="59752"/>
                  </a:cubicBezTo>
                  <a:lnTo>
                    <a:pt x="93101" y="119654"/>
                  </a:lnTo>
                  <a:lnTo>
                    <a:pt x="0" y="119655"/>
                  </a:lnTo>
                  <a:lnTo>
                    <a:pt x="0" y="59752"/>
                  </a:lnTo>
                  <a:cubicBezTo>
                    <a:pt x="0" y="51365"/>
                    <a:pt x="5617" y="44289"/>
                    <a:pt x="13654" y="43326"/>
                  </a:cubicBezTo>
                  <a:cubicBezTo>
                    <a:pt x="9060" y="29605"/>
                    <a:pt x="14482" y="14678"/>
                    <a:pt x="26544" y="6281"/>
                  </a:cubicBezTo>
                  <a:cubicBezTo>
                    <a:pt x="33111" y="1706"/>
                    <a:pt x="40813" y="-348"/>
                    <a:pt x="48385" y="49"/>
                  </a:cubicBezTo>
                  <a:close/>
                </a:path>
              </a:pathLst>
            </a:custGeom>
            <a:solidFill>
              <a:srgbClr val="FF8B00"/>
            </a:solidFill>
            <a:ln w="6350" cap="flat" cmpd="sng" algn="ctr">
              <a:solidFill>
                <a:srgbClr val="D2D2D2"/>
              </a:solidFill>
              <a:prstDash val="solid"/>
            </a:ln>
            <a:effectLst/>
          </p:spPr>
          <p:txBody>
            <a:bodyPr rtlCol="0" anchor="ctr"/>
            <a:lstStyle/>
            <a:p>
              <a:pPr marL="0" marR="0" lvl="0" indent="0" algn="ctr" defTabSz="912979" eaLnBrk="1" fontAlgn="auto" latinLnBrk="0" hangingPunct="1">
                <a:lnSpc>
                  <a:spcPct val="100000"/>
                </a:lnSpc>
                <a:spcBef>
                  <a:spcPts val="0"/>
                </a:spcBef>
                <a:spcAft>
                  <a:spcPts val="0"/>
                </a:spcAft>
                <a:buClrTx/>
                <a:buSzTx/>
                <a:buFontTx/>
                <a:buNone/>
                <a:tabLst/>
                <a:defRPr/>
              </a:pPr>
              <a:endParaRPr kumimoji="0" lang="en-US" sz="2353" b="0" i="0" u="none" strike="noStrike" kern="0" cap="none" spc="0" normalizeH="0" baseline="0" noProof="0">
                <a:ln>
                  <a:noFill/>
                </a:ln>
                <a:solidFill>
                  <a:srgbClr val="494949"/>
                </a:solidFill>
                <a:effectLst/>
                <a:uLnTx/>
                <a:uFillTx/>
              </a:endParaRPr>
            </a:p>
          </p:txBody>
        </p:sp>
        <p:sp>
          <p:nvSpPr>
            <p:cNvPr id="46" name="Freeform 93">
              <a:extLst>
                <a:ext uri="{FF2B5EF4-FFF2-40B4-BE49-F238E27FC236}">
                  <a16:creationId xmlns:a16="http://schemas.microsoft.com/office/drawing/2014/main" id="{EF4B30F8-2977-4CB3-8463-7455B522E231}"/>
                </a:ext>
              </a:extLst>
            </p:cNvPr>
            <p:cNvSpPr/>
            <p:nvPr/>
          </p:nvSpPr>
          <p:spPr bwMode="auto">
            <a:xfrm flipH="1">
              <a:off x="563639" y="4188578"/>
              <a:ext cx="328348" cy="325991"/>
            </a:xfrm>
            <a:custGeom>
              <a:avLst/>
              <a:gdLst>
                <a:gd name="connsiteX0" fmla="*/ 2002754 w 2055898"/>
                <a:gd name="connsiteY0" fmla="*/ 0 h 2145774"/>
                <a:gd name="connsiteX1" fmla="*/ 1643743 w 2055898"/>
                <a:gd name="connsiteY1" fmla="*/ 0 h 2145774"/>
                <a:gd name="connsiteX2" fmla="*/ 1080505 w 2055898"/>
                <a:gd name="connsiteY2" fmla="*/ 0 h 2145774"/>
                <a:gd name="connsiteX3" fmla="*/ 1028538 w 2055898"/>
                <a:gd name="connsiteY3" fmla="*/ 0 h 2145774"/>
                <a:gd name="connsiteX4" fmla="*/ 1027360 w 2055898"/>
                <a:gd name="connsiteY4" fmla="*/ 0 h 2145774"/>
                <a:gd name="connsiteX5" fmla="*/ 975393 w 2055898"/>
                <a:gd name="connsiteY5" fmla="*/ 0 h 2145774"/>
                <a:gd name="connsiteX6" fmla="*/ 412155 w 2055898"/>
                <a:gd name="connsiteY6" fmla="*/ 0 h 2145774"/>
                <a:gd name="connsiteX7" fmla="*/ 53144 w 2055898"/>
                <a:gd name="connsiteY7" fmla="*/ 0 h 2145774"/>
                <a:gd name="connsiteX8" fmla="*/ 0 w 2055898"/>
                <a:gd name="connsiteY8" fmla="*/ 53253 h 2145774"/>
                <a:gd name="connsiteX9" fmla="*/ 0 w 2055898"/>
                <a:gd name="connsiteY9" fmla="*/ 114342 h 2145774"/>
                <a:gd name="connsiteX10" fmla="*/ 1781759 w 2055898"/>
                <a:gd name="connsiteY10" fmla="*/ 2145774 h 2145774"/>
                <a:gd name="connsiteX11" fmla="*/ 2055898 w 2055898"/>
                <a:gd name="connsiteY11" fmla="*/ 2145774 h 2145774"/>
                <a:gd name="connsiteX12" fmla="*/ 2055898 w 2055898"/>
                <a:gd name="connsiteY12" fmla="*/ 1119360 h 2145774"/>
                <a:gd name="connsiteX13" fmla="*/ 2055898 w 2055898"/>
                <a:gd name="connsiteY13" fmla="*/ 1079667 h 2145774"/>
                <a:gd name="connsiteX14" fmla="*/ 2055898 w 2055898"/>
                <a:gd name="connsiteY14" fmla="*/ 53253 h 2145774"/>
                <a:gd name="connsiteX15" fmla="*/ 2002754 w 2055898"/>
                <a:gd name="connsiteY15" fmla="*/ 0 h 214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5898" h="2145774">
                  <a:moveTo>
                    <a:pt x="2002754" y="0"/>
                  </a:moveTo>
                  <a:lnTo>
                    <a:pt x="1643743" y="0"/>
                  </a:lnTo>
                  <a:lnTo>
                    <a:pt x="1080505" y="0"/>
                  </a:lnTo>
                  <a:lnTo>
                    <a:pt x="1028538" y="0"/>
                  </a:lnTo>
                  <a:lnTo>
                    <a:pt x="1027360" y="0"/>
                  </a:lnTo>
                  <a:lnTo>
                    <a:pt x="975393" y="0"/>
                  </a:lnTo>
                  <a:lnTo>
                    <a:pt x="412155" y="0"/>
                  </a:lnTo>
                  <a:lnTo>
                    <a:pt x="53144" y="0"/>
                  </a:lnTo>
                  <a:cubicBezTo>
                    <a:pt x="23793" y="0"/>
                    <a:pt x="0" y="23842"/>
                    <a:pt x="0" y="53253"/>
                  </a:cubicBezTo>
                  <a:lnTo>
                    <a:pt x="0" y="114342"/>
                  </a:lnTo>
                  <a:lnTo>
                    <a:pt x="1781759" y="2145774"/>
                  </a:lnTo>
                  <a:lnTo>
                    <a:pt x="2055898" y="2145774"/>
                  </a:lnTo>
                  <a:lnTo>
                    <a:pt x="2055898" y="1119360"/>
                  </a:lnTo>
                  <a:lnTo>
                    <a:pt x="2055898" y="1079667"/>
                  </a:lnTo>
                  <a:lnTo>
                    <a:pt x="2055898" y="53253"/>
                  </a:lnTo>
                  <a:cubicBezTo>
                    <a:pt x="2055898" y="23842"/>
                    <a:pt x="2032105" y="0"/>
                    <a:pt x="2002754" y="0"/>
                  </a:cubicBezTo>
                  <a:close/>
                </a:path>
              </a:pathLst>
            </a:custGeom>
            <a:solidFill>
              <a:srgbClr val="FFFFFF">
                <a:alpha val="21000"/>
              </a:srgbClr>
            </a:solidFill>
            <a:ln w="9525" cap="flat" cmpd="sng" algn="ctr">
              <a:noFill/>
              <a:prstDash val="solid"/>
              <a:headEnd type="none" w="med" len="med"/>
              <a:tailEnd type="none" w="med" len="med"/>
            </a:ln>
            <a:effectLst/>
          </p:spPr>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335951" marR="0" lvl="0" indent="-335951" algn="ctr" defTabSz="913576"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IN" sz="1961" b="1" i="0" u="none" strike="noStrike" kern="0" cap="none" spc="0" normalizeH="0" baseline="0" noProof="0" err="1">
                <a:ln>
                  <a:noFill/>
                </a:ln>
                <a:solidFill>
                  <a:srgbClr val="494949"/>
                </a:solidFill>
                <a:effectLst/>
                <a:uLnTx/>
                <a:uFillTx/>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6388021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a:xfrm>
            <a:off x="655638" y="320040"/>
            <a:ext cx="10880725" cy="461665"/>
          </a:xfrm>
        </p:spPr>
        <p:txBody>
          <a:bodyPr/>
          <a:lstStyle/>
          <a:p>
            <a:r>
              <a:rPr lang="en-US"/>
              <a:t>Understanding Always Encrypted Functionality (Contd.)</a:t>
            </a:r>
          </a:p>
        </p:txBody>
      </p:sp>
      <p:pic>
        <p:nvPicPr>
          <p:cNvPr id="4" name="Picture 3">
            <a:extLst>
              <a:ext uri="{FF2B5EF4-FFF2-40B4-BE49-F238E27FC236}">
                <a16:creationId xmlns:a16="http://schemas.microsoft.com/office/drawing/2014/main" id="{A1931259-BABE-43D9-8E88-B4F7811BAA09}"/>
              </a:ext>
            </a:extLst>
          </p:cNvPr>
          <p:cNvPicPr>
            <a:picLocks noChangeAspect="1"/>
          </p:cNvPicPr>
          <p:nvPr/>
        </p:nvPicPr>
        <p:blipFill>
          <a:blip r:embed="rId3"/>
          <a:stretch>
            <a:fillRect/>
          </a:stretch>
        </p:blipFill>
        <p:spPr>
          <a:xfrm>
            <a:off x="639307" y="1446641"/>
            <a:ext cx="10897055" cy="3811159"/>
          </a:xfrm>
          <a:prstGeom prst="rect">
            <a:avLst/>
          </a:prstGeom>
        </p:spPr>
      </p:pic>
      <p:sp>
        <p:nvSpPr>
          <p:cNvPr id="5" name="Rectangle 4">
            <a:extLst>
              <a:ext uri="{FF2B5EF4-FFF2-40B4-BE49-F238E27FC236}">
                <a16:creationId xmlns:a16="http://schemas.microsoft.com/office/drawing/2014/main" id="{DCCBE35D-BACB-4D11-811F-D6548C28642D}"/>
              </a:ext>
            </a:extLst>
          </p:cNvPr>
          <p:cNvSpPr/>
          <p:nvPr/>
        </p:nvSpPr>
        <p:spPr>
          <a:xfrm>
            <a:off x="7525562" y="1903841"/>
            <a:ext cx="5425188" cy="461665"/>
          </a:xfrm>
          <a:prstGeom prst="rect">
            <a:avLst/>
          </a:prstGeom>
        </p:spPr>
        <p:txBody>
          <a:bodyPr wrap="square">
            <a:spAutoFit/>
          </a:bodyPr>
          <a:lstStyle/>
          <a:p>
            <a:pPr defTabSz="913154" fontAlgn="base">
              <a:spcBef>
                <a:spcPct val="0"/>
              </a:spcBef>
              <a:spcAft>
                <a:spcPct val="0"/>
              </a:spcAft>
            </a:pPr>
            <a:r>
              <a:rPr lang="en-US" sz="1200">
                <a:solidFill>
                  <a:srgbClr val="505050"/>
                </a:solidFill>
                <a:highlight>
                  <a:srgbClr val="FFFFFF"/>
                </a:highlight>
                <a:latin typeface="Consolas" panose="020B0609020204030204" pitchFamily="49" charset="0"/>
              </a:rPr>
              <a:t>"SELECT Name FROM Customers WHERE SSN = @SSN", </a:t>
            </a:r>
          </a:p>
          <a:p>
            <a:pPr defTabSz="913154" fontAlgn="base">
              <a:spcBef>
                <a:spcPct val="0"/>
              </a:spcBef>
              <a:spcAft>
                <a:spcPct val="0"/>
              </a:spcAft>
            </a:pPr>
            <a:r>
              <a:rPr lang="en-US" sz="1200" b="1">
                <a:solidFill>
                  <a:srgbClr val="505050"/>
                </a:solidFill>
                <a:highlight>
                  <a:srgbClr val="FFFFFF"/>
                </a:highlight>
                <a:latin typeface="Consolas" panose="020B0609020204030204" pitchFamily="49" charset="0"/>
              </a:rPr>
              <a:t>0x7ff654ae6d</a:t>
            </a:r>
          </a:p>
        </p:txBody>
      </p:sp>
    </p:spTree>
    <p:extLst>
      <p:ext uri="{BB962C8B-B14F-4D97-AF65-F5344CB8AC3E}">
        <p14:creationId xmlns:p14="http://schemas.microsoft.com/office/powerpoint/2010/main" val="42451215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p:txBody>
          <a:bodyPr/>
          <a:lstStyle/>
          <a:p>
            <a:r>
              <a:rPr lang="en-US"/>
              <a:t>Encryption Methodologies</a:t>
            </a:r>
          </a:p>
        </p:txBody>
      </p:sp>
      <p:graphicFrame>
        <p:nvGraphicFramePr>
          <p:cNvPr id="4" name="Diagram 3">
            <a:extLst>
              <a:ext uri="{FF2B5EF4-FFF2-40B4-BE49-F238E27FC236}">
                <a16:creationId xmlns:a16="http://schemas.microsoft.com/office/drawing/2014/main" id="{F8B00A53-B9D0-4F93-B8B9-878D9EC3BB46}"/>
              </a:ext>
            </a:extLst>
          </p:cNvPr>
          <p:cNvGraphicFramePr/>
          <p:nvPr>
            <p:extLst>
              <p:ext uri="{D42A27DB-BD31-4B8C-83A1-F6EECF244321}">
                <p14:modId xmlns:p14="http://schemas.microsoft.com/office/powerpoint/2010/main" val="7382347"/>
              </p:ext>
            </p:extLst>
          </p:nvPr>
        </p:nvGraphicFramePr>
        <p:xfrm>
          <a:off x="633865" y="1538841"/>
          <a:ext cx="5614535" cy="46889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Down Arrow 7">
            <a:extLst>
              <a:ext uri="{FF2B5EF4-FFF2-40B4-BE49-F238E27FC236}">
                <a16:creationId xmlns:a16="http://schemas.microsoft.com/office/drawing/2014/main" id="{08BC6320-1636-415A-8A58-376B73389592}"/>
              </a:ext>
            </a:extLst>
          </p:cNvPr>
          <p:cNvSpPr/>
          <p:nvPr/>
        </p:nvSpPr>
        <p:spPr bwMode="auto">
          <a:xfrm rot="1623123">
            <a:off x="2177546" y="3097064"/>
            <a:ext cx="491546" cy="1146412"/>
          </a:xfrm>
          <a:prstGeom prst="downArrow">
            <a:avLst>
              <a:gd name="adj1" fmla="val 30952"/>
              <a:gd name="adj2" fmla="val 54762"/>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Down Arrow 8">
            <a:extLst>
              <a:ext uri="{FF2B5EF4-FFF2-40B4-BE49-F238E27FC236}">
                <a16:creationId xmlns:a16="http://schemas.microsoft.com/office/drawing/2014/main" id="{571302C8-F5E7-44BF-BDF6-73B0EF95E2B8}"/>
              </a:ext>
            </a:extLst>
          </p:cNvPr>
          <p:cNvSpPr/>
          <p:nvPr/>
        </p:nvSpPr>
        <p:spPr bwMode="auto">
          <a:xfrm rot="19739397">
            <a:off x="4451182" y="3092695"/>
            <a:ext cx="491546" cy="1146412"/>
          </a:xfrm>
          <a:prstGeom prst="downArrow">
            <a:avLst>
              <a:gd name="adj1" fmla="val 30952"/>
              <a:gd name="adj2" fmla="val 54762"/>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Diagram 6">
            <a:extLst>
              <a:ext uri="{FF2B5EF4-FFF2-40B4-BE49-F238E27FC236}">
                <a16:creationId xmlns:a16="http://schemas.microsoft.com/office/drawing/2014/main" id="{EBAA5271-B329-4E43-888F-74653FEBC003}"/>
              </a:ext>
            </a:extLst>
          </p:cNvPr>
          <p:cNvGraphicFramePr/>
          <p:nvPr>
            <p:extLst>
              <p:ext uri="{D42A27DB-BD31-4B8C-83A1-F6EECF244321}">
                <p14:modId xmlns:p14="http://schemas.microsoft.com/office/powerpoint/2010/main" val="364223855"/>
              </p:ext>
            </p:extLst>
          </p:nvPr>
        </p:nvGraphicFramePr>
        <p:xfrm>
          <a:off x="6579992" y="1069237"/>
          <a:ext cx="4978144" cy="55010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312664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p:txBody>
          <a:bodyPr/>
          <a:lstStyle/>
          <a:p>
            <a:r>
              <a:rPr lang="en-US"/>
              <a:t>Enabling Always Encrypted on Azure SQL DB</a:t>
            </a:r>
          </a:p>
        </p:txBody>
      </p:sp>
      <p:graphicFrame>
        <p:nvGraphicFramePr>
          <p:cNvPr id="7" name="Diagram 6">
            <a:extLst>
              <a:ext uri="{FF2B5EF4-FFF2-40B4-BE49-F238E27FC236}">
                <a16:creationId xmlns:a16="http://schemas.microsoft.com/office/drawing/2014/main" id="{C210E1AC-C10D-4071-AF19-94F4A9176715}"/>
              </a:ext>
            </a:extLst>
          </p:cNvPr>
          <p:cNvGraphicFramePr/>
          <p:nvPr>
            <p:extLst>
              <p:ext uri="{D42A27DB-BD31-4B8C-83A1-F6EECF244321}">
                <p14:modId xmlns:p14="http://schemas.microsoft.com/office/powerpoint/2010/main" val="2243091375"/>
              </p:ext>
            </p:extLst>
          </p:nvPr>
        </p:nvGraphicFramePr>
        <p:xfrm>
          <a:off x="655637" y="1408114"/>
          <a:ext cx="1069816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ylinder 513">
            <a:extLst>
              <a:ext uri="{FF2B5EF4-FFF2-40B4-BE49-F238E27FC236}">
                <a16:creationId xmlns:a16="http://schemas.microsoft.com/office/drawing/2014/main" id="{28231146-3560-45EE-989E-5B262C6B8F36}"/>
              </a:ext>
            </a:extLst>
          </p:cNvPr>
          <p:cNvSpPr/>
          <p:nvPr/>
        </p:nvSpPr>
        <p:spPr bwMode="auto">
          <a:xfrm>
            <a:off x="1905000" y="3833179"/>
            <a:ext cx="2254276" cy="2058772"/>
          </a:xfrm>
          <a:prstGeom prst="can">
            <a:avLst>
              <a:gd name="adj" fmla="val 39530"/>
            </a:avLst>
          </a:prstGeom>
          <a:solidFill>
            <a:srgbClr val="0078D7"/>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600" b="1" kern="0">
                <a:solidFill>
                  <a:srgbClr val="FFFFFF">
                    <a:lumMod val="95000"/>
                  </a:srgbClr>
                </a:solidFill>
                <a:ea typeface="Segoe UI" pitchFamily="34" charset="0"/>
                <a:cs typeface="Segoe UI Semilight" panose="020B0402040204020203" pitchFamily="34" charset="0"/>
              </a:rPr>
              <a:t>DB (Database side)</a:t>
            </a:r>
          </a:p>
        </p:txBody>
      </p:sp>
    </p:spTree>
    <p:extLst>
      <p:ext uri="{BB962C8B-B14F-4D97-AF65-F5344CB8AC3E}">
        <p14:creationId xmlns:p14="http://schemas.microsoft.com/office/powerpoint/2010/main" val="6214969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3541-C1A0-408D-BF0A-D3C4B8F568EA}"/>
              </a:ext>
            </a:extLst>
          </p:cNvPr>
          <p:cNvSpPr>
            <a:spLocks noGrp="1"/>
          </p:cNvSpPr>
          <p:nvPr>
            <p:ph type="title"/>
          </p:nvPr>
        </p:nvSpPr>
        <p:spPr/>
        <p:txBody>
          <a:bodyPr/>
          <a:lstStyle/>
          <a:p>
            <a:r>
              <a:rPr lang="en-US"/>
              <a:t>Enabling Always Encrypted on Azure SQL DB (contd.)</a:t>
            </a:r>
          </a:p>
        </p:txBody>
      </p:sp>
      <p:graphicFrame>
        <p:nvGraphicFramePr>
          <p:cNvPr id="4" name="Diagram 3">
            <a:extLst>
              <a:ext uri="{FF2B5EF4-FFF2-40B4-BE49-F238E27FC236}">
                <a16:creationId xmlns:a16="http://schemas.microsoft.com/office/drawing/2014/main" id="{DC251EBB-1595-48D1-B124-A44C260C859C}"/>
              </a:ext>
            </a:extLst>
          </p:cNvPr>
          <p:cNvGraphicFramePr/>
          <p:nvPr>
            <p:extLst>
              <p:ext uri="{D42A27DB-BD31-4B8C-83A1-F6EECF244321}">
                <p14:modId xmlns:p14="http://schemas.microsoft.com/office/powerpoint/2010/main" val="1476791380"/>
              </p:ext>
            </p:extLst>
          </p:nvPr>
        </p:nvGraphicFramePr>
        <p:xfrm>
          <a:off x="655636" y="1353188"/>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reeform 5">
            <a:extLst>
              <a:ext uri="{FF2B5EF4-FFF2-40B4-BE49-F238E27FC236}">
                <a16:creationId xmlns:a16="http://schemas.microsoft.com/office/drawing/2014/main" id="{9882B8FC-ED7A-44A0-9036-4D4442371BB5}"/>
              </a:ext>
            </a:extLst>
          </p:cNvPr>
          <p:cNvSpPr>
            <a:spLocks noEditPoints="1"/>
          </p:cNvSpPr>
          <p:nvPr/>
        </p:nvSpPr>
        <p:spPr bwMode="auto">
          <a:xfrm>
            <a:off x="3048000" y="3763013"/>
            <a:ext cx="2150846" cy="234741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2050">
              <a:lumMod val="10000"/>
              <a:lumOff val="90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b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br>
            <a:r>
              <a:rPr kumimoji="0" lang="en-US" sz="1800" b="1" i="0" u="none" strike="noStrike" kern="0" cap="none" spc="0" normalizeH="0" baseline="0" noProof="0" dirty="0">
                <a:ln>
                  <a:noFill/>
                </a:ln>
                <a:solidFill>
                  <a:srgbClr val="002050">
                    <a:lumMod val="75000"/>
                    <a:lumOff val="25000"/>
                  </a:srgbClr>
                </a:solidFill>
                <a:effectLst/>
                <a:uLnTx/>
                <a:uFillTx/>
                <a:latin typeface="Segoe UI Semilight"/>
              </a:rPr>
              <a:t>       Client Side</a:t>
            </a:r>
          </a:p>
        </p:txBody>
      </p:sp>
    </p:spTree>
    <p:extLst>
      <p:ext uri="{BB962C8B-B14F-4D97-AF65-F5344CB8AC3E}">
        <p14:creationId xmlns:p14="http://schemas.microsoft.com/office/powerpoint/2010/main" val="2280637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3009-3701-4057-BF65-BFB63A4DFDB3}"/>
              </a:ext>
            </a:extLst>
          </p:cNvPr>
          <p:cNvSpPr>
            <a:spLocks noGrp="1"/>
          </p:cNvSpPr>
          <p:nvPr>
            <p:ph type="title"/>
          </p:nvPr>
        </p:nvSpPr>
        <p:spPr/>
        <p:txBody>
          <a:bodyPr/>
          <a:lstStyle/>
          <a:p>
            <a:r>
              <a:rPr lang="en-US"/>
              <a:t>Azure SQL Database Security Layers</a:t>
            </a:r>
          </a:p>
        </p:txBody>
      </p:sp>
      <p:pic>
        <p:nvPicPr>
          <p:cNvPr id="4" name="Content Placeholder 16">
            <a:extLst>
              <a:ext uri="{FF2B5EF4-FFF2-40B4-BE49-F238E27FC236}">
                <a16:creationId xmlns:a16="http://schemas.microsoft.com/office/drawing/2014/main" id="{94D7FDC5-99AC-4A30-97F1-83C10D035182}"/>
              </a:ext>
            </a:extLst>
          </p:cNvPr>
          <p:cNvPicPr>
            <a:picLocks noChangeAspect="1"/>
          </p:cNvPicPr>
          <p:nvPr/>
        </p:nvPicPr>
        <p:blipFill>
          <a:blip r:embed="rId3"/>
          <a:stretch>
            <a:fillRect/>
          </a:stretch>
        </p:blipFill>
        <p:spPr>
          <a:xfrm>
            <a:off x="804374" y="1755349"/>
            <a:ext cx="10685942" cy="4238558"/>
          </a:xfrm>
          <a:prstGeom prst="rect">
            <a:avLst/>
          </a:prstGeom>
        </p:spPr>
      </p:pic>
      <p:sp>
        <p:nvSpPr>
          <p:cNvPr id="5" name="Rectangle 4">
            <a:extLst>
              <a:ext uri="{FF2B5EF4-FFF2-40B4-BE49-F238E27FC236}">
                <a16:creationId xmlns:a16="http://schemas.microsoft.com/office/drawing/2014/main" id="{A9CA751A-07BE-42FF-A19B-7CDAD1AA8D96}"/>
              </a:ext>
            </a:extLst>
          </p:cNvPr>
          <p:cNvSpPr/>
          <p:nvPr/>
        </p:nvSpPr>
        <p:spPr bwMode="auto">
          <a:xfrm>
            <a:off x="669471" y="1413331"/>
            <a:ext cx="10866891" cy="4814433"/>
          </a:xfrm>
          <a:prstGeom prst="rect">
            <a:avLst/>
          </a:prstGeom>
          <a:noFill/>
          <a:ln w="9525" cap="flat" cmpd="sng" algn="ctr">
            <a:solidFill>
              <a:srgbClr val="002050">
                <a:lumMod val="90000"/>
                <a:lumOff val="1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438804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Enable Always Encrypted</a:t>
            </a:r>
          </a:p>
          <a:p>
            <a:pPr marL="571500" lvl="1" indent="-342900">
              <a:buFont typeface="Arial" panose="020B0604020202020204" pitchFamily="34" charset="0"/>
              <a:buChar char="•"/>
            </a:pPr>
            <a:r>
              <a:rPr lang="en-US"/>
              <a:t>Enable Always Encrypted</a:t>
            </a:r>
          </a:p>
          <a:p>
            <a:pPr marL="571500" lvl="1" indent="-342900">
              <a:buFont typeface="Arial" panose="020B0604020202020204" pitchFamily="34" charset="0"/>
              <a:buChar char="•"/>
            </a:pPr>
            <a:r>
              <a:rPr lang="en-US"/>
              <a:t>Select data through Application.</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871311965"/>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Implement Always Encrypted</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a:t>Exercise 1: </a:t>
            </a:r>
            <a:r>
              <a:rPr lang="en-US"/>
              <a:t>Implement Always Encrypted on Azure SQL Database.</a:t>
            </a:r>
          </a:p>
          <a:p>
            <a:pPr marL="342900" indent="-342900">
              <a:buFont typeface="Arial" panose="020B0604020202020204" pitchFamily="34" charset="0"/>
              <a:buChar char="•"/>
            </a:pPr>
            <a:r>
              <a:rPr lang="en-US" b="1"/>
              <a:t>Exercise 2: </a:t>
            </a:r>
            <a:r>
              <a:rPr lang="en-US"/>
              <a:t>Use the </a:t>
            </a:r>
            <a:r>
              <a:rPr lang="en-US" err="1"/>
              <a:t>.Net</a:t>
            </a:r>
            <a:r>
              <a:rPr lang="en-US"/>
              <a:t> Client App to Test Always Encrypted.</a:t>
            </a:r>
          </a:p>
          <a:p>
            <a:pPr marL="342900" indent="-342900">
              <a:buFont typeface="Arial" panose="020B0604020202020204" pitchFamily="34" charset="0"/>
              <a:buChar char="•"/>
            </a:pPr>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39796647"/>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217A0-6D7A-41EE-B773-70C5835DA4F7}"/>
              </a:ext>
            </a:extLst>
          </p:cNvPr>
          <p:cNvSpPr>
            <a:spLocks noGrp="1"/>
          </p:cNvSpPr>
          <p:nvPr>
            <p:ph type="title"/>
          </p:nvPr>
        </p:nvSpPr>
        <p:spPr/>
        <p:txBody>
          <a:bodyPr/>
          <a:lstStyle/>
          <a:p>
            <a:r>
              <a:rPr lang="en-US"/>
              <a:t>Always Encrypted - Challenges </a:t>
            </a:r>
          </a:p>
        </p:txBody>
      </p:sp>
      <p:sp>
        <p:nvSpPr>
          <p:cNvPr id="4" name="Text Placeholder 2">
            <a:extLst>
              <a:ext uri="{FF2B5EF4-FFF2-40B4-BE49-F238E27FC236}">
                <a16:creationId xmlns:a16="http://schemas.microsoft.com/office/drawing/2014/main" id="{22CC26F8-6EC2-4203-812D-B9C1BC431CC2}"/>
              </a:ext>
            </a:extLst>
          </p:cNvPr>
          <p:cNvSpPr txBox="1">
            <a:spLocks/>
          </p:cNvSpPr>
          <p:nvPr/>
        </p:nvSpPr>
        <p:spPr>
          <a:xfrm>
            <a:off x="1922371" y="1743310"/>
            <a:ext cx="7774162"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304">
              <a:buFont typeface="Wingdings" panose="05000000000000000000" pitchFamily="2" charset="2"/>
              <a:buNone/>
              <a:defRPr/>
            </a:pPr>
            <a:endParaRPr lang="en-US" sz="2400">
              <a:gradFill>
                <a:gsLst>
                  <a:gs pos="1250">
                    <a:srgbClr val="1A1A1A"/>
                  </a:gs>
                  <a:gs pos="100000">
                    <a:srgbClr val="1A1A1A"/>
                  </a:gs>
                </a:gsLst>
                <a:lin ang="5400000" scaled="0"/>
              </a:gradFill>
              <a:latin typeface="Segoe UI"/>
            </a:endParaRPr>
          </a:p>
        </p:txBody>
      </p:sp>
      <p:sp>
        <p:nvSpPr>
          <p:cNvPr id="5" name="Text Placeholder 2">
            <a:extLst>
              <a:ext uri="{FF2B5EF4-FFF2-40B4-BE49-F238E27FC236}">
                <a16:creationId xmlns:a16="http://schemas.microsoft.com/office/drawing/2014/main" id="{E1054237-9A98-4940-AC5D-46CC06508651}"/>
              </a:ext>
            </a:extLst>
          </p:cNvPr>
          <p:cNvSpPr txBox="1">
            <a:spLocks/>
          </p:cNvSpPr>
          <p:nvPr/>
        </p:nvSpPr>
        <p:spPr>
          <a:xfrm>
            <a:off x="1922371" y="3687721"/>
            <a:ext cx="7774162" cy="517038"/>
          </a:xfrm>
          <a:prstGeom prst="rect">
            <a:avLst/>
          </a:prstGeom>
        </p:spPr>
        <p:txBody>
          <a:bodyPr vert="horz" wrap="square" lIns="146283" tIns="91427" rIns="146283" bIns="91427" rtlCol="0">
            <a:spAutoFit/>
          </a:bodyPr>
          <a:lst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121">
              <a:spcBef>
                <a:spcPts val="1800"/>
              </a:spcBef>
              <a:buClr>
                <a:srgbClr val="1A1A1A"/>
              </a:buClr>
              <a:buFont typeface="Wingdings" panose="05000000000000000000" pitchFamily="2" charset="2"/>
              <a:buNone/>
              <a:defRPr/>
            </a:pPr>
            <a:endParaRPr lang="en-US" sz="2400">
              <a:gradFill>
                <a:gsLst>
                  <a:gs pos="1250">
                    <a:srgbClr val="1A1A1A"/>
                  </a:gs>
                  <a:gs pos="100000">
                    <a:srgbClr val="1A1A1A"/>
                  </a:gs>
                </a:gsLst>
                <a:lin ang="5400000" scaled="0"/>
              </a:gradFill>
              <a:latin typeface="Segoe UI"/>
              <a:cs typeface="Segoe UI Semilight" panose="020B0402040204020203" pitchFamily="34" charset="0"/>
            </a:endParaRPr>
          </a:p>
        </p:txBody>
      </p:sp>
      <p:graphicFrame>
        <p:nvGraphicFramePr>
          <p:cNvPr id="6" name="Diagram 5">
            <a:extLst>
              <a:ext uri="{FF2B5EF4-FFF2-40B4-BE49-F238E27FC236}">
                <a16:creationId xmlns:a16="http://schemas.microsoft.com/office/drawing/2014/main" id="{4ED1C95D-D10E-4E2A-89AA-96781BEA7C78}"/>
              </a:ext>
            </a:extLst>
          </p:cNvPr>
          <p:cNvGraphicFramePr/>
          <p:nvPr>
            <p:extLst>
              <p:ext uri="{D42A27DB-BD31-4B8C-83A1-F6EECF244321}">
                <p14:modId xmlns:p14="http://schemas.microsoft.com/office/powerpoint/2010/main" val="2268971024"/>
              </p:ext>
            </p:extLst>
          </p:nvPr>
        </p:nvGraphicFramePr>
        <p:xfrm>
          <a:off x="2178087" y="813501"/>
          <a:ext cx="9285466" cy="5446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6">
            <a:extLst>
              <a:ext uri="{FF2B5EF4-FFF2-40B4-BE49-F238E27FC236}">
                <a16:creationId xmlns:a16="http://schemas.microsoft.com/office/drawing/2014/main" id="{395FE7EC-6CE3-45E2-9B6F-B538A078DF12}"/>
              </a:ext>
            </a:extLst>
          </p:cNvPr>
          <p:cNvGrpSpPr/>
          <p:nvPr/>
        </p:nvGrpSpPr>
        <p:grpSpPr>
          <a:xfrm>
            <a:off x="833310" y="1962932"/>
            <a:ext cx="800945" cy="1072488"/>
            <a:chOff x="1174833" y="1998322"/>
            <a:chExt cx="785311" cy="1051554"/>
          </a:xfrm>
        </p:grpSpPr>
        <p:grpSp>
          <p:nvGrpSpPr>
            <p:cNvPr id="8" name="Group 7">
              <a:extLst>
                <a:ext uri="{FF2B5EF4-FFF2-40B4-BE49-F238E27FC236}">
                  <a16:creationId xmlns:a16="http://schemas.microsoft.com/office/drawing/2014/main" id="{EF9EF3D0-D86D-4DDA-BB10-109A49274F8F}"/>
                </a:ext>
              </a:extLst>
            </p:cNvPr>
            <p:cNvGrpSpPr/>
            <p:nvPr/>
          </p:nvGrpSpPr>
          <p:grpSpPr>
            <a:xfrm>
              <a:off x="1475035" y="1998322"/>
              <a:ext cx="485109" cy="838685"/>
              <a:chOff x="9483369" y="4036570"/>
              <a:chExt cx="385258" cy="666058"/>
            </a:xfrm>
          </p:grpSpPr>
          <p:sp>
            <p:nvSpPr>
              <p:cNvPr id="12" name="Freeform: Shape 11">
                <a:extLst>
                  <a:ext uri="{FF2B5EF4-FFF2-40B4-BE49-F238E27FC236}">
                    <a16:creationId xmlns:a16="http://schemas.microsoft.com/office/drawing/2014/main" id="{B82199D1-3848-474D-AAFF-81398D4BBE7E}"/>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2700">
                <a:solidFill>
                  <a:srgbClr val="002050"/>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sp>
            <p:nvSpPr>
              <p:cNvPr id="13" name="Freeform: Shape 12">
                <a:extLst>
                  <a:ext uri="{FF2B5EF4-FFF2-40B4-BE49-F238E27FC236}">
                    <a16:creationId xmlns:a16="http://schemas.microsoft.com/office/drawing/2014/main" id="{063AD061-3D06-45CA-97F0-88A8AB08EE28}"/>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solidFill>
                <a:srgbClr val="FFFFFF"/>
              </a:solidFill>
              <a:ln w="12700">
                <a:solidFill>
                  <a:srgbClr val="002050"/>
                </a:solidFill>
                <a:miter lim="800000"/>
                <a:headEnd/>
                <a:tailEnd/>
              </a:ln>
            </p:spPr>
            <p:txBody>
              <a:bodyPr vert="horz" wrap="square" lIns="93260" tIns="46630" rIns="93260" bIns="46630" numCol="1" anchor="t" anchorCtr="0" compatLnSpc="1">
                <a:prstTxWarp prst="textNoShape">
                  <a:avLst/>
                </a:prstTxWarp>
                <a:noAutofit/>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latin typeface="Calibri Light" panose="020F0302020204030204"/>
                </a:endParaRPr>
              </a:p>
            </p:txBody>
          </p:sp>
        </p:grpSp>
        <p:grpSp>
          <p:nvGrpSpPr>
            <p:cNvPr id="9" name="Group 8">
              <a:extLst>
                <a:ext uri="{FF2B5EF4-FFF2-40B4-BE49-F238E27FC236}">
                  <a16:creationId xmlns:a16="http://schemas.microsoft.com/office/drawing/2014/main" id="{ACFD4E5F-BB27-4756-9632-50668CB1D0CD}"/>
                </a:ext>
              </a:extLst>
            </p:cNvPr>
            <p:cNvGrpSpPr/>
            <p:nvPr/>
          </p:nvGrpSpPr>
          <p:grpSpPr>
            <a:xfrm>
              <a:off x="1174833" y="2546688"/>
              <a:ext cx="512990" cy="503188"/>
              <a:chOff x="2812595" y="3299751"/>
              <a:chExt cx="512990" cy="503188"/>
            </a:xfrm>
          </p:grpSpPr>
          <p:sp>
            <p:nvSpPr>
              <p:cNvPr id="10" name="Freeform 5">
                <a:extLst>
                  <a:ext uri="{FF2B5EF4-FFF2-40B4-BE49-F238E27FC236}">
                    <a16:creationId xmlns:a16="http://schemas.microsoft.com/office/drawing/2014/main" id="{8D22E3C4-418F-490F-9524-972E44EADD5E}"/>
                  </a:ext>
                </a:extLst>
              </p:cNvPr>
              <p:cNvSpPr>
                <a:spLocks noChangeAspect="1" noEditPoints="1"/>
              </p:cNvSpPr>
              <p:nvPr/>
            </p:nvSpPr>
            <p:spPr bwMode="auto">
              <a:xfrm flipH="1">
                <a:off x="2812595" y="3299751"/>
                <a:ext cx="512990" cy="503188"/>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solidFill>
                <a:srgbClr val="FFFFFF"/>
              </a:solidFill>
              <a:ln w="12700" cap="flat">
                <a:solidFill>
                  <a:srgbClr val="002050"/>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1" name="&quot;Not Allowed&quot; Symbol 10">
                <a:extLst>
                  <a:ext uri="{FF2B5EF4-FFF2-40B4-BE49-F238E27FC236}">
                    <a16:creationId xmlns:a16="http://schemas.microsoft.com/office/drawing/2014/main" id="{899E5D02-E7DF-4C53-B7D5-6FED0E928808}"/>
                  </a:ext>
                </a:extLst>
              </p:cNvPr>
              <p:cNvSpPr/>
              <p:nvPr/>
            </p:nvSpPr>
            <p:spPr bwMode="auto">
              <a:xfrm>
                <a:off x="3055257" y="3358862"/>
                <a:ext cx="214086" cy="214086"/>
              </a:xfrm>
              <a:prstGeom prst="noSmoking">
                <a:avLst>
                  <a:gd name="adj" fmla="val 0"/>
                </a:avLst>
              </a:prstGeom>
              <a:solidFill>
                <a:srgbClr val="002050"/>
              </a:solidFill>
              <a:ln w="12700" cap="flat" cmpd="sng" algn="ctr">
                <a:solidFill>
                  <a:srgbClr val="002050"/>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26CB3366-07FE-4597-8583-387146F2EB04}"/>
              </a:ext>
            </a:extLst>
          </p:cNvPr>
          <p:cNvGrpSpPr/>
          <p:nvPr/>
        </p:nvGrpSpPr>
        <p:grpSpPr>
          <a:xfrm>
            <a:off x="673053" y="3459356"/>
            <a:ext cx="1121460" cy="1134641"/>
            <a:chOff x="936214" y="3826825"/>
            <a:chExt cx="948593" cy="959745"/>
          </a:xfrm>
        </p:grpSpPr>
        <p:sp>
          <p:nvSpPr>
            <p:cNvPr id="15" name="Cylinder 513">
              <a:extLst>
                <a:ext uri="{FF2B5EF4-FFF2-40B4-BE49-F238E27FC236}">
                  <a16:creationId xmlns:a16="http://schemas.microsoft.com/office/drawing/2014/main" id="{AE5C36A1-CE95-484F-9DF6-8A0550D3DCAA}"/>
                </a:ext>
              </a:extLst>
            </p:cNvPr>
            <p:cNvSpPr/>
            <p:nvPr/>
          </p:nvSpPr>
          <p:spPr bwMode="auto">
            <a:xfrm>
              <a:off x="936214" y="4342182"/>
              <a:ext cx="338257" cy="444388"/>
            </a:xfrm>
            <a:prstGeom prst="can">
              <a:avLst>
                <a:gd name="adj" fmla="val 39530"/>
              </a:avLst>
            </a:prstGeom>
            <a:solidFill>
              <a:srgbClr val="FFFFFF"/>
            </a:solidFill>
            <a:ln w="12700" cap="flat" cmpd="sng" algn="ctr">
              <a:solidFill>
                <a:srgbClr val="002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pitchFamily="34" charset="0"/>
              </a:endParaRPr>
            </a:p>
          </p:txBody>
        </p:sp>
        <p:grpSp>
          <p:nvGrpSpPr>
            <p:cNvPr id="16" name="Group 20">
              <a:extLst>
                <a:ext uri="{FF2B5EF4-FFF2-40B4-BE49-F238E27FC236}">
                  <a16:creationId xmlns:a16="http://schemas.microsoft.com/office/drawing/2014/main" id="{32F09493-A9E6-45DC-A73C-FFAB78188AD6}"/>
                </a:ext>
              </a:extLst>
            </p:cNvPr>
            <p:cNvGrpSpPr>
              <a:grpSpLocks noChangeAspect="1"/>
            </p:cNvGrpSpPr>
            <p:nvPr/>
          </p:nvGrpSpPr>
          <p:grpSpPr bwMode="auto">
            <a:xfrm>
              <a:off x="1471835" y="3826825"/>
              <a:ext cx="412972" cy="361498"/>
              <a:chOff x="3764" y="3313"/>
              <a:chExt cx="353" cy="309"/>
            </a:xfrm>
          </p:grpSpPr>
          <p:sp>
            <p:nvSpPr>
              <p:cNvPr id="22" name="Freeform 21">
                <a:extLst>
                  <a:ext uri="{FF2B5EF4-FFF2-40B4-BE49-F238E27FC236}">
                    <a16:creationId xmlns:a16="http://schemas.microsoft.com/office/drawing/2014/main" id="{74022835-DA2C-4BE0-A71D-9F4ABBF3123D}"/>
                  </a:ext>
                </a:extLst>
              </p:cNvPr>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3" name="Freeform 22">
                <a:extLst>
                  <a:ext uri="{FF2B5EF4-FFF2-40B4-BE49-F238E27FC236}">
                    <a16:creationId xmlns:a16="http://schemas.microsoft.com/office/drawing/2014/main" id="{2E9E5B4A-368D-48BB-B623-8F3F8BEE83B0}"/>
                  </a:ext>
                </a:extLst>
              </p:cNvPr>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4" name="Freeform 23">
                <a:extLst>
                  <a:ext uri="{FF2B5EF4-FFF2-40B4-BE49-F238E27FC236}">
                    <a16:creationId xmlns:a16="http://schemas.microsoft.com/office/drawing/2014/main" id="{F5AD0410-6E4D-4BFA-8B45-F1C36EA81B57}"/>
                  </a:ext>
                </a:extLst>
              </p:cNvPr>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5" name="Freeform 24">
                <a:extLst>
                  <a:ext uri="{FF2B5EF4-FFF2-40B4-BE49-F238E27FC236}">
                    <a16:creationId xmlns:a16="http://schemas.microsoft.com/office/drawing/2014/main" id="{2EBC57CE-EE86-4F30-A549-CB5C9D371F7E}"/>
                  </a:ext>
                </a:extLst>
              </p:cNvPr>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6" name="Freeform 25">
                <a:extLst>
                  <a:ext uri="{FF2B5EF4-FFF2-40B4-BE49-F238E27FC236}">
                    <a16:creationId xmlns:a16="http://schemas.microsoft.com/office/drawing/2014/main" id="{0B143B33-7009-45B8-8F3C-2D884D2270A6}"/>
                  </a:ext>
                </a:extLst>
              </p:cNvPr>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7" name="Freeform 26">
                <a:extLst>
                  <a:ext uri="{FF2B5EF4-FFF2-40B4-BE49-F238E27FC236}">
                    <a16:creationId xmlns:a16="http://schemas.microsoft.com/office/drawing/2014/main" id="{0ADAADDB-4A4A-49D8-9C65-FDCE8EED5ADE}"/>
                  </a:ext>
                </a:extLst>
              </p:cNvPr>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8" name="Freeform 27">
                <a:extLst>
                  <a:ext uri="{FF2B5EF4-FFF2-40B4-BE49-F238E27FC236}">
                    <a16:creationId xmlns:a16="http://schemas.microsoft.com/office/drawing/2014/main" id="{73B20EDA-92C3-4892-B86C-A3AE586D2EF4}"/>
                  </a:ext>
                </a:extLst>
              </p:cNvPr>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9" name="Freeform 28">
                <a:extLst>
                  <a:ext uri="{FF2B5EF4-FFF2-40B4-BE49-F238E27FC236}">
                    <a16:creationId xmlns:a16="http://schemas.microsoft.com/office/drawing/2014/main" id="{694CDEFD-5244-47E3-AEC5-1714C9C5B1A0}"/>
                  </a:ext>
                </a:extLst>
              </p:cNvPr>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0" name="Freeform 29">
                <a:extLst>
                  <a:ext uri="{FF2B5EF4-FFF2-40B4-BE49-F238E27FC236}">
                    <a16:creationId xmlns:a16="http://schemas.microsoft.com/office/drawing/2014/main" id="{59C9E8EE-BAA2-4836-8BC1-1C8895B6166B}"/>
                  </a:ext>
                </a:extLst>
              </p:cNvPr>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1" name="Freeform 30">
                <a:extLst>
                  <a:ext uri="{FF2B5EF4-FFF2-40B4-BE49-F238E27FC236}">
                    <a16:creationId xmlns:a16="http://schemas.microsoft.com/office/drawing/2014/main" id="{72FA4278-9B49-4581-85C9-C8DFD1EAF251}"/>
                  </a:ext>
                </a:extLst>
              </p:cNvPr>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2" name="Freeform 31">
                <a:extLst>
                  <a:ext uri="{FF2B5EF4-FFF2-40B4-BE49-F238E27FC236}">
                    <a16:creationId xmlns:a16="http://schemas.microsoft.com/office/drawing/2014/main" id="{65654825-2F37-456F-ADD6-264A207D878C}"/>
                  </a:ext>
                </a:extLst>
              </p:cNvPr>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3" name="Freeform 32">
                <a:extLst>
                  <a:ext uri="{FF2B5EF4-FFF2-40B4-BE49-F238E27FC236}">
                    <a16:creationId xmlns:a16="http://schemas.microsoft.com/office/drawing/2014/main" id="{D577218E-3878-4E80-ACA1-7A46D1A84F83}"/>
                  </a:ext>
                </a:extLst>
              </p:cNvPr>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 name="Freeform 33">
                <a:extLst>
                  <a:ext uri="{FF2B5EF4-FFF2-40B4-BE49-F238E27FC236}">
                    <a16:creationId xmlns:a16="http://schemas.microsoft.com/office/drawing/2014/main" id="{96D3310B-B2D1-4998-B83D-9648B0498D31}"/>
                  </a:ext>
                </a:extLst>
              </p:cNvPr>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 name="Freeform 34">
                <a:extLst>
                  <a:ext uri="{FF2B5EF4-FFF2-40B4-BE49-F238E27FC236}">
                    <a16:creationId xmlns:a16="http://schemas.microsoft.com/office/drawing/2014/main" id="{FCB2B2D9-4EA1-4EE4-ACCB-E1D27EA350A9}"/>
                  </a:ext>
                </a:extLst>
              </p:cNvPr>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 name="Freeform 35">
                <a:extLst>
                  <a:ext uri="{FF2B5EF4-FFF2-40B4-BE49-F238E27FC236}">
                    <a16:creationId xmlns:a16="http://schemas.microsoft.com/office/drawing/2014/main" id="{0DC7BF38-45A2-4719-A1A1-6F2A0305E950}"/>
                  </a:ext>
                </a:extLst>
              </p:cNvPr>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 name="Freeform 36">
                <a:extLst>
                  <a:ext uri="{FF2B5EF4-FFF2-40B4-BE49-F238E27FC236}">
                    <a16:creationId xmlns:a16="http://schemas.microsoft.com/office/drawing/2014/main" id="{DD0097ED-9865-4A87-A64A-D9BCAAAA02BA}"/>
                  </a:ext>
                </a:extLst>
              </p:cNvPr>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 name="Freeform 37">
                <a:extLst>
                  <a:ext uri="{FF2B5EF4-FFF2-40B4-BE49-F238E27FC236}">
                    <a16:creationId xmlns:a16="http://schemas.microsoft.com/office/drawing/2014/main" id="{22B6D67F-DBE4-4A89-B576-78E7799E1251}"/>
                  </a:ext>
                </a:extLst>
              </p:cNvPr>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9" name="Freeform 38">
                <a:extLst>
                  <a:ext uri="{FF2B5EF4-FFF2-40B4-BE49-F238E27FC236}">
                    <a16:creationId xmlns:a16="http://schemas.microsoft.com/office/drawing/2014/main" id="{30EC14A7-985D-45BC-94D8-84793EB3F597}"/>
                  </a:ext>
                </a:extLst>
              </p:cNvPr>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17" name="Group 16">
              <a:extLst>
                <a:ext uri="{FF2B5EF4-FFF2-40B4-BE49-F238E27FC236}">
                  <a16:creationId xmlns:a16="http://schemas.microsoft.com/office/drawing/2014/main" id="{7BA37028-4BF2-4A8E-B1D9-A6DA140F664C}"/>
                </a:ext>
              </a:extLst>
            </p:cNvPr>
            <p:cNvGrpSpPr/>
            <p:nvPr/>
          </p:nvGrpSpPr>
          <p:grpSpPr>
            <a:xfrm>
              <a:off x="1193577" y="4033211"/>
              <a:ext cx="356772" cy="445965"/>
              <a:chOff x="1199468" y="4076899"/>
              <a:chExt cx="356772" cy="445965"/>
            </a:xfrm>
          </p:grpSpPr>
          <p:sp>
            <p:nvSpPr>
              <p:cNvPr id="18" name="Freeform 5">
                <a:extLst>
                  <a:ext uri="{FF2B5EF4-FFF2-40B4-BE49-F238E27FC236}">
                    <a16:creationId xmlns:a16="http://schemas.microsoft.com/office/drawing/2014/main" id="{7568D5A2-1078-47BB-A198-33A18D52B9E4}"/>
                  </a:ext>
                </a:extLst>
              </p:cNvPr>
              <p:cNvSpPr>
                <a:spLocks/>
              </p:cNvSpPr>
              <p:nvPr/>
            </p:nvSpPr>
            <p:spPr bwMode="auto">
              <a:xfrm>
                <a:off x="1199468" y="4125447"/>
                <a:ext cx="200966" cy="204354"/>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19" name="Freeform 6">
                <a:extLst>
                  <a:ext uri="{FF2B5EF4-FFF2-40B4-BE49-F238E27FC236}">
                    <a16:creationId xmlns:a16="http://schemas.microsoft.com/office/drawing/2014/main" id="{C4A85E4D-963F-446A-A930-0F6D5F820CEA}"/>
                  </a:ext>
                </a:extLst>
              </p:cNvPr>
              <p:cNvSpPr>
                <a:spLocks/>
              </p:cNvSpPr>
              <p:nvPr/>
            </p:nvSpPr>
            <p:spPr bwMode="auto">
              <a:xfrm>
                <a:off x="1328177" y="4281253"/>
                <a:ext cx="228063" cy="199838"/>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0" name="Freeform 7">
                <a:extLst>
                  <a:ext uri="{FF2B5EF4-FFF2-40B4-BE49-F238E27FC236}">
                    <a16:creationId xmlns:a16="http://schemas.microsoft.com/office/drawing/2014/main" id="{8157F690-180E-4B54-A902-E0FC2DAACB4F}"/>
                  </a:ext>
                </a:extLst>
              </p:cNvPr>
              <p:cNvSpPr>
                <a:spLocks/>
              </p:cNvSpPr>
              <p:nvPr/>
            </p:nvSpPr>
            <p:spPr bwMode="auto">
              <a:xfrm>
                <a:off x="1327049" y="4443832"/>
                <a:ext cx="50806" cy="79032"/>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21" name="Freeform 8">
                <a:extLst>
                  <a:ext uri="{FF2B5EF4-FFF2-40B4-BE49-F238E27FC236}">
                    <a16:creationId xmlns:a16="http://schemas.microsoft.com/office/drawing/2014/main" id="{F7EAF90C-DE52-46AF-9A94-64FBB26091B9}"/>
                  </a:ext>
                </a:extLst>
              </p:cNvPr>
              <p:cNvSpPr>
                <a:spLocks/>
              </p:cNvSpPr>
              <p:nvPr/>
            </p:nvSpPr>
            <p:spPr bwMode="auto">
              <a:xfrm>
                <a:off x="1351887" y="4076899"/>
                <a:ext cx="50806" cy="80161"/>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14982929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398326935"/>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86121088"/>
              </p:ext>
            </p:extLst>
          </p:nvPr>
        </p:nvGraphicFramePr>
        <p:xfrm>
          <a:off x="655638" y="1408113"/>
          <a:ext cx="10880725" cy="2478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1087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a:t>Lesson 7: Implement Row Level Security</a:t>
            </a:r>
          </a:p>
        </p:txBody>
      </p:sp>
    </p:spTree>
    <p:extLst>
      <p:ext uri="{BB962C8B-B14F-4D97-AF65-F5344CB8AC3E}">
        <p14:creationId xmlns:p14="http://schemas.microsoft.com/office/powerpoint/2010/main" val="7886716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control access to the data using Row Level Security (RL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58314968"/>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DF914-97D1-458D-A982-6715A8BFEB08}"/>
              </a:ext>
            </a:extLst>
          </p:cNvPr>
          <p:cNvSpPr>
            <a:spLocks noGrp="1"/>
          </p:cNvSpPr>
          <p:nvPr>
            <p:ph type="title"/>
          </p:nvPr>
        </p:nvSpPr>
        <p:spPr/>
        <p:txBody>
          <a:bodyPr/>
          <a:lstStyle/>
          <a:p>
            <a:r>
              <a:rPr lang="en-US"/>
              <a:t>Row Level Security (RLS)</a:t>
            </a:r>
          </a:p>
        </p:txBody>
      </p:sp>
      <p:sp>
        <p:nvSpPr>
          <p:cNvPr id="4" name="Text Placeholder 2">
            <a:extLst>
              <a:ext uri="{FF2B5EF4-FFF2-40B4-BE49-F238E27FC236}">
                <a16:creationId xmlns:a16="http://schemas.microsoft.com/office/drawing/2014/main" id="{9E180644-9A22-4ED0-8031-38D00D4FA64A}"/>
              </a:ext>
            </a:extLst>
          </p:cNvPr>
          <p:cNvSpPr txBox="1">
            <a:spLocks/>
          </p:cNvSpPr>
          <p:nvPr/>
        </p:nvSpPr>
        <p:spPr>
          <a:xfrm>
            <a:off x="622979" y="2234018"/>
            <a:ext cx="10913383" cy="2289858"/>
          </a:xfrm>
          <a:prstGeom prst="rect">
            <a:avLst/>
          </a:prstGeom>
          <a:solidFill>
            <a:schemeClr val="accent1"/>
          </a:solidFill>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Row-Level Security enables customers to control access to rows in a database table based on the characteristics of the user executing a query. </a:t>
            </a:r>
            <a:endParaRPr kumimoji="0" lang="es-ES" sz="36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6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9452451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DF914-97D1-458D-A982-6715A8BFEB08}"/>
              </a:ext>
            </a:extLst>
          </p:cNvPr>
          <p:cNvSpPr>
            <a:spLocks noGrp="1"/>
          </p:cNvSpPr>
          <p:nvPr>
            <p:ph type="title"/>
          </p:nvPr>
        </p:nvSpPr>
        <p:spPr/>
        <p:txBody>
          <a:bodyPr/>
          <a:lstStyle/>
          <a:p>
            <a:r>
              <a:rPr lang="en-US"/>
              <a:t>Understanding RLS Functionality</a:t>
            </a:r>
          </a:p>
        </p:txBody>
      </p:sp>
      <p:graphicFrame>
        <p:nvGraphicFramePr>
          <p:cNvPr id="22" name="Content Placeholder 21">
            <a:extLst>
              <a:ext uri="{FF2B5EF4-FFF2-40B4-BE49-F238E27FC236}">
                <a16:creationId xmlns:a16="http://schemas.microsoft.com/office/drawing/2014/main" id="{C16D302B-0DC3-4AE3-8D99-CBE24EAD0F2A}"/>
              </a:ext>
            </a:extLst>
          </p:cNvPr>
          <p:cNvGraphicFramePr>
            <a:graphicFrameLocks noGrp="1"/>
          </p:cNvGraphicFramePr>
          <p:nvPr>
            <p:ph sz="quarter" idx="13"/>
            <p:extLst>
              <p:ext uri="{D42A27DB-BD31-4B8C-83A1-F6EECF244321}">
                <p14:modId xmlns:p14="http://schemas.microsoft.com/office/powerpoint/2010/main" val="55673506"/>
              </p:ext>
            </p:extLst>
          </p:nvPr>
        </p:nvGraphicFramePr>
        <p:xfrm>
          <a:off x="655637" y="1408114"/>
          <a:ext cx="5791773"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4DE037D6-53AA-43DB-A301-E0A8762DDD4F}"/>
              </a:ext>
            </a:extLst>
          </p:cNvPr>
          <p:cNvSpPr txBox="1"/>
          <p:nvPr/>
        </p:nvSpPr>
        <p:spPr>
          <a:xfrm>
            <a:off x="7359311" y="3616669"/>
            <a:ext cx="1780497" cy="276999"/>
          </a:xfrm>
          <a:prstGeom prst="rect">
            <a:avLst/>
          </a:prstGeom>
          <a:solidFill>
            <a:srgbClr val="002050">
              <a:lumMod val="75000"/>
              <a:lumOff val="25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rPr>
              <a:t>SQL Database</a:t>
            </a:r>
          </a:p>
        </p:txBody>
      </p:sp>
      <p:sp>
        <p:nvSpPr>
          <p:cNvPr id="5" name="Freeform 228">
            <a:extLst>
              <a:ext uri="{FF2B5EF4-FFF2-40B4-BE49-F238E27FC236}">
                <a16:creationId xmlns:a16="http://schemas.microsoft.com/office/drawing/2014/main" id="{6E5DC0B9-1D82-495C-81DD-D6B44DDF79CC}"/>
              </a:ext>
            </a:extLst>
          </p:cNvPr>
          <p:cNvSpPr>
            <a:spLocks noEditPoints="1"/>
          </p:cNvSpPr>
          <p:nvPr/>
        </p:nvSpPr>
        <p:spPr bwMode="auto">
          <a:xfrm flipH="1">
            <a:off x="7795984" y="2364937"/>
            <a:ext cx="900502" cy="1185300"/>
          </a:xfrm>
          <a:prstGeom prst="can">
            <a:avLst>
              <a:gd name="adj" fmla="val 39781"/>
            </a:avLst>
          </a:prstGeom>
          <a:solidFill>
            <a:srgbClr val="002050">
              <a:lumMod val="10000"/>
              <a:lumOff val="90000"/>
            </a:srgbClr>
          </a:solidFill>
          <a:ln w="12700">
            <a:solidFill>
              <a:srgbClr val="0078D7"/>
            </a:solidFill>
          </a:ln>
        </p:spPr>
        <p:txBody>
          <a:bodyPr vert="horz" wrap="square" lIns="91440" tIns="365760" rIns="91440" bIns="274320" numCol="1" anchor="ctr" anchorCtr="0" compatLnSpc="1">
            <a:prstTxWarp prst="textNoShape">
              <a:avLst/>
            </a:prstTxWarp>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cs typeface="Segoe UI Semibold" panose="020B0702040204020203" pitchFamily="34" charset="0"/>
              </a:rPr>
              <a:t>Customer 1</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cs typeface="Segoe UI Semibold" panose="020B0702040204020203" pitchFamily="34" charset="0"/>
              </a:rPr>
              <a:t>Customer 2</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050" b="0" i="0" u="none" strike="noStrike" kern="0" cap="none" spc="0" normalizeH="0" baseline="0" noProof="0">
                <a:ln>
                  <a:noFill/>
                </a:ln>
                <a:solidFill>
                  <a:srgbClr val="0078D7"/>
                </a:solidFill>
                <a:effectLst/>
                <a:uLnTx/>
                <a:uFillTx/>
                <a:cs typeface="Segoe UI Semibold" panose="020B0702040204020203" pitchFamily="34" charset="0"/>
              </a:rPr>
              <a:t>Customer 3</a:t>
            </a:r>
          </a:p>
        </p:txBody>
      </p:sp>
      <p:sp>
        <p:nvSpPr>
          <p:cNvPr id="6" name="Freeform 5">
            <a:extLst>
              <a:ext uri="{FF2B5EF4-FFF2-40B4-BE49-F238E27FC236}">
                <a16:creationId xmlns:a16="http://schemas.microsoft.com/office/drawing/2014/main" id="{0AE828F6-144F-494C-A8B5-9A2D05120439}"/>
              </a:ext>
            </a:extLst>
          </p:cNvPr>
          <p:cNvSpPr>
            <a:spLocks noEditPoints="1"/>
          </p:cNvSpPr>
          <p:nvPr/>
        </p:nvSpPr>
        <p:spPr bwMode="auto">
          <a:xfrm>
            <a:off x="9769914" y="5079870"/>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BCF2">
              <a:lumMod val="60000"/>
              <a:lumOff val="40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7" name="Freeform 5">
            <a:extLst>
              <a:ext uri="{FF2B5EF4-FFF2-40B4-BE49-F238E27FC236}">
                <a16:creationId xmlns:a16="http://schemas.microsoft.com/office/drawing/2014/main" id="{4E57DA36-A6A8-4E72-A532-E7CDCCE38D36}"/>
              </a:ext>
            </a:extLst>
          </p:cNvPr>
          <p:cNvSpPr>
            <a:spLocks noEditPoints="1"/>
          </p:cNvSpPr>
          <p:nvPr/>
        </p:nvSpPr>
        <p:spPr bwMode="auto">
          <a:xfrm>
            <a:off x="10454176" y="5079870"/>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BCF2">
              <a:lumMod val="60000"/>
              <a:lumOff val="40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8" name="Freeform 5">
            <a:extLst>
              <a:ext uri="{FF2B5EF4-FFF2-40B4-BE49-F238E27FC236}">
                <a16:creationId xmlns:a16="http://schemas.microsoft.com/office/drawing/2014/main" id="{2FE6CD69-BF66-4379-8704-AF13CFD0954F}"/>
              </a:ext>
            </a:extLst>
          </p:cNvPr>
          <p:cNvSpPr>
            <a:spLocks noEditPoints="1"/>
          </p:cNvSpPr>
          <p:nvPr/>
        </p:nvSpPr>
        <p:spPr bwMode="auto">
          <a:xfrm>
            <a:off x="11138439" y="5079870"/>
            <a:ext cx="365266" cy="408116"/>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BCF2">
              <a:lumMod val="60000"/>
              <a:lumOff val="40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cxnSp>
        <p:nvCxnSpPr>
          <p:cNvPr id="9" name="Connector: Elbow 8">
            <a:extLst>
              <a:ext uri="{FF2B5EF4-FFF2-40B4-BE49-F238E27FC236}">
                <a16:creationId xmlns:a16="http://schemas.microsoft.com/office/drawing/2014/main" id="{55FAFEB2-E728-4255-B1EA-DB451CA186DC}"/>
              </a:ext>
            </a:extLst>
          </p:cNvPr>
          <p:cNvCxnSpPr>
            <a:cxnSpLocks/>
            <a:endCxn id="6" idx="1"/>
          </p:cNvCxnSpPr>
          <p:nvPr/>
        </p:nvCxnSpPr>
        <p:spPr>
          <a:xfrm>
            <a:off x="8685694" y="3287979"/>
            <a:ext cx="1268338" cy="1791893"/>
          </a:xfrm>
          <a:prstGeom prst="bentConnector3">
            <a:avLst>
              <a:gd name="adj1" fmla="val 99692"/>
            </a:avLst>
          </a:prstGeom>
          <a:noFill/>
          <a:ln w="12700" cap="flat" cmpd="sng" algn="ctr">
            <a:solidFill>
              <a:srgbClr val="0078D7"/>
            </a:solidFill>
            <a:prstDash val="solid"/>
            <a:headEnd type="none"/>
            <a:tailEnd type="none"/>
          </a:ln>
          <a:effectLst/>
        </p:spPr>
      </p:cxnSp>
      <p:cxnSp>
        <p:nvCxnSpPr>
          <p:cNvPr id="10" name="Connector: Elbow 9">
            <a:extLst>
              <a:ext uri="{FF2B5EF4-FFF2-40B4-BE49-F238E27FC236}">
                <a16:creationId xmlns:a16="http://schemas.microsoft.com/office/drawing/2014/main" id="{7E9657CF-0434-431D-B32D-DBC9228818AB}"/>
              </a:ext>
            </a:extLst>
          </p:cNvPr>
          <p:cNvCxnSpPr>
            <a:cxnSpLocks/>
            <a:endCxn id="7" idx="1"/>
          </p:cNvCxnSpPr>
          <p:nvPr/>
        </p:nvCxnSpPr>
        <p:spPr>
          <a:xfrm rot="16200000" flipH="1">
            <a:off x="8673809" y="3115384"/>
            <a:ext cx="1987163" cy="1941808"/>
          </a:xfrm>
          <a:prstGeom prst="bentConnector4">
            <a:avLst>
              <a:gd name="adj1" fmla="val -1083"/>
              <a:gd name="adj2" fmla="val 99939"/>
            </a:avLst>
          </a:prstGeom>
          <a:noFill/>
          <a:ln w="12700" cap="flat" cmpd="sng" algn="ctr">
            <a:solidFill>
              <a:srgbClr val="0078D7"/>
            </a:solidFill>
            <a:prstDash val="solid"/>
            <a:headEnd type="none"/>
            <a:tailEnd type="none"/>
          </a:ln>
          <a:effectLst/>
        </p:spPr>
      </p:cxnSp>
      <p:cxnSp>
        <p:nvCxnSpPr>
          <p:cNvPr id="11" name="Connector: Elbow 10">
            <a:extLst>
              <a:ext uri="{FF2B5EF4-FFF2-40B4-BE49-F238E27FC236}">
                <a16:creationId xmlns:a16="http://schemas.microsoft.com/office/drawing/2014/main" id="{D44A6D69-E861-4E63-A431-D3FF5221A117}"/>
              </a:ext>
            </a:extLst>
          </p:cNvPr>
          <p:cNvCxnSpPr>
            <a:cxnSpLocks/>
            <a:endCxn id="8" idx="1"/>
          </p:cNvCxnSpPr>
          <p:nvPr/>
        </p:nvCxnSpPr>
        <p:spPr>
          <a:xfrm>
            <a:off x="8696486" y="2852987"/>
            <a:ext cx="2626071" cy="2226883"/>
          </a:xfrm>
          <a:prstGeom prst="bentConnector3">
            <a:avLst>
              <a:gd name="adj1" fmla="val 99851"/>
            </a:avLst>
          </a:prstGeom>
          <a:noFill/>
          <a:ln w="12700" cap="flat" cmpd="sng" algn="ctr">
            <a:solidFill>
              <a:srgbClr val="0078D7"/>
            </a:solidFill>
            <a:prstDash val="solid"/>
            <a:headEnd type="none"/>
            <a:tailEnd type="none"/>
          </a:ln>
          <a:effectLst/>
        </p:spPr>
      </p:cxnSp>
      <p:grpSp>
        <p:nvGrpSpPr>
          <p:cNvPr id="12" name="Group 11">
            <a:extLst>
              <a:ext uri="{FF2B5EF4-FFF2-40B4-BE49-F238E27FC236}">
                <a16:creationId xmlns:a16="http://schemas.microsoft.com/office/drawing/2014/main" id="{49023015-FF75-4884-B49A-ACE1636624A6}"/>
              </a:ext>
            </a:extLst>
          </p:cNvPr>
          <p:cNvGrpSpPr/>
          <p:nvPr/>
        </p:nvGrpSpPr>
        <p:grpSpPr>
          <a:xfrm>
            <a:off x="11150338" y="4146524"/>
            <a:ext cx="342900" cy="342900"/>
            <a:chOff x="1517650" y="1863725"/>
            <a:chExt cx="177800" cy="177800"/>
          </a:xfrm>
          <a:solidFill>
            <a:srgbClr val="002050">
              <a:lumMod val="25000"/>
              <a:lumOff val="75000"/>
            </a:srgbClr>
          </a:solidFill>
        </p:grpSpPr>
        <p:sp>
          <p:nvSpPr>
            <p:cNvPr id="13" name="Oval 12">
              <a:extLst>
                <a:ext uri="{FF2B5EF4-FFF2-40B4-BE49-F238E27FC236}">
                  <a16:creationId xmlns:a16="http://schemas.microsoft.com/office/drawing/2014/main" id="{784545BF-B0EF-4DC6-BC91-B1C15C5F23CA}"/>
                </a:ext>
              </a:extLst>
            </p:cNvPr>
            <p:cNvSpPr/>
            <p:nvPr/>
          </p:nvSpPr>
          <p:spPr bwMode="auto">
            <a:xfrm>
              <a:off x="1517650" y="1863725"/>
              <a:ext cx="177800" cy="177800"/>
            </a:xfrm>
            <a:prstGeom prst="ellipse">
              <a:avLst/>
            </a:prstGeom>
            <a:grp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Freeform 5">
              <a:extLst>
                <a:ext uri="{FF2B5EF4-FFF2-40B4-BE49-F238E27FC236}">
                  <a16:creationId xmlns:a16="http://schemas.microsoft.com/office/drawing/2014/main" id="{471ECD6F-2001-44DA-B3FF-552185F06DAA}"/>
                </a:ext>
              </a:extLst>
            </p:cNvPr>
            <p:cNvSpPr/>
            <p:nvPr/>
          </p:nvSpPr>
          <p:spPr bwMode="auto">
            <a:xfrm>
              <a:off x="1554163" y="1919288"/>
              <a:ext cx="104775" cy="66675"/>
            </a:xfrm>
            <a:custGeom>
              <a:avLst/>
              <a:gdLst>
                <a:gd name="connsiteX0" fmla="*/ 0 w 104775"/>
                <a:gd name="connsiteY0" fmla="*/ 28575 h 66675"/>
                <a:gd name="connsiteX1" fmla="*/ 38100 w 104775"/>
                <a:gd name="connsiteY1" fmla="*/ 66675 h 66675"/>
                <a:gd name="connsiteX2" fmla="*/ 104775 w 104775"/>
                <a:gd name="connsiteY2" fmla="*/ 0 h 66675"/>
              </a:gdLst>
              <a:ahLst/>
              <a:cxnLst>
                <a:cxn ang="0">
                  <a:pos x="connsiteX0" y="connsiteY0"/>
                </a:cxn>
                <a:cxn ang="0">
                  <a:pos x="connsiteX1" y="connsiteY1"/>
                </a:cxn>
                <a:cxn ang="0">
                  <a:pos x="connsiteX2" y="connsiteY2"/>
                </a:cxn>
              </a:cxnLst>
              <a:rect l="l" t="t" r="r" b="b"/>
              <a:pathLst>
                <a:path w="104775" h="66675">
                  <a:moveTo>
                    <a:pt x="0" y="28575"/>
                  </a:moveTo>
                  <a:lnTo>
                    <a:pt x="38100" y="66675"/>
                  </a:lnTo>
                  <a:lnTo>
                    <a:pt x="104775" y="0"/>
                  </a:lnTo>
                </a:path>
              </a:pathLst>
            </a:custGeom>
            <a:grpFill/>
            <a:ln w="12700" cap="flat" cmpd="sng" algn="ctr">
              <a:solidFill>
                <a:srgbClr val="0078D7"/>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5" name="Freeform 146">
            <a:extLst>
              <a:ext uri="{FF2B5EF4-FFF2-40B4-BE49-F238E27FC236}">
                <a16:creationId xmlns:a16="http://schemas.microsoft.com/office/drawing/2014/main" id="{2B559BEB-483F-4E14-A586-692D9BD6652E}"/>
              </a:ext>
            </a:extLst>
          </p:cNvPr>
          <p:cNvSpPr>
            <a:spLocks noChangeAspect="1"/>
          </p:cNvSpPr>
          <p:nvPr/>
        </p:nvSpPr>
        <p:spPr bwMode="auto">
          <a:xfrm>
            <a:off x="6618092" y="2016568"/>
            <a:ext cx="3167534" cy="2006025"/>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grpSp>
        <p:nvGrpSpPr>
          <p:cNvPr id="16" name="Group 15">
            <a:extLst>
              <a:ext uri="{FF2B5EF4-FFF2-40B4-BE49-F238E27FC236}">
                <a16:creationId xmlns:a16="http://schemas.microsoft.com/office/drawing/2014/main" id="{84826970-9BA4-4A74-8B62-1ADFFBFA7689}"/>
              </a:ext>
            </a:extLst>
          </p:cNvPr>
          <p:cNvGrpSpPr/>
          <p:nvPr/>
        </p:nvGrpSpPr>
        <p:grpSpPr>
          <a:xfrm>
            <a:off x="9818457" y="4123165"/>
            <a:ext cx="266988" cy="389618"/>
            <a:chOff x="1103506" y="2567788"/>
            <a:chExt cx="405526" cy="591791"/>
          </a:xfrm>
          <a:solidFill>
            <a:srgbClr val="002050">
              <a:lumMod val="25000"/>
              <a:lumOff val="75000"/>
            </a:srgbClr>
          </a:solidFill>
        </p:grpSpPr>
        <p:sp>
          <p:nvSpPr>
            <p:cNvPr id="17" name="Freeform: Shape 16">
              <a:extLst>
                <a:ext uri="{FF2B5EF4-FFF2-40B4-BE49-F238E27FC236}">
                  <a16:creationId xmlns:a16="http://schemas.microsoft.com/office/drawing/2014/main" id="{87FBB1DA-F4C2-4540-B5C2-D2D576A26734}"/>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grp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18" name="Rectangle 17">
              <a:extLst>
                <a:ext uri="{FF2B5EF4-FFF2-40B4-BE49-F238E27FC236}">
                  <a16:creationId xmlns:a16="http://schemas.microsoft.com/office/drawing/2014/main" id="{DA11CF81-3139-4DBE-B57F-07CF6C45D20B}"/>
                </a:ext>
              </a:extLst>
            </p:cNvPr>
            <p:cNvSpPr/>
            <p:nvPr/>
          </p:nvSpPr>
          <p:spPr bwMode="auto">
            <a:xfrm>
              <a:off x="1103506" y="2816110"/>
              <a:ext cx="405526" cy="343469"/>
            </a:xfrm>
            <a:prstGeom prst="rect">
              <a:avLst/>
            </a:prstGeom>
            <a:grp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grpSp>
        <p:nvGrpSpPr>
          <p:cNvPr id="19" name="Group 18">
            <a:extLst>
              <a:ext uri="{FF2B5EF4-FFF2-40B4-BE49-F238E27FC236}">
                <a16:creationId xmlns:a16="http://schemas.microsoft.com/office/drawing/2014/main" id="{0A0132A9-3160-429C-B0B2-64BDA6B19E1C}"/>
              </a:ext>
            </a:extLst>
          </p:cNvPr>
          <p:cNvGrpSpPr/>
          <p:nvPr/>
        </p:nvGrpSpPr>
        <p:grpSpPr>
          <a:xfrm>
            <a:off x="10503315" y="4123165"/>
            <a:ext cx="266988" cy="389618"/>
            <a:chOff x="1103506" y="2567788"/>
            <a:chExt cx="405526" cy="591791"/>
          </a:xfrm>
          <a:solidFill>
            <a:srgbClr val="002050">
              <a:lumMod val="25000"/>
              <a:lumOff val="75000"/>
            </a:srgbClr>
          </a:solidFill>
        </p:grpSpPr>
        <p:sp>
          <p:nvSpPr>
            <p:cNvPr id="20" name="Freeform: Shape 19">
              <a:extLst>
                <a:ext uri="{FF2B5EF4-FFF2-40B4-BE49-F238E27FC236}">
                  <a16:creationId xmlns:a16="http://schemas.microsoft.com/office/drawing/2014/main" id="{3363D44D-DAE5-4621-8A2C-BAF4C350A7B0}"/>
                </a:ext>
              </a:extLst>
            </p:cNvPr>
            <p:cNvSpPr/>
            <p:nvPr/>
          </p:nvSpPr>
          <p:spPr bwMode="auto">
            <a:xfrm>
              <a:off x="1175599" y="2567788"/>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grp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sp>
          <p:nvSpPr>
            <p:cNvPr id="21" name="Rectangle 20">
              <a:extLst>
                <a:ext uri="{FF2B5EF4-FFF2-40B4-BE49-F238E27FC236}">
                  <a16:creationId xmlns:a16="http://schemas.microsoft.com/office/drawing/2014/main" id="{CBE32F28-4D99-41E0-A8FF-8A8AECAF4813}"/>
                </a:ext>
              </a:extLst>
            </p:cNvPr>
            <p:cNvSpPr/>
            <p:nvPr/>
          </p:nvSpPr>
          <p:spPr bwMode="auto">
            <a:xfrm>
              <a:off x="1103506" y="2816110"/>
              <a:ext cx="405526" cy="343469"/>
            </a:xfrm>
            <a:prstGeom prst="rect">
              <a:avLst/>
            </a:prstGeom>
            <a:grpFill/>
            <a:ln w="12700">
              <a:solidFill>
                <a:srgbClr val="0078D7"/>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ndParaRPr>
            </a:p>
          </p:txBody>
        </p:sp>
      </p:grpSp>
    </p:spTree>
    <p:extLst>
      <p:ext uri="{BB962C8B-B14F-4D97-AF65-F5344CB8AC3E}">
        <p14:creationId xmlns:p14="http://schemas.microsoft.com/office/powerpoint/2010/main" val="21633759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DF914-97D1-458D-A982-6715A8BFEB08}"/>
              </a:ext>
            </a:extLst>
          </p:cNvPr>
          <p:cNvSpPr>
            <a:spLocks noGrp="1"/>
          </p:cNvSpPr>
          <p:nvPr>
            <p:ph type="title"/>
          </p:nvPr>
        </p:nvSpPr>
        <p:spPr>
          <a:xfrm>
            <a:off x="655638" y="320040"/>
            <a:ext cx="10880725" cy="461665"/>
          </a:xfrm>
        </p:spPr>
        <p:txBody>
          <a:bodyPr/>
          <a:lstStyle/>
          <a:p>
            <a:r>
              <a:rPr lang="en-US"/>
              <a:t>RLS Implementation details</a:t>
            </a:r>
          </a:p>
        </p:txBody>
      </p:sp>
      <p:graphicFrame>
        <p:nvGraphicFramePr>
          <p:cNvPr id="4" name="Content Placeholder 3">
            <a:extLst>
              <a:ext uri="{FF2B5EF4-FFF2-40B4-BE49-F238E27FC236}">
                <a16:creationId xmlns:a16="http://schemas.microsoft.com/office/drawing/2014/main" id="{5603810B-1085-41C6-98EE-218D26B15C30}"/>
              </a:ext>
            </a:extLst>
          </p:cNvPr>
          <p:cNvGraphicFramePr>
            <a:graphicFrameLocks noGrp="1"/>
          </p:cNvGraphicFramePr>
          <p:nvPr>
            <p:ph sz="quarter" idx="13"/>
            <p:extLst>
              <p:ext uri="{D42A27DB-BD31-4B8C-83A1-F6EECF244321}">
                <p14:modId xmlns:p14="http://schemas.microsoft.com/office/powerpoint/2010/main" val="1740173920"/>
              </p:ext>
            </p:extLst>
          </p:nvPr>
        </p:nvGraphicFramePr>
        <p:xfrm>
          <a:off x="655638" y="1408114"/>
          <a:ext cx="8564562" cy="37839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EC4332F8-F0CD-4D24-9F36-A618FAFFA20E}"/>
              </a:ext>
            </a:extLst>
          </p:cNvPr>
          <p:cNvSpPr txBox="1"/>
          <p:nvPr/>
        </p:nvSpPr>
        <p:spPr>
          <a:xfrm>
            <a:off x="9220200" y="3124200"/>
            <a:ext cx="2555971" cy="1815882"/>
          </a:xfrm>
          <a:prstGeom prst="rect">
            <a:avLst/>
          </a:prstGeom>
          <a:solidFill>
            <a:srgbClr val="243A5E"/>
          </a:solidFill>
        </p:spPr>
        <p:txBody>
          <a:bodyPr wrap="square" rtlCol="0">
            <a:spAutoFit/>
          </a:bodyPr>
          <a:lstStyle/>
          <a:p>
            <a:pPr marL="0" marR="0" lvl="0" indent="0" defTabSz="457200" eaLnBrk="0" fontAlgn="base" latinLnBrk="0" hangingPunct="0">
              <a:lnSpc>
                <a:spcPct val="100000"/>
              </a:lnSpc>
              <a:spcBef>
                <a:spcPct val="0"/>
              </a:spcBef>
              <a:spcAft>
                <a:spcPct val="0"/>
              </a:spcAft>
              <a:buClrTx/>
              <a:buSzTx/>
              <a:buFontTx/>
              <a:buNone/>
              <a:tabLst/>
              <a:defRPr/>
            </a:pPr>
            <a:r>
              <a:rPr lang="en-US" sz="1600" b="1" spc="-102">
                <a:ln w="3175">
                  <a:noFill/>
                </a:ln>
                <a:solidFill>
                  <a:schemeClr val="bg1"/>
                </a:solidFill>
                <a:latin typeface="+mj-lt"/>
                <a:cs typeface="Segoe UI" pitchFamily="34" charset="0"/>
              </a:rPr>
              <a:t>Performance?</a:t>
            </a:r>
          </a:p>
          <a:p>
            <a:pPr marL="0" marR="0" lvl="0" indent="0" defTabSz="457200" eaLnBrk="0" fontAlgn="base" latinLnBrk="0" hangingPunct="0">
              <a:lnSpc>
                <a:spcPct val="100000"/>
              </a:lnSpc>
              <a:spcBef>
                <a:spcPct val="0"/>
              </a:spcBef>
              <a:spcAft>
                <a:spcPct val="0"/>
              </a:spcAft>
              <a:buClrTx/>
              <a:buSzTx/>
              <a:buFontTx/>
              <a:buNone/>
              <a:tabLst/>
              <a:defRPr/>
            </a:pPr>
            <a:r>
              <a:rPr lang="en-US" sz="1600" spc="-102">
                <a:ln w="3175">
                  <a:noFill/>
                </a:ln>
                <a:solidFill>
                  <a:schemeClr val="bg1"/>
                </a:solidFill>
                <a:latin typeface="+mj-lt"/>
                <a:cs typeface="Segoe UI" pitchFamily="34" charset="0"/>
              </a:rPr>
              <a:t>Inline functions get optimized to provide comparable performance to views, as if the logic were directly embedded in the original query statement</a:t>
            </a:r>
          </a:p>
        </p:txBody>
      </p:sp>
      <p:cxnSp>
        <p:nvCxnSpPr>
          <p:cNvPr id="6" name="Straight Arrow Connector 11">
            <a:extLst>
              <a:ext uri="{FF2B5EF4-FFF2-40B4-BE49-F238E27FC236}">
                <a16:creationId xmlns:a16="http://schemas.microsoft.com/office/drawing/2014/main" id="{D22D8E4B-C9CB-4A3F-B8CA-B1A325FE11D7}"/>
              </a:ext>
            </a:extLst>
          </p:cNvPr>
          <p:cNvCxnSpPr>
            <a:cxnSpLocks/>
            <a:endCxn id="5" idx="0"/>
          </p:cNvCxnSpPr>
          <p:nvPr/>
        </p:nvCxnSpPr>
        <p:spPr>
          <a:xfrm>
            <a:off x="8763000" y="2133600"/>
            <a:ext cx="1735186" cy="990600"/>
          </a:xfrm>
          <a:prstGeom prst="curvedConnector2">
            <a:avLst/>
          </a:prstGeom>
          <a:noFill/>
          <a:ln w="57150" cap="flat" cmpd="sng" algn="ctr">
            <a:solidFill>
              <a:srgbClr val="243A5E"/>
            </a:solidFill>
            <a:prstDash val="solid"/>
            <a:tailEnd type="triangle"/>
          </a:ln>
          <a:effectLst/>
        </p:spPr>
      </p:cxnSp>
      <p:sp>
        <p:nvSpPr>
          <p:cNvPr id="12" name="Rectangle 11">
            <a:extLst>
              <a:ext uri="{FF2B5EF4-FFF2-40B4-BE49-F238E27FC236}">
                <a16:creationId xmlns:a16="http://schemas.microsoft.com/office/drawing/2014/main" id="{2150C62C-A8C6-422D-A5A2-8DD27FEB3F00}"/>
              </a:ext>
            </a:extLst>
          </p:cNvPr>
          <p:cNvSpPr/>
          <p:nvPr/>
        </p:nvSpPr>
        <p:spPr>
          <a:xfrm>
            <a:off x="1300851" y="5455839"/>
            <a:ext cx="9824350" cy="923330"/>
          </a:xfrm>
          <a:prstGeom prst="rect">
            <a:avLst/>
          </a:prstGeom>
        </p:spPr>
        <p:txBody>
          <a:bodyPr wrap="square">
            <a:spAutoFit/>
          </a:bodyPr>
          <a:lstStyle/>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SECURIT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OLICY</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mySecurityPolicy</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AD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FILT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EDICAT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o</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fn_securitypredicat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wing</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tartTi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endTi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N</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o</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patients</a:t>
            </a:r>
            <a:r>
              <a:rPr lang="en-US">
                <a:solidFill>
                  <a:srgbClr val="000000"/>
                </a:solidFill>
                <a:latin typeface="Consolas" panose="020B0609020204030204" pitchFamily="49" charset="0"/>
              </a:rPr>
              <a:t> </a:t>
            </a:r>
          </a:p>
        </p:txBody>
      </p:sp>
      <p:sp>
        <p:nvSpPr>
          <p:cNvPr id="14" name="Rectangle 13">
            <a:extLst>
              <a:ext uri="{FF2B5EF4-FFF2-40B4-BE49-F238E27FC236}">
                <a16:creationId xmlns:a16="http://schemas.microsoft.com/office/drawing/2014/main" id="{9307E407-E91A-41BB-AAF5-1E587D118F68}"/>
              </a:ext>
            </a:extLst>
          </p:cNvPr>
          <p:cNvSpPr/>
          <p:nvPr/>
        </p:nvSpPr>
        <p:spPr bwMode="auto">
          <a:xfrm>
            <a:off x="3962400" y="5723391"/>
            <a:ext cx="3229778" cy="388225"/>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8D59CC7F-EC15-468C-8F0A-2B7DF81B0578}"/>
              </a:ext>
            </a:extLst>
          </p:cNvPr>
          <p:cNvSpPr/>
          <p:nvPr/>
        </p:nvSpPr>
        <p:spPr bwMode="auto">
          <a:xfrm>
            <a:off x="1828800" y="5723391"/>
            <a:ext cx="8534400" cy="388225"/>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4F784398-4811-4CAD-A489-11D98A8DB181}"/>
              </a:ext>
            </a:extLst>
          </p:cNvPr>
          <p:cNvSpPr/>
          <p:nvPr/>
        </p:nvSpPr>
        <p:spPr bwMode="auto">
          <a:xfrm>
            <a:off x="1300851" y="5511466"/>
            <a:ext cx="9590298" cy="867703"/>
          </a:xfrm>
          <a:prstGeom prst="rect">
            <a:avLst/>
          </a:prstGeom>
          <a:noFill/>
          <a:ln w="381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32543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E434DA73-879A-47E7-B72E-0D86FF520103}"/>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F1FE137E-F4F1-4538-9C79-7963955D4876}"/>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8A91BF67-7EA2-40DB-B185-71A4910FFBDD}"/>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25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A401CDA6-E326-4140-A798-7EAC3C3E06D7}"/>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graphicEl>
                                              <a:dgm id="{515BA803-8CFF-4AA3-887B-366689AC66A0}"/>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graphicEl>
                                              <a:dgm id="{ECDF9AE4-3513-4B15-AFD0-07F006BDE908}"/>
                                            </p:graphicEl>
                                          </p:spTgt>
                                        </p:tgtEl>
                                        <p:attrNameLst>
                                          <p:attrName>style.visibility</p:attrName>
                                        </p:attrNameLst>
                                      </p:cBhvr>
                                      <p:to>
                                        <p:strVal val="visible"/>
                                      </p:to>
                                    </p:set>
                                  </p:childTnLst>
                                </p:cTn>
                              </p:par>
                              <p:par>
                                <p:cTn id="31" presetID="1" presetClass="exit"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1"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graphicEl>
                                              <a:dgm id="{725A2067-EC95-4D0C-BBFE-BEC8BF75C960}"/>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
                                            <p:graphicEl>
                                              <a:dgm id="{FD040542-D408-436C-97BE-A7E3FF155FC2}"/>
                                            </p:graphicEl>
                                          </p:spTgt>
                                        </p:tgtEl>
                                        <p:attrNameLst>
                                          <p:attrName>style.visibility</p:attrName>
                                        </p:attrNameLst>
                                      </p:cBhvr>
                                      <p:to>
                                        <p:strVal val="visible"/>
                                      </p:to>
                                    </p:set>
                                  </p:childTnLst>
                                </p:cTn>
                              </p:par>
                              <p:par>
                                <p:cTn id="43" presetID="1" presetClass="exit"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0" nodeType="clickEffect">
                                  <p:stCondLst>
                                    <p:cond delay="0"/>
                                  </p:stCondLst>
                                  <p:childTnLst>
                                    <p:set>
                                      <p:cBhvr>
                                        <p:cTn id="52"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uiExpand="1" animBg="1"/>
      <p:bldP spid="14" grpId="0" animBg="1"/>
      <p:bldP spid="14" grpId="1" uiExpand="1" animBg="1"/>
      <p:bldP spid="15" grpId="0" animBg="1"/>
      <p:bldP spid="15" grpId="1" animBg="1"/>
      <p:bldP spid="16" grpId="0" animBg="1"/>
      <p:bldP spid="16"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3009-3701-4057-BF65-BFB63A4DFDB3}"/>
              </a:ext>
            </a:extLst>
          </p:cNvPr>
          <p:cNvSpPr>
            <a:spLocks noGrp="1"/>
          </p:cNvSpPr>
          <p:nvPr>
            <p:ph type="title"/>
          </p:nvPr>
        </p:nvSpPr>
        <p:spPr>
          <a:xfrm>
            <a:off x="655638" y="320040"/>
            <a:ext cx="10880725" cy="461665"/>
          </a:xfrm>
        </p:spPr>
        <p:txBody>
          <a:bodyPr/>
          <a:lstStyle/>
          <a:p>
            <a:r>
              <a:rPr lang="en-US"/>
              <a:t>Security Features for Azure SQL DB</a:t>
            </a:r>
          </a:p>
        </p:txBody>
      </p:sp>
      <p:grpSp>
        <p:nvGrpSpPr>
          <p:cNvPr id="4" name="Group 3">
            <a:extLst>
              <a:ext uri="{FF2B5EF4-FFF2-40B4-BE49-F238E27FC236}">
                <a16:creationId xmlns:a16="http://schemas.microsoft.com/office/drawing/2014/main" id="{BB06C48A-AE3F-4120-880E-268827FDDB04}"/>
              </a:ext>
            </a:extLst>
          </p:cNvPr>
          <p:cNvGrpSpPr/>
          <p:nvPr/>
        </p:nvGrpSpPr>
        <p:grpSpPr>
          <a:xfrm>
            <a:off x="9566366" y="1699602"/>
            <a:ext cx="2244634" cy="2077640"/>
            <a:chOff x="10210800" y="2418160"/>
            <a:chExt cx="1177834" cy="1177834"/>
          </a:xfrm>
        </p:grpSpPr>
        <p:pic>
          <p:nvPicPr>
            <p:cNvPr id="5" name="Picture 4">
              <a:extLst>
                <a:ext uri="{FF2B5EF4-FFF2-40B4-BE49-F238E27FC236}">
                  <a16:creationId xmlns:a16="http://schemas.microsoft.com/office/drawing/2014/main" id="{02FCCB5E-486E-4A6A-874F-09411EFAF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0800" y="2418160"/>
              <a:ext cx="1177834" cy="1177834"/>
            </a:xfrm>
            <a:prstGeom prst="rect">
              <a:avLst/>
            </a:prstGeom>
          </p:spPr>
        </p:pic>
        <p:sp>
          <p:nvSpPr>
            <p:cNvPr id="6" name="Freeform 7">
              <a:extLst>
                <a:ext uri="{FF2B5EF4-FFF2-40B4-BE49-F238E27FC236}">
                  <a16:creationId xmlns:a16="http://schemas.microsoft.com/office/drawing/2014/main" id="{A17FA154-0842-4B2D-8CBF-FE069899C214}"/>
                </a:ext>
              </a:extLst>
            </p:cNvPr>
            <p:cNvSpPr>
              <a:spLocks noChangeAspect="1"/>
            </p:cNvSpPr>
            <p:nvPr/>
          </p:nvSpPr>
          <p:spPr bwMode="auto">
            <a:xfrm>
              <a:off x="10899037" y="3172795"/>
              <a:ext cx="277103" cy="311937"/>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95117" tIns="47559" rIns="47559" bIns="95117" numCol="1" spcCol="0" rtlCol="0" fromWordArt="0" anchor="b" anchorCtr="0" forceAA="0" compatLnSpc="1">
              <a:prstTxWarp prst="textNoShape">
                <a:avLst/>
              </a:prstTxWarp>
              <a:noAutofit/>
            </a:bodyPr>
            <a:lstStyle/>
            <a:p>
              <a:pPr marL="0" marR="0" lvl="0" indent="0" algn="ctr" defTabSz="950867" eaLnBrk="1" fontAlgn="base" latinLnBrk="0" hangingPunct="1">
                <a:lnSpc>
                  <a:spcPct val="100000"/>
                </a:lnSpc>
                <a:spcBef>
                  <a:spcPct val="0"/>
                </a:spcBef>
                <a:spcAft>
                  <a:spcPct val="0"/>
                </a:spcAft>
                <a:buClrTx/>
                <a:buSzTx/>
                <a:buFontTx/>
                <a:buNone/>
                <a:tabLst/>
                <a:defRPr/>
              </a:pPr>
              <a:endParaRPr kumimoji="0" lang="en-US" sz="1873" b="0" i="0" u="none" strike="noStrike" kern="0" cap="none" spc="-52" normalizeH="0" baseline="0" noProof="0" err="1">
                <a:ln>
                  <a:noFill/>
                </a:ln>
                <a:solidFill>
                  <a:srgbClr val="0078D7"/>
                </a:solidFill>
                <a:effectLst/>
                <a:uLnTx/>
                <a:uFillTx/>
                <a:latin typeface="Segoe UI Semilight"/>
                <a:ea typeface="Segoe UI" pitchFamily="34" charset="0"/>
                <a:cs typeface="Segoe UI" pitchFamily="34" charset="0"/>
              </a:endParaRPr>
            </a:p>
          </p:txBody>
        </p:sp>
      </p:grpSp>
      <p:grpSp>
        <p:nvGrpSpPr>
          <p:cNvPr id="7" name="Group 6">
            <a:extLst>
              <a:ext uri="{FF2B5EF4-FFF2-40B4-BE49-F238E27FC236}">
                <a16:creationId xmlns:a16="http://schemas.microsoft.com/office/drawing/2014/main" id="{01EC1FB9-8766-4E5E-AA9D-EF0C8BDE9D52}"/>
              </a:ext>
            </a:extLst>
          </p:cNvPr>
          <p:cNvGrpSpPr/>
          <p:nvPr/>
        </p:nvGrpSpPr>
        <p:grpSpPr>
          <a:xfrm>
            <a:off x="683895" y="1420336"/>
            <a:ext cx="8610600" cy="1253573"/>
            <a:chOff x="0" y="214867"/>
            <a:chExt cx="8610600" cy="1253573"/>
          </a:xfrm>
          <a:solidFill>
            <a:srgbClr val="0078D7"/>
          </a:solidFill>
        </p:grpSpPr>
        <p:sp>
          <p:nvSpPr>
            <p:cNvPr id="8" name="Right Arrow 33">
              <a:extLst>
                <a:ext uri="{FF2B5EF4-FFF2-40B4-BE49-F238E27FC236}">
                  <a16:creationId xmlns:a16="http://schemas.microsoft.com/office/drawing/2014/main" id="{AA2C7CA6-71CF-47A1-BA69-2ACE7A5F2A2E}"/>
                </a:ext>
              </a:extLst>
            </p:cNvPr>
            <p:cNvSpPr/>
            <p:nvPr/>
          </p:nvSpPr>
          <p:spPr>
            <a:xfrm>
              <a:off x="0" y="214867"/>
              <a:ext cx="8610600" cy="1253573"/>
            </a:xfrm>
            <a:prstGeom prst="rightArrow">
              <a:avLst>
                <a:gd name="adj1" fmla="val 50000"/>
                <a:gd name="adj2" fmla="val 50000"/>
              </a:avLst>
            </a:prstGeom>
            <a:grpFill/>
            <a:ln w="10795" cap="flat" cmpd="sng" algn="ctr">
              <a:solidFill>
                <a:srgbClr val="FFFFFF">
                  <a:hueOff val="0"/>
                  <a:satOff val="0"/>
                  <a:lumOff val="0"/>
                  <a:alphaOff val="0"/>
                </a:srgbClr>
              </a:solidFill>
              <a:prstDash val="solid"/>
            </a:ln>
            <a:effectLst/>
          </p:spPr>
        </p:sp>
        <p:sp>
          <p:nvSpPr>
            <p:cNvPr id="9" name="Right Arrow 4">
              <a:extLst>
                <a:ext uri="{FF2B5EF4-FFF2-40B4-BE49-F238E27FC236}">
                  <a16:creationId xmlns:a16="http://schemas.microsoft.com/office/drawing/2014/main" id="{E71EC32F-CF19-4C67-9C0C-5E29C80A814A}"/>
                </a:ext>
              </a:extLst>
            </p:cNvPr>
            <p:cNvSpPr/>
            <p:nvPr/>
          </p:nvSpPr>
          <p:spPr>
            <a:xfrm>
              <a:off x="0" y="528260"/>
              <a:ext cx="8297207" cy="626787"/>
            </a:xfrm>
            <a:prstGeom prst="rect">
              <a:avLst/>
            </a:prstGeom>
            <a:grpFill/>
            <a:ln>
              <a:noFill/>
            </a:ln>
            <a:effectLst/>
          </p:spPr>
          <p:txBody>
            <a:bodyPr spcFirstLastPara="0" vert="horz" wrap="square" lIns="83820" tIns="83820" rIns="254000" bIns="199005" numCol="1" spcCol="1270" anchor="ctr"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mn-cs"/>
                </a:rPr>
                <a:t>Sessions</a:t>
              </a:r>
            </a:p>
          </p:txBody>
        </p:sp>
      </p:grpSp>
      <p:grpSp>
        <p:nvGrpSpPr>
          <p:cNvPr id="10" name="Group 9">
            <a:extLst>
              <a:ext uri="{FF2B5EF4-FFF2-40B4-BE49-F238E27FC236}">
                <a16:creationId xmlns:a16="http://schemas.microsoft.com/office/drawing/2014/main" id="{FE9A4695-8876-48B2-B824-488EB806624E}"/>
              </a:ext>
            </a:extLst>
          </p:cNvPr>
          <p:cNvGrpSpPr/>
          <p:nvPr/>
        </p:nvGrpSpPr>
        <p:grpSpPr>
          <a:xfrm>
            <a:off x="683895" y="2389068"/>
            <a:ext cx="1984743" cy="2318734"/>
            <a:chOff x="0" y="1183599"/>
            <a:chExt cx="1984743" cy="2318734"/>
          </a:xfrm>
        </p:grpSpPr>
        <p:sp>
          <p:nvSpPr>
            <p:cNvPr id="11" name="Rectangle 10">
              <a:extLst>
                <a:ext uri="{FF2B5EF4-FFF2-40B4-BE49-F238E27FC236}">
                  <a16:creationId xmlns:a16="http://schemas.microsoft.com/office/drawing/2014/main" id="{F0F45089-688E-48C4-94FC-F408C9280E4B}"/>
                </a:ext>
              </a:extLst>
            </p:cNvPr>
            <p:cNvSpPr/>
            <p:nvPr/>
          </p:nvSpPr>
          <p:spPr>
            <a:xfrm>
              <a:off x="0" y="1183599"/>
              <a:ext cx="1984743" cy="2318734"/>
            </a:xfrm>
            <a:prstGeom prst="rect">
              <a:avLst/>
            </a:prstGeom>
            <a:gradFill rotWithShape="0">
              <a:gsLst>
                <a:gs pos="0">
                  <a:srgbClr val="002050">
                    <a:tint val="66000"/>
                    <a:satMod val="160000"/>
                  </a:srgbClr>
                </a:gs>
                <a:gs pos="50000">
                  <a:srgbClr val="002050">
                    <a:tint val="44500"/>
                    <a:satMod val="160000"/>
                  </a:srgbClr>
                </a:gs>
                <a:gs pos="100000">
                  <a:srgbClr val="002050">
                    <a:tint val="23500"/>
                    <a:satMod val="160000"/>
                  </a:srgbClr>
                </a:gs>
              </a:gsLst>
              <a:lin ang="5400000" scaled="0"/>
            </a:gradFill>
            <a:ln w="10795" cap="flat" cmpd="sng" algn="ctr">
              <a:solidFill>
                <a:srgbClr val="505050"/>
              </a:solidFill>
              <a:prstDash val="solid"/>
            </a:ln>
            <a:effectLst/>
          </p:spPr>
        </p:sp>
        <p:sp>
          <p:nvSpPr>
            <p:cNvPr id="12" name="Rectangle 11">
              <a:extLst>
                <a:ext uri="{FF2B5EF4-FFF2-40B4-BE49-F238E27FC236}">
                  <a16:creationId xmlns:a16="http://schemas.microsoft.com/office/drawing/2014/main" id="{EF67F653-270D-492A-8305-F4D13446979F}"/>
                </a:ext>
              </a:extLst>
            </p:cNvPr>
            <p:cNvSpPr/>
            <p:nvPr/>
          </p:nvSpPr>
          <p:spPr>
            <a:xfrm>
              <a:off x="0" y="1183599"/>
              <a:ext cx="1984743" cy="2318734"/>
            </a:xfrm>
            <a:prstGeom prst="rect">
              <a:avLst/>
            </a:prstGeom>
            <a:solidFill>
              <a:srgbClr val="FFFFFF"/>
            </a:solidFill>
            <a:ln>
              <a:solidFill>
                <a:srgbClr val="505050"/>
              </a:solidFill>
            </a:ln>
            <a:effectLst/>
          </p:spPr>
          <p:txBody>
            <a:bodyPr spcFirstLastPara="0" vert="horz" wrap="square" lIns="83820" tIns="83820" rIns="83820" bIns="83820" numCol="1" spcCol="1270" anchor="t"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Azure Active Directory Security</a:t>
              </a:r>
            </a:p>
            <a:p>
              <a:pPr marL="0" marR="0" lvl="0" indent="0" defTabSz="977900" eaLnBrk="1" fontAlgn="auto" latinLnBrk="0" hangingPunct="1">
                <a:lnSpc>
                  <a:spcPct val="90000"/>
                </a:lnSpc>
                <a:spcBef>
                  <a:spcPct val="0"/>
                </a:spcBef>
                <a:spcAft>
                  <a:spcPct val="35000"/>
                </a:spcAft>
                <a:buClrTx/>
                <a:buSzTx/>
                <a:buFontTx/>
                <a:buNone/>
                <a:tabLst/>
                <a:defRPr/>
              </a:pPr>
              <a:endPar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endParaRPr>
            </a:p>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Firewall</a:t>
              </a:r>
            </a:p>
          </p:txBody>
        </p:sp>
      </p:grpSp>
      <p:grpSp>
        <p:nvGrpSpPr>
          <p:cNvPr id="13" name="Group 12">
            <a:extLst>
              <a:ext uri="{FF2B5EF4-FFF2-40B4-BE49-F238E27FC236}">
                <a16:creationId xmlns:a16="http://schemas.microsoft.com/office/drawing/2014/main" id="{00019918-949A-4655-9F02-AAF26E17640C}"/>
              </a:ext>
            </a:extLst>
          </p:cNvPr>
          <p:cNvGrpSpPr/>
          <p:nvPr/>
        </p:nvGrpSpPr>
        <p:grpSpPr>
          <a:xfrm>
            <a:off x="2668638" y="1838046"/>
            <a:ext cx="6625856" cy="1253573"/>
            <a:chOff x="1984743" y="632577"/>
            <a:chExt cx="6625856" cy="1253573"/>
          </a:xfrm>
        </p:grpSpPr>
        <p:sp>
          <p:nvSpPr>
            <p:cNvPr id="14" name="Right Arrow 29">
              <a:extLst>
                <a:ext uri="{FF2B5EF4-FFF2-40B4-BE49-F238E27FC236}">
                  <a16:creationId xmlns:a16="http://schemas.microsoft.com/office/drawing/2014/main" id="{2B2160FF-8E72-4C29-BFBF-9F812971ECAE}"/>
                </a:ext>
              </a:extLst>
            </p:cNvPr>
            <p:cNvSpPr/>
            <p:nvPr/>
          </p:nvSpPr>
          <p:spPr>
            <a:xfrm>
              <a:off x="1984743" y="632577"/>
              <a:ext cx="6625856" cy="1253573"/>
            </a:xfrm>
            <a:prstGeom prst="rightArrow">
              <a:avLst>
                <a:gd name="adj1" fmla="val 50000"/>
                <a:gd name="adj2" fmla="val 50000"/>
              </a:avLst>
            </a:prstGeom>
            <a:solidFill>
              <a:srgbClr val="B4009E"/>
            </a:solidFill>
            <a:ln w="10795" cap="flat" cmpd="sng" algn="ctr">
              <a:solidFill>
                <a:srgbClr val="FFFFFF">
                  <a:hueOff val="0"/>
                  <a:satOff val="0"/>
                  <a:lumOff val="0"/>
                  <a:alphaOff val="0"/>
                </a:srgbClr>
              </a:solidFill>
              <a:prstDash val="solid"/>
            </a:ln>
            <a:effectLst/>
          </p:spPr>
        </p:sp>
        <p:sp>
          <p:nvSpPr>
            <p:cNvPr id="15" name="Right Arrow 8">
              <a:extLst>
                <a:ext uri="{FF2B5EF4-FFF2-40B4-BE49-F238E27FC236}">
                  <a16:creationId xmlns:a16="http://schemas.microsoft.com/office/drawing/2014/main" id="{35C67BEB-C094-4B5F-9E32-7285ACC4A4C9}"/>
                </a:ext>
              </a:extLst>
            </p:cNvPr>
            <p:cNvSpPr/>
            <p:nvPr/>
          </p:nvSpPr>
          <p:spPr>
            <a:xfrm>
              <a:off x="1984743" y="945970"/>
              <a:ext cx="6312463" cy="626787"/>
            </a:xfrm>
            <a:prstGeom prst="rect">
              <a:avLst/>
            </a:prstGeom>
            <a:noFill/>
            <a:ln>
              <a:noFill/>
            </a:ln>
            <a:effectLst/>
          </p:spPr>
          <p:txBody>
            <a:bodyPr spcFirstLastPara="0" vert="horz" wrap="square" lIns="83820" tIns="83820" rIns="254000" bIns="199005" numCol="1" spcCol="1270" anchor="ctr"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mn-cs"/>
                </a:rPr>
                <a:t>Encryption</a:t>
              </a:r>
            </a:p>
          </p:txBody>
        </p:sp>
      </p:grpSp>
      <p:grpSp>
        <p:nvGrpSpPr>
          <p:cNvPr id="16" name="Group 15">
            <a:extLst>
              <a:ext uri="{FF2B5EF4-FFF2-40B4-BE49-F238E27FC236}">
                <a16:creationId xmlns:a16="http://schemas.microsoft.com/office/drawing/2014/main" id="{A06A55C9-E4F2-402F-ADB7-F2AC127E3997}"/>
              </a:ext>
            </a:extLst>
          </p:cNvPr>
          <p:cNvGrpSpPr/>
          <p:nvPr/>
        </p:nvGrpSpPr>
        <p:grpSpPr>
          <a:xfrm>
            <a:off x="2668638" y="2806777"/>
            <a:ext cx="1984743" cy="2259632"/>
            <a:chOff x="1984743" y="1601308"/>
            <a:chExt cx="1984743" cy="2259632"/>
          </a:xfrm>
        </p:grpSpPr>
        <p:sp>
          <p:nvSpPr>
            <p:cNvPr id="17" name="Rectangle 16">
              <a:extLst>
                <a:ext uri="{FF2B5EF4-FFF2-40B4-BE49-F238E27FC236}">
                  <a16:creationId xmlns:a16="http://schemas.microsoft.com/office/drawing/2014/main" id="{3FFFD406-63E4-4CF9-9C1F-4C10D7D7B7E9}"/>
                </a:ext>
              </a:extLst>
            </p:cNvPr>
            <p:cNvSpPr/>
            <p:nvPr/>
          </p:nvSpPr>
          <p:spPr>
            <a:xfrm>
              <a:off x="1984743" y="1601308"/>
              <a:ext cx="1984743" cy="2259632"/>
            </a:xfrm>
            <a:prstGeom prst="rect">
              <a:avLst/>
            </a:prstGeom>
            <a:solidFill>
              <a:srgbClr val="FFFFFF"/>
            </a:solidFill>
            <a:ln w="10795" cap="flat" cmpd="sng" algn="ctr">
              <a:solidFill>
                <a:srgbClr val="505050"/>
              </a:solidFill>
              <a:prstDash val="solid"/>
            </a:ln>
            <a:effectLst/>
          </p:spPr>
        </p:sp>
        <p:sp>
          <p:nvSpPr>
            <p:cNvPr id="18" name="Rectangle 17">
              <a:extLst>
                <a:ext uri="{FF2B5EF4-FFF2-40B4-BE49-F238E27FC236}">
                  <a16:creationId xmlns:a16="http://schemas.microsoft.com/office/drawing/2014/main" id="{7726A539-019C-4541-8158-86187A68FD08}"/>
                </a:ext>
              </a:extLst>
            </p:cNvPr>
            <p:cNvSpPr/>
            <p:nvPr/>
          </p:nvSpPr>
          <p:spPr>
            <a:xfrm>
              <a:off x="1984743" y="1601308"/>
              <a:ext cx="1984743" cy="2259632"/>
            </a:xfrm>
            <a:prstGeom prst="rect">
              <a:avLst/>
            </a:prstGeom>
            <a:noFill/>
            <a:ln>
              <a:solidFill>
                <a:srgbClr val="505050"/>
              </a:solidFill>
            </a:ln>
            <a:effectLst/>
          </p:spPr>
          <p:txBody>
            <a:bodyPr spcFirstLastPara="0" vert="horz" wrap="square" lIns="83820" tIns="83820" rIns="83820" bIns="83820" numCol="1" spcCol="1270" anchor="t"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TDE</a:t>
              </a:r>
            </a:p>
            <a:p>
              <a:pPr marL="0" marR="0" lvl="0" indent="0" defTabSz="977900" eaLnBrk="1" fontAlgn="auto" latinLnBrk="0" hangingPunct="1">
                <a:lnSpc>
                  <a:spcPct val="90000"/>
                </a:lnSpc>
                <a:spcBef>
                  <a:spcPct val="0"/>
                </a:spcBef>
                <a:spcAft>
                  <a:spcPct val="35000"/>
                </a:spcAft>
                <a:buClrTx/>
                <a:buSzTx/>
                <a:buFontTx/>
                <a:buNone/>
                <a:tabLst/>
                <a:defRPr/>
              </a:pPr>
              <a:endPar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endParaRPr>
            </a:p>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Always Encrypted</a:t>
              </a:r>
            </a:p>
          </p:txBody>
        </p:sp>
      </p:grpSp>
      <p:grpSp>
        <p:nvGrpSpPr>
          <p:cNvPr id="19" name="Group 18">
            <a:extLst>
              <a:ext uri="{FF2B5EF4-FFF2-40B4-BE49-F238E27FC236}">
                <a16:creationId xmlns:a16="http://schemas.microsoft.com/office/drawing/2014/main" id="{3B2451DB-C81E-4B68-A6C3-745C80F242E6}"/>
              </a:ext>
            </a:extLst>
          </p:cNvPr>
          <p:cNvGrpSpPr/>
          <p:nvPr/>
        </p:nvGrpSpPr>
        <p:grpSpPr>
          <a:xfrm>
            <a:off x="4653381" y="2255756"/>
            <a:ext cx="4641113" cy="1253573"/>
            <a:chOff x="3969486" y="1050287"/>
            <a:chExt cx="4641113" cy="1253573"/>
          </a:xfrm>
        </p:grpSpPr>
        <p:sp>
          <p:nvSpPr>
            <p:cNvPr id="20" name="Right Arrow 25">
              <a:extLst>
                <a:ext uri="{FF2B5EF4-FFF2-40B4-BE49-F238E27FC236}">
                  <a16:creationId xmlns:a16="http://schemas.microsoft.com/office/drawing/2014/main" id="{9145738B-92DA-4D11-85C6-F9935AEBF2A0}"/>
                </a:ext>
              </a:extLst>
            </p:cNvPr>
            <p:cNvSpPr/>
            <p:nvPr/>
          </p:nvSpPr>
          <p:spPr>
            <a:xfrm>
              <a:off x="3969486" y="1050287"/>
              <a:ext cx="4641113" cy="1253573"/>
            </a:xfrm>
            <a:prstGeom prst="rightArrow">
              <a:avLst>
                <a:gd name="adj1" fmla="val 50000"/>
                <a:gd name="adj2" fmla="val 50000"/>
              </a:avLst>
            </a:prstGeom>
            <a:solidFill>
              <a:srgbClr val="002060"/>
            </a:solidFill>
            <a:ln w="10795" cap="flat" cmpd="sng" algn="ctr">
              <a:solidFill>
                <a:srgbClr val="FFFFFF">
                  <a:hueOff val="0"/>
                  <a:satOff val="0"/>
                  <a:lumOff val="0"/>
                  <a:alphaOff val="0"/>
                </a:srgbClr>
              </a:solidFill>
              <a:prstDash val="solid"/>
            </a:ln>
            <a:effectLst/>
          </p:spPr>
        </p:sp>
        <p:sp>
          <p:nvSpPr>
            <p:cNvPr id="21" name="Right Arrow 12">
              <a:extLst>
                <a:ext uri="{FF2B5EF4-FFF2-40B4-BE49-F238E27FC236}">
                  <a16:creationId xmlns:a16="http://schemas.microsoft.com/office/drawing/2014/main" id="{EFD4E850-F758-4A41-8BA7-1FAA119AE796}"/>
                </a:ext>
              </a:extLst>
            </p:cNvPr>
            <p:cNvSpPr/>
            <p:nvPr/>
          </p:nvSpPr>
          <p:spPr>
            <a:xfrm>
              <a:off x="3969486" y="1363680"/>
              <a:ext cx="4327720" cy="626787"/>
            </a:xfrm>
            <a:prstGeom prst="rect">
              <a:avLst/>
            </a:prstGeom>
            <a:noFill/>
            <a:ln>
              <a:noFill/>
            </a:ln>
            <a:effectLst/>
          </p:spPr>
          <p:txBody>
            <a:bodyPr spcFirstLastPara="0" vert="horz" wrap="square" lIns="83820" tIns="83820" rIns="254000" bIns="199005" numCol="1" spcCol="1270" anchor="ctr"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mn-cs"/>
                </a:rPr>
                <a:t>Data protection</a:t>
              </a:r>
            </a:p>
          </p:txBody>
        </p:sp>
      </p:grpSp>
      <p:grpSp>
        <p:nvGrpSpPr>
          <p:cNvPr id="22" name="Group 21">
            <a:extLst>
              <a:ext uri="{FF2B5EF4-FFF2-40B4-BE49-F238E27FC236}">
                <a16:creationId xmlns:a16="http://schemas.microsoft.com/office/drawing/2014/main" id="{34C1EC2C-FB51-481E-9142-FDB05C004E36}"/>
              </a:ext>
            </a:extLst>
          </p:cNvPr>
          <p:cNvGrpSpPr/>
          <p:nvPr/>
        </p:nvGrpSpPr>
        <p:grpSpPr>
          <a:xfrm>
            <a:off x="4653381" y="3224487"/>
            <a:ext cx="1984743" cy="2274741"/>
            <a:chOff x="3969486" y="2019018"/>
            <a:chExt cx="1984743" cy="2274741"/>
          </a:xfrm>
        </p:grpSpPr>
        <p:sp>
          <p:nvSpPr>
            <p:cNvPr id="23" name="Rectangle 22">
              <a:extLst>
                <a:ext uri="{FF2B5EF4-FFF2-40B4-BE49-F238E27FC236}">
                  <a16:creationId xmlns:a16="http://schemas.microsoft.com/office/drawing/2014/main" id="{9D2FC01B-D476-44D3-9C12-974637F4098E}"/>
                </a:ext>
              </a:extLst>
            </p:cNvPr>
            <p:cNvSpPr/>
            <p:nvPr/>
          </p:nvSpPr>
          <p:spPr>
            <a:xfrm>
              <a:off x="3969486" y="2019018"/>
              <a:ext cx="1984743" cy="2274741"/>
            </a:xfrm>
            <a:prstGeom prst="rect">
              <a:avLst/>
            </a:prstGeom>
            <a:gradFill rotWithShape="0">
              <a:gsLst>
                <a:gs pos="0">
                  <a:srgbClr val="002050">
                    <a:tint val="66000"/>
                    <a:satMod val="160000"/>
                  </a:srgbClr>
                </a:gs>
                <a:gs pos="50000">
                  <a:srgbClr val="002050">
                    <a:tint val="44500"/>
                    <a:satMod val="160000"/>
                  </a:srgbClr>
                </a:gs>
                <a:gs pos="100000">
                  <a:srgbClr val="002050">
                    <a:tint val="23500"/>
                    <a:satMod val="160000"/>
                  </a:srgbClr>
                </a:gs>
              </a:gsLst>
              <a:lin ang="5400000" scaled="0"/>
            </a:gradFill>
            <a:ln w="10795" cap="flat" cmpd="sng" algn="ctr">
              <a:solidFill>
                <a:srgbClr val="002050">
                  <a:hueOff val="0"/>
                  <a:satOff val="0"/>
                  <a:lumOff val="0"/>
                  <a:alphaOff val="0"/>
                </a:srgbClr>
              </a:solidFill>
              <a:prstDash val="solid"/>
            </a:ln>
            <a:effectLst/>
          </p:spPr>
        </p:sp>
        <p:sp>
          <p:nvSpPr>
            <p:cNvPr id="24" name="Rectangle 23">
              <a:extLst>
                <a:ext uri="{FF2B5EF4-FFF2-40B4-BE49-F238E27FC236}">
                  <a16:creationId xmlns:a16="http://schemas.microsoft.com/office/drawing/2014/main" id="{D67C98F6-B642-4C15-A645-2D99F1711BF6}"/>
                </a:ext>
              </a:extLst>
            </p:cNvPr>
            <p:cNvSpPr/>
            <p:nvPr/>
          </p:nvSpPr>
          <p:spPr>
            <a:xfrm>
              <a:off x="3969486" y="2019018"/>
              <a:ext cx="1984743" cy="2274741"/>
            </a:xfrm>
            <a:prstGeom prst="rect">
              <a:avLst/>
            </a:prstGeom>
            <a:solidFill>
              <a:srgbClr val="FFFFFF"/>
            </a:solidFill>
            <a:ln>
              <a:solidFill>
                <a:srgbClr val="505050"/>
              </a:solidFill>
            </a:ln>
            <a:effectLst/>
          </p:spPr>
          <p:txBody>
            <a:bodyPr spcFirstLastPara="0" vert="horz" wrap="square" lIns="83820" tIns="83820" rIns="83820" bIns="83820" numCol="1" spcCol="1270" anchor="t"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dirty="0">
                  <a:ln>
                    <a:noFill/>
                  </a:ln>
                  <a:solidFill>
                    <a:srgbClr val="505050">
                      <a:hueOff val="0"/>
                      <a:satOff val="0"/>
                      <a:lumOff val="0"/>
                      <a:alphaOff val="0"/>
                    </a:srgbClr>
                  </a:solidFill>
                  <a:effectLst/>
                  <a:uLnTx/>
                  <a:uFillTx/>
                  <a:latin typeface="Segoe UI"/>
                  <a:ea typeface="+mn-ea"/>
                  <a:cs typeface="+mn-cs"/>
                </a:rPr>
                <a:t>Row-level security</a:t>
              </a:r>
            </a:p>
            <a:p>
              <a:pPr marL="0" marR="0" lvl="0" indent="0" defTabSz="977900" eaLnBrk="1" fontAlgn="auto" latinLnBrk="0" hangingPunct="1">
                <a:lnSpc>
                  <a:spcPct val="90000"/>
                </a:lnSpc>
                <a:spcBef>
                  <a:spcPct val="0"/>
                </a:spcBef>
                <a:spcAft>
                  <a:spcPct val="35000"/>
                </a:spcAft>
                <a:buClrTx/>
                <a:buSzTx/>
                <a:buFontTx/>
                <a:buNone/>
                <a:tabLst/>
                <a:defRPr/>
              </a:pPr>
              <a:endParaRPr kumimoji="0" lang="en-US" sz="2200" b="0" i="0" u="none" strike="noStrike" kern="0" cap="none" spc="0" normalizeH="0" baseline="0" noProof="0" dirty="0">
                <a:ln>
                  <a:noFill/>
                </a:ln>
                <a:solidFill>
                  <a:srgbClr val="505050">
                    <a:hueOff val="0"/>
                    <a:satOff val="0"/>
                    <a:lumOff val="0"/>
                    <a:alphaOff val="0"/>
                  </a:srgbClr>
                </a:solidFill>
                <a:effectLst/>
                <a:uLnTx/>
                <a:uFillTx/>
                <a:latin typeface="Segoe UI"/>
                <a:ea typeface="+mn-ea"/>
                <a:cs typeface="+mn-cs"/>
              </a:endParaRPr>
            </a:p>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dirty="0">
                  <a:ln>
                    <a:noFill/>
                  </a:ln>
                  <a:solidFill>
                    <a:srgbClr val="505050">
                      <a:hueOff val="0"/>
                      <a:satOff val="0"/>
                      <a:lumOff val="0"/>
                      <a:alphaOff val="0"/>
                    </a:srgbClr>
                  </a:solidFill>
                  <a:effectLst/>
                  <a:uLnTx/>
                  <a:uFillTx/>
                  <a:latin typeface="Segoe UI"/>
                  <a:ea typeface="+mn-ea"/>
                  <a:cs typeface="+mn-cs"/>
                </a:rPr>
                <a:t>Dynamic data masking</a:t>
              </a:r>
            </a:p>
          </p:txBody>
        </p:sp>
      </p:grpSp>
      <p:grpSp>
        <p:nvGrpSpPr>
          <p:cNvPr id="25" name="Group 24">
            <a:extLst>
              <a:ext uri="{FF2B5EF4-FFF2-40B4-BE49-F238E27FC236}">
                <a16:creationId xmlns:a16="http://schemas.microsoft.com/office/drawing/2014/main" id="{C4E65DE3-DD4F-4DA0-82B8-EDE3F6A27778}"/>
              </a:ext>
            </a:extLst>
          </p:cNvPr>
          <p:cNvGrpSpPr/>
          <p:nvPr/>
        </p:nvGrpSpPr>
        <p:grpSpPr>
          <a:xfrm>
            <a:off x="6638124" y="2673466"/>
            <a:ext cx="2656370" cy="1253573"/>
            <a:chOff x="5954229" y="1467997"/>
            <a:chExt cx="2656370" cy="1253573"/>
          </a:xfrm>
        </p:grpSpPr>
        <p:sp>
          <p:nvSpPr>
            <p:cNvPr id="26" name="Right Arrow 21">
              <a:extLst>
                <a:ext uri="{FF2B5EF4-FFF2-40B4-BE49-F238E27FC236}">
                  <a16:creationId xmlns:a16="http://schemas.microsoft.com/office/drawing/2014/main" id="{11D2416F-E38C-44D5-A35E-239B1FB1AD88}"/>
                </a:ext>
              </a:extLst>
            </p:cNvPr>
            <p:cNvSpPr/>
            <p:nvPr/>
          </p:nvSpPr>
          <p:spPr>
            <a:xfrm>
              <a:off x="5954229" y="1467997"/>
              <a:ext cx="2656370" cy="1253573"/>
            </a:xfrm>
            <a:prstGeom prst="rightArrow">
              <a:avLst>
                <a:gd name="adj1" fmla="val 50000"/>
                <a:gd name="adj2" fmla="val 50000"/>
              </a:avLst>
            </a:prstGeom>
            <a:solidFill>
              <a:srgbClr val="107C10"/>
            </a:solidFill>
            <a:ln w="10795" cap="flat" cmpd="sng" algn="ctr">
              <a:solidFill>
                <a:srgbClr val="FFFFFF">
                  <a:hueOff val="0"/>
                  <a:satOff val="0"/>
                  <a:lumOff val="0"/>
                  <a:alphaOff val="0"/>
                </a:srgbClr>
              </a:solidFill>
              <a:prstDash val="solid"/>
            </a:ln>
            <a:effectLst/>
          </p:spPr>
        </p:sp>
        <p:sp>
          <p:nvSpPr>
            <p:cNvPr id="27" name="Right Arrow 16">
              <a:extLst>
                <a:ext uri="{FF2B5EF4-FFF2-40B4-BE49-F238E27FC236}">
                  <a16:creationId xmlns:a16="http://schemas.microsoft.com/office/drawing/2014/main" id="{2F8AB7CD-45D7-4580-A0D1-61740CBA861B}"/>
                </a:ext>
              </a:extLst>
            </p:cNvPr>
            <p:cNvSpPr/>
            <p:nvPr/>
          </p:nvSpPr>
          <p:spPr>
            <a:xfrm>
              <a:off x="5954229" y="1781390"/>
              <a:ext cx="2342977" cy="626787"/>
            </a:xfrm>
            <a:prstGeom prst="rect">
              <a:avLst/>
            </a:prstGeom>
            <a:noFill/>
            <a:ln>
              <a:noFill/>
            </a:ln>
            <a:effectLst/>
          </p:spPr>
          <p:txBody>
            <a:bodyPr spcFirstLastPara="0" vert="horz" wrap="square" lIns="83820" tIns="83820" rIns="254000" bIns="199005" numCol="1" spcCol="1270" anchor="ctr"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a:ea typeface="+mn-ea"/>
                  <a:cs typeface="+mn-cs"/>
                </a:rPr>
                <a:t>Analysis</a:t>
              </a:r>
            </a:p>
          </p:txBody>
        </p:sp>
      </p:grpSp>
      <p:grpSp>
        <p:nvGrpSpPr>
          <p:cNvPr id="28" name="Group 27">
            <a:extLst>
              <a:ext uri="{FF2B5EF4-FFF2-40B4-BE49-F238E27FC236}">
                <a16:creationId xmlns:a16="http://schemas.microsoft.com/office/drawing/2014/main" id="{84F8396F-68B1-4DA7-9456-9335C25C2A26}"/>
              </a:ext>
            </a:extLst>
          </p:cNvPr>
          <p:cNvGrpSpPr/>
          <p:nvPr/>
        </p:nvGrpSpPr>
        <p:grpSpPr>
          <a:xfrm>
            <a:off x="6638124" y="3642197"/>
            <a:ext cx="2002825" cy="2301403"/>
            <a:chOff x="5954229" y="2436728"/>
            <a:chExt cx="2002825" cy="2301403"/>
          </a:xfrm>
        </p:grpSpPr>
        <p:sp>
          <p:nvSpPr>
            <p:cNvPr id="29" name="Rectangle 28">
              <a:extLst>
                <a:ext uri="{FF2B5EF4-FFF2-40B4-BE49-F238E27FC236}">
                  <a16:creationId xmlns:a16="http://schemas.microsoft.com/office/drawing/2014/main" id="{234C4960-05E5-4D9E-B6E9-9985CC1A8150}"/>
                </a:ext>
              </a:extLst>
            </p:cNvPr>
            <p:cNvSpPr/>
            <p:nvPr/>
          </p:nvSpPr>
          <p:spPr>
            <a:xfrm>
              <a:off x="5954229" y="2436728"/>
              <a:ext cx="2002825" cy="2301403"/>
            </a:xfrm>
            <a:prstGeom prst="rect">
              <a:avLst/>
            </a:prstGeom>
            <a:gradFill rotWithShape="0">
              <a:gsLst>
                <a:gs pos="0">
                  <a:srgbClr val="002050">
                    <a:tint val="66000"/>
                    <a:satMod val="160000"/>
                  </a:srgbClr>
                </a:gs>
                <a:gs pos="50000">
                  <a:srgbClr val="002050">
                    <a:tint val="44500"/>
                    <a:satMod val="160000"/>
                  </a:srgbClr>
                </a:gs>
                <a:gs pos="100000">
                  <a:srgbClr val="002050">
                    <a:tint val="23500"/>
                    <a:satMod val="160000"/>
                  </a:srgbClr>
                </a:gs>
              </a:gsLst>
              <a:lin ang="5400000" scaled="0"/>
            </a:gradFill>
            <a:ln w="10795" cap="flat" cmpd="sng" algn="ctr">
              <a:solidFill>
                <a:srgbClr val="002050">
                  <a:hueOff val="0"/>
                  <a:satOff val="0"/>
                  <a:lumOff val="0"/>
                  <a:alphaOff val="0"/>
                </a:srgbClr>
              </a:solidFill>
              <a:prstDash val="solid"/>
            </a:ln>
            <a:effectLst/>
          </p:spPr>
        </p:sp>
        <p:sp>
          <p:nvSpPr>
            <p:cNvPr id="30" name="Rectangle 29">
              <a:extLst>
                <a:ext uri="{FF2B5EF4-FFF2-40B4-BE49-F238E27FC236}">
                  <a16:creationId xmlns:a16="http://schemas.microsoft.com/office/drawing/2014/main" id="{EBE8B92B-7CD9-4B93-9168-C3C8B016DFCD}"/>
                </a:ext>
              </a:extLst>
            </p:cNvPr>
            <p:cNvSpPr/>
            <p:nvPr/>
          </p:nvSpPr>
          <p:spPr>
            <a:xfrm>
              <a:off x="5954229" y="2436728"/>
              <a:ext cx="2002825" cy="2301403"/>
            </a:xfrm>
            <a:prstGeom prst="rect">
              <a:avLst/>
            </a:prstGeom>
            <a:solidFill>
              <a:srgbClr val="FFFFFF"/>
            </a:solidFill>
            <a:ln>
              <a:solidFill>
                <a:srgbClr val="505050"/>
              </a:solidFill>
            </a:ln>
            <a:effectLst/>
          </p:spPr>
          <p:txBody>
            <a:bodyPr spcFirstLastPara="0" vert="horz" wrap="square" lIns="83820" tIns="83820" rIns="83820" bIns="83820" numCol="1" spcCol="1270" anchor="t" anchorCtr="0">
              <a:noAutofit/>
            </a:bodyPr>
            <a:lstStyle/>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SQL Auditing</a:t>
              </a:r>
            </a:p>
            <a:p>
              <a:pPr marL="0" marR="0" lvl="0" indent="0" defTabSz="977900" eaLnBrk="1" fontAlgn="auto" latinLnBrk="0" hangingPunct="1">
                <a:lnSpc>
                  <a:spcPct val="90000"/>
                </a:lnSpc>
                <a:spcBef>
                  <a:spcPct val="0"/>
                </a:spcBef>
                <a:spcAft>
                  <a:spcPct val="35000"/>
                </a:spcAft>
                <a:buClrTx/>
                <a:buSzTx/>
                <a:buFontTx/>
                <a:buNone/>
                <a:tabLst/>
                <a:defRPr/>
              </a:pPr>
              <a:endPar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endParaRPr>
            </a:p>
            <a:p>
              <a:pPr marL="0" marR="0" lvl="0" indent="0" defTabSz="977900" eaLnBrk="1" fontAlgn="auto" latinLnBrk="0" hangingPunct="1">
                <a:lnSpc>
                  <a:spcPct val="90000"/>
                </a:lnSpc>
                <a:spcBef>
                  <a:spcPct val="0"/>
                </a:spcBef>
                <a:spcAft>
                  <a:spcPct val="35000"/>
                </a:spcAft>
                <a:buClrTx/>
                <a:buSzTx/>
                <a:buFontTx/>
                <a:buNone/>
                <a:tabLst/>
                <a:defRPr/>
              </a:pPr>
              <a:r>
                <a:rPr kumimoji="0" lang="en-US" sz="2200" b="0" i="0" u="none" strike="noStrike" kern="0" cap="none" spc="0" normalizeH="0" baseline="0" noProof="0">
                  <a:ln>
                    <a:noFill/>
                  </a:ln>
                  <a:solidFill>
                    <a:srgbClr val="505050">
                      <a:hueOff val="0"/>
                      <a:satOff val="0"/>
                      <a:lumOff val="0"/>
                      <a:alphaOff val="0"/>
                    </a:srgbClr>
                  </a:solidFill>
                  <a:effectLst/>
                  <a:uLnTx/>
                  <a:uFillTx/>
                  <a:latin typeface="Segoe UI"/>
                  <a:ea typeface="+mn-ea"/>
                  <a:cs typeface="+mn-cs"/>
                </a:rPr>
                <a:t>Threat Detection</a:t>
              </a:r>
            </a:p>
          </p:txBody>
        </p:sp>
      </p:grpSp>
    </p:spTree>
    <p:extLst>
      <p:ext uri="{BB962C8B-B14F-4D97-AF65-F5344CB8AC3E}">
        <p14:creationId xmlns:p14="http://schemas.microsoft.com/office/powerpoint/2010/main" val="28542735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fr-FR" b="1" err="1"/>
              <a:t>Implement</a:t>
            </a:r>
            <a:r>
              <a:rPr lang="fr-FR" b="1"/>
              <a:t> RLS </a:t>
            </a:r>
            <a:r>
              <a:rPr lang="fr-FR" b="1" err="1"/>
              <a:t>using</a:t>
            </a:r>
            <a:r>
              <a:rPr lang="fr-FR" b="1"/>
              <a:t>  T-SQL Code</a:t>
            </a:r>
            <a:endParaRPr lang="en-US" b="1"/>
          </a:p>
          <a:p>
            <a:pPr marL="571500" lvl="1" indent="-342900">
              <a:buFont typeface="Arial" panose="020B0604020202020204" pitchFamily="34" charset="0"/>
              <a:buChar char="•"/>
            </a:pPr>
            <a:r>
              <a:rPr lang="en-US"/>
              <a:t>Enable RLS using T-SQL.</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3571892"/>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a:t>Implement Row Level Security</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marL="342900" indent="-342900">
              <a:buFont typeface="Arial" panose="020B0604020202020204" pitchFamily="34" charset="0"/>
              <a:buChar char="•"/>
            </a:pPr>
            <a:r>
              <a:rPr lang="en-US" b="1"/>
              <a:t>Exercise 1</a:t>
            </a:r>
            <a:r>
              <a:rPr lang="en-US"/>
              <a:t>: Implement Row Level Security on Azure SQL Database.</a:t>
            </a:r>
          </a:p>
          <a:p>
            <a:endParaRPr lang="en-US"/>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2713247343"/>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526527274"/>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563927343"/>
              </p:ext>
            </p:extLst>
          </p:nvPr>
        </p:nvGraphicFramePr>
        <p:xfrm>
          <a:off x="655638" y="1408113"/>
          <a:ext cx="10880725" cy="2020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728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a:t>Lesson 8: Implement Dynamic Data Masking</a:t>
            </a:r>
          </a:p>
        </p:txBody>
      </p:sp>
    </p:spTree>
    <p:extLst>
      <p:ext uri="{BB962C8B-B14F-4D97-AF65-F5344CB8AC3E}">
        <p14:creationId xmlns:p14="http://schemas.microsoft.com/office/powerpoint/2010/main" val="40084463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mask the critical data using Dynamic Data Masking.</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753438409"/>
      </p:ext>
    </p:extLst>
  </p:cSld>
  <p:clrMapOvr>
    <a:masterClrMapping/>
  </p:clrMapOvr>
  <p:transition spd="slow"/>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194EE-3079-428F-A093-44286B74B545}"/>
              </a:ext>
            </a:extLst>
          </p:cNvPr>
          <p:cNvSpPr>
            <a:spLocks noGrp="1"/>
          </p:cNvSpPr>
          <p:nvPr>
            <p:ph type="title"/>
          </p:nvPr>
        </p:nvSpPr>
        <p:spPr/>
        <p:txBody>
          <a:bodyPr/>
          <a:lstStyle/>
          <a:p>
            <a:r>
              <a:rPr lang="en-US"/>
              <a:t>Dynamic Data Masking</a:t>
            </a:r>
          </a:p>
        </p:txBody>
      </p:sp>
      <p:sp>
        <p:nvSpPr>
          <p:cNvPr id="4" name="Text Placeholder 2">
            <a:extLst>
              <a:ext uri="{FF2B5EF4-FFF2-40B4-BE49-F238E27FC236}">
                <a16:creationId xmlns:a16="http://schemas.microsoft.com/office/drawing/2014/main" id="{E89ECA3B-5B2D-4F02-AA58-229543C3DB12}"/>
              </a:ext>
            </a:extLst>
          </p:cNvPr>
          <p:cNvSpPr txBox="1">
            <a:spLocks/>
          </p:cNvSpPr>
          <p:nvPr/>
        </p:nvSpPr>
        <p:spPr>
          <a:xfrm>
            <a:off x="655637" y="1408114"/>
            <a:ext cx="10880726" cy="1777859"/>
          </a:xfrm>
          <a:prstGeom prst="rect">
            <a:avLst/>
          </a:prstGeom>
          <a:solidFill>
            <a:srgbClr val="243A5E"/>
          </a:solidFill>
          <a:ln>
            <a:solidFill>
              <a:srgbClr val="0078D7"/>
            </a:solidFill>
          </a:ln>
        </p:spPr>
        <p:txBody>
          <a:bodyPr vert="horz" wrap="square" lIns="146304" tIns="91440" rIns="146304" bIns="91440"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ct val="20000"/>
              </a:spcBef>
              <a:spcAft>
                <a:spcPts val="0"/>
              </a:spcAft>
              <a:buClrTx/>
              <a:buSzPct val="90000"/>
              <a:buFont typeface="Arial" pitchFamily="34" charset="0"/>
              <a:buNone/>
              <a:tabLst/>
              <a:defRPr/>
            </a:pPr>
            <a:r>
              <a:rPr kumimoji="0" lang="en-US" sz="24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Dynamic Data Masking is a policy-based security feature that helps to limit the exposure of data in a database by returning masked data to non-privileged users who run queries over designated database fields.</a:t>
            </a:r>
          </a:p>
        </p:txBody>
      </p:sp>
    </p:spTree>
    <p:extLst>
      <p:ext uri="{BB962C8B-B14F-4D97-AF65-F5344CB8AC3E}">
        <p14:creationId xmlns:p14="http://schemas.microsoft.com/office/powerpoint/2010/main" val="38608943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Understanding Dynamic Data Masking Functionality</a:t>
            </a:r>
          </a:p>
        </p:txBody>
      </p:sp>
      <p:sp>
        <p:nvSpPr>
          <p:cNvPr id="5" name="Content Placeholder 2">
            <a:extLst>
              <a:ext uri="{FF2B5EF4-FFF2-40B4-BE49-F238E27FC236}">
                <a16:creationId xmlns:a16="http://schemas.microsoft.com/office/drawing/2014/main" id="{61C96EE2-2D2F-49C7-96FA-29D431CA04C8}"/>
              </a:ext>
            </a:extLst>
          </p:cNvPr>
          <p:cNvSpPr txBox="1">
            <a:spLocks/>
          </p:cNvSpPr>
          <p:nvPr/>
        </p:nvSpPr>
        <p:spPr>
          <a:xfrm>
            <a:off x="884517" y="1006475"/>
            <a:ext cx="11208022" cy="435831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es-ES">
              <a:gradFill>
                <a:gsLst>
                  <a:gs pos="1250">
                    <a:srgbClr val="505050"/>
                  </a:gs>
                  <a:gs pos="100000">
                    <a:srgbClr val="505050"/>
                  </a:gs>
                </a:gsLst>
                <a:lin ang="5400000" scaled="0"/>
              </a:gradFill>
              <a:latin typeface="Segoe UI Light"/>
            </a:endParaRPr>
          </a:p>
        </p:txBody>
      </p:sp>
      <p:sp>
        <p:nvSpPr>
          <p:cNvPr id="6" name="Content Placeholder 2">
            <a:extLst>
              <a:ext uri="{FF2B5EF4-FFF2-40B4-BE49-F238E27FC236}">
                <a16:creationId xmlns:a16="http://schemas.microsoft.com/office/drawing/2014/main" id="{4AD1E54A-FB1F-430C-A669-C368FC2690B0}"/>
              </a:ext>
            </a:extLst>
          </p:cNvPr>
          <p:cNvSpPr txBox="1">
            <a:spLocks/>
          </p:cNvSpPr>
          <p:nvPr/>
        </p:nvSpPr>
        <p:spPr>
          <a:xfrm>
            <a:off x="884517" y="1006475"/>
            <a:ext cx="11208022" cy="435831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s-ES">
                <a:gradFill>
                  <a:gsLst>
                    <a:gs pos="1250">
                      <a:srgbClr val="505050"/>
                    </a:gs>
                    <a:gs pos="100000">
                      <a:srgbClr val="505050"/>
                    </a:gs>
                  </a:gsLst>
                  <a:lin ang="5400000" scaled="0"/>
                </a:gradFill>
                <a:latin typeface="Segoe UI Light"/>
              </a:rPr>
              <a:t> </a:t>
            </a:r>
          </a:p>
        </p:txBody>
      </p:sp>
      <p:sp>
        <p:nvSpPr>
          <p:cNvPr id="7" name="Content Placeholder 2">
            <a:extLst>
              <a:ext uri="{FF2B5EF4-FFF2-40B4-BE49-F238E27FC236}">
                <a16:creationId xmlns:a16="http://schemas.microsoft.com/office/drawing/2014/main" id="{3F4C3661-7610-471F-88F9-581B645DFF2F}"/>
              </a:ext>
            </a:extLst>
          </p:cNvPr>
          <p:cNvSpPr txBox="1">
            <a:spLocks/>
          </p:cNvSpPr>
          <p:nvPr/>
        </p:nvSpPr>
        <p:spPr>
          <a:xfrm>
            <a:off x="884517" y="1006475"/>
            <a:ext cx="11208022" cy="435831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s-ES">
                <a:gradFill>
                  <a:gsLst>
                    <a:gs pos="1250">
                      <a:srgbClr val="505050"/>
                    </a:gs>
                    <a:gs pos="100000">
                      <a:srgbClr val="505050"/>
                    </a:gs>
                  </a:gsLst>
                  <a:lin ang="5400000" scaled="0"/>
                </a:gradFill>
                <a:latin typeface="Segoe UI Light"/>
              </a:rPr>
              <a:t>  </a:t>
            </a:r>
          </a:p>
        </p:txBody>
      </p:sp>
      <p:sp>
        <p:nvSpPr>
          <p:cNvPr id="8" name="TextBox 7">
            <a:extLst>
              <a:ext uri="{FF2B5EF4-FFF2-40B4-BE49-F238E27FC236}">
                <a16:creationId xmlns:a16="http://schemas.microsoft.com/office/drawing/2014/main" id="{61581162-773D-4A10-B686-18C2FF64EF4F}"/>
              </a:ext>
            </a:extLst>
          </p:cNvPr>
          <p:cNvSpPr txBox="1"/>
          <p:nvPr/>
        </p:nvSpPr>
        <p:spPr>
          <a:xfrm>
            <a:off x="10252009" y="3300796"/>
            <a:ext cx="1521074" cy="600164"/>
          </a:xfrm>
          <a:prstGeom prst="rect">
            <a:avLst/>
          </a:prstGeom>
          <a:noFill/>
          <a:ln>
            <a:noFill/>
          </a:ln>
        </p:spPr>
        <p:txBody>
          <a:bodyPr wrap="square" rtlCol="0">
            <a:spAutoFit/>
          </a:bodyPr>
          <a:lstStyle/>
          <a:p>
            <a:pPr defTabSz="932742">
              <a:defRPr/>
            </a:pPr>
            <a:r>
              <a:rPr lang="en-US" sz="1100" kern="0">
                <a:solidFill>
                  <a:srgbClr val="0078D7"/>
                </a:solidFill>
                <a:latin typeface="Segoe UI Semilight" panose="020B0402040204020203" pitchFamily="34" charset="0"/>
                <a:cs typeface="Segoe UI Semilight" panose="020B0402040204020203" pitchFamily="34" charset="0"/>
              </a:rPr>
              <a:t>Real-time data masking, partial masking</a:t>
            </a:r>
          </a:p>
        </p:txBody>
      </p:sp>
      <p:sp>
        <p:nvSpPr>
          <p:cNvPr id="9" name="Text Placeholder 3">
            <a:extLst>
              <a:ext uri="{FF2B5EF4-FFF2-40B4-BE49-F238E27FC236}">
                <a16:creationId xmlns:a16="http://schemas.microsoft.com/office/drawing/2014/main" id="{D316E74A-A9A9-44B0-9C02-25474FEC5699}"/>
              </a:ext>
            </a:extLst>
          </p:cNvPr>
          <p:cNvSpPr txBox="1">
            <a:spLocks/>
          </p:cNvSpPr>
          <p:nvPr/>
        </p:nvSpPr>
        <p:spPr>
          <a:xfrm>
            <a:off x="920156" y="1808778"/>
            <a:ext cx="5565476" cy="482686"/>
          </a:xfrm>
          <a:prstGeom prst="rect">
            <a:avLst/>
          </a:prstGeom>
        </p:spPr>
        <p:txBody>
          <a:bodyPr vert="horz" wrap="square" lIns="146304" tIns="91440" rIns="146304" bIns="91440" rtlCol="0">
            <a:spAutoFit/>
          </a:bodyPr>
          <a:lstStyle>
            <a:lvl1pPr marL="0" marR="0" indent="0" algn="l" defTabSz="914367" rtl="0" eaLnBrk="1" fontAlgn="auto" latinLnBrk="0" hangingPunct="1">
              <a:lnSpc>
                <a:spcPct val="100000"/>
              </a:lnSpc>
              <a:spcBef>
                <a:spcPts val="1200"/>
              </a:spcBef>
              <a:spcAft>
                <a:spcPts val="0"/>
              </a:spcAft>
              <a:buClr>
                <a:srgbClr val="0078D7"/>
              </a:buClr>
              <a:buSzPct val="90000"/>
              <a:buFont typeface="Arial" panose="020B0604020202020204" pitchFamily="34" charset="0"/>
              <a:buNone/>
              <a:tabLst/>
              <a:defRPr lang="en-US" sz="2000" kern="1200" spc="0" baseline="0" dirty="0">
                <a:solidFill>
                  <a:schemeClr val="tx2"/>
                </a:solidFill>
                <a:latin typeface="Segoe UI Semilight" panose="020B0402040204020203" pitchFamily="34" charset="0"/>
                <a:ea typeface="+mn-ea"/>
                <a:cs typeface="Segoe UI Semilight" panose="020B0402040204020203" pitchFamily="34" charset="0"/>
              </a:defRPr>
            </a:lvl1pPr>
            <a:lvl2pPr marL="0" marR="0" indent="0" algn="l" defTabSz="914367" rtl="0" eaLnBrk="1" fontAlgn="auto" latinLnBrk="0" hangingPunct="1">
              <a:lnSpc>
                <a:spcPct val="100000"/>
              </a:lnSpc>
              <a:spcBef>
                <a:spcPts val="600"/>
              </a:spcBef>
              <a:spcAft>
                <a:spcPts val="200"/>
              </a:spcAft>
              <a:buClr>
                <a:srgbClr val="0078D7"/>
              </a:buClr>
              <a:buSzPct val="90000"/>
              <a:buFont typeface="Arial" pitchFamily="34" charset="0"/>
              <a:buNone/>
              <a:tabLst/>
              <a:defRPr lang="en-US" sz="1600"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23018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200" kern="1200" spc="0" baseline="0">
                <a:solidFill>
                  <a:schemeClr val="tx1"/>
                </a:solidFill>
                <a:latin typeface="+mn-lt"/>
                <a:ea typeface="+mn-ea"/>
                <a:cs typeface="+mn-cs"/>
              </a:defRPr>
            </a:lvl3pPr>
            <a:lvl4pPr marL="784338"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4pPr>
            <a:lvl5pPr marL="1008434" marR="0" indent="0" algn="l" defTabSz="914367" rtl="0" eaLnBrk="1" fontAlgn="auto" latinLnBrk="0" hangingPunct="1">
              <a:lnSpc>
                <a:spcPct val="90000"/>
              </a:lnSpc>
              <a:spcBef>
                <a:spcPct val="20000"/>
              </a:spcBef>
              <a:spcAft>
                <a:spcPts val="0"/>
              </a:spcAft>
              <a:buClr>
                <a:srgbClr val="0078D7"/>
              </a:buClr>
              <a:buSzPct val="90000"/>
              <a:buFont typeface="Arial" panose="020B0604020202020204" pitchFamily="34" charset="0"/>
              <a:buNone/>
              <a:tabLst/>
              <a:defRPr sz="11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1" indent="0" algn="l" defTabSz="914367" rtl="0" eaLnBrk="1" fontAlgn="auto" latinLnBrk="0" hangingPunct="1">
              <a:lnSpc>
                <a:spcPct val="150000"/>
              </a:lnSpc>
              <a:spcBef>
                <a:spcPts val="600"/>
              </a:spcBef>
              <a:spcAft>
                <a:spcPts val="200"/>
              </a:spcAft>
              <a:buClr>
                <a:srgbClr val="0078D7"/>
              </a:buClr>
              <a:buSzPct val="90000"/>
              <a:buFont typeface="Wingdings" pitchFamily="2" charset="2"/>
              <a:buChar char="Ø"/>
              <a:tabLst/>
              <a:defRPr/>
            </a:pPr>
            <a:endParaRPr kumimoji="0" lang="en-US" sz="1800" b="0" i="0" u="none" strike="noStrike" kern="1200" cap="none" spc="0" normalizeH="0" baseline="0" noProof="0">
              <a:ln>
                <a:noFill/>
              </a:ln>
              <a:gradFill>
                <a:gsLst>
                  <a:gs pos="1250">
                    <a:srgbClr val="000000"/>
                  </a:gs>
                  <a:gs pos="100000">
                    <a:srgbClr val="000000"/>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grpSp>
        <p:nvGrpSpPr>
          <p:cNvPr id="10" name="Group 9">
            <a:extLst>
              <a:ext uri="{FF2B5EF4-FFF2-40B4-BE49-F238E27FC236}">
                <a16:creationId xmlns:a16="http://schemas.microsoft.com/office/drawing/2014/main" id="{998FA78B-D417-49D2-B784-EA23A146FEB4}"/>
              </a:ext>
            </a:extLst>
          </p:cNvPr>
          <p:cNvGrpSpPr/>
          <p:nvPr/>
        </p:nvGrpSpPr>
        <p:grpSpPr>
          <a:xfrm>
            <a:off x="9295980" y="4547273"/>
            <a:ext cx="2011503" cy="1042286"/>
            <a:chOff x="5804443" y="4793873"/>
            <a:chExt cx="2159658" cy="1289574"/>
          </a:xfrm>
        </p:grpSpPr>
        <p:grpSp>
          <p:nvGrpSpPr>
            <p:cNvPr id="11" name="Group 326">
              <a:extLst>
                <a:ext uri="{FF2B5EF4-FFF2-40B4-BE49-F238E27FC236}">
                  <a16:creationId xmlns:a16="http://schemas.microsoft.com/office/drawing/2014/main" id="{8EEF670B-C404-4795-9A5E-CC2D7A4856A8}"/>
                </a:ext>
              </a:extLst>
            </p:cNvPr>
            <p:cNvGrpSpPr>
              <a:grpSpLocks noChangeAspect="1"/>
            </p:cNvGrpSpPr>
            <p:nvPr/>
          </p:nvGrpSpPr>
          <p:grpSpPr bwMode="auto">
            <a:xfrm>
              <a:off x="5804443" y="4793873"/>
              <a:ext cx="2159658" cy="1289574"/>
              <a:chOff x="6813" y="2557"/>
              <a:chExt cx="278" cy="166"/>
            </a:xfrm>
            <a:noFill/>
          </p:grpSpPr>
          <p:sp>
            <p:nvSpPr>
              <p:cNvPr id="17" name="Rectangle 327">
                <a:extLst>
                  <a:ext uri="{FF2B5EF4-FFF2-40B4-BE49-F238E27FC236}">
                    <a16:creationId xmlns:a16="http://schemas.microsoft.com/office/drawing/2014/main" id="{109DDCD3-F412-4084-9C43-EAF3554EB0D2}"/>
                  </a:ext>
                </a:extLst>
              </p:cNvPr>
              <p:cNvSpPr>
                <a:spLocks noChangeArrowheads="1"/>
              </p:cNvSpPr>
              <p:nvPr/>
            </p:nvSpPr>
            <p:spPr bwMode="auto">
              <a:xfrm>
                <a:off x="6849" y="2557"/>
                <a:ext cx="199" cy="107"/>
              </a:xfrm>
              <a:prstGeom prst="rect">
                <a:avLst/>
              </a:pr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sp>
            <p:nvSpPr>
              <p:cNvPr id="18" name="Freeform 328">
                <a:extLst>
                  <a:ext uri="{FF2B5EF4-FFF2-40B4-BE49-F238E27FC236}">
                    <a16:creationId xmlns:a16="http://schemas.microsoft.com/office/drawing/2014/main" id="{1B6CE278-7E4F-4882-87B5-006BA2D62E6F}"/>
                  </a:ext>
                </a:extLst>
              </p:cNvPr>
              <p:cNvSpPr>
                <a:spLocks/>
              </p:cNvSpPr>
              <p:nvPr/>
            </p:nvSpPr>
            <p:spPr bwMode="auto">
              <a:xfrm>
                <a:off x="6813" y="2664"/>
                <a:ext cx="278" cy="59"/>
              </a:xfrm>
              <a:custGeom>
                <a:avLst/>
                <a:gdLst>
                  <a:gd name="T0" fmla="*/ 212 w 257"/>
                  <a:gd name="T1" fmla="*/ 1 h 46"/>
                  <a:gd name="T2" fmla="*/ 257 w 257"/>
                  <a:gd name="T3" fmla="*/ 46 h 46"/>
                  <a:gd name="T4" fmla="*/ 0 w 257"/>
                  <a:gd name="T5" fmla="*/ 46 h 46"/>
                  <a:gd name="T6" fmla="*/ 47 w 257"/>
                  <a:gd name="T7" fmla="*/ 0 h 46"/>
                </a:gdLst>
                <a:ahLst/>
                <a:cxnLst>
                  <a:cxn ang="0">
                    <a:pos x="T0" y="T1"/>
                  </a:cxn>
                  <a:cxn ang="0">
                    <a:pos x="T2" y="T3"/>
                  </a:cxn>
                  <a:cxn ang="0">
                    <a:pos x="T4" y="T5"/>
                  </a:cxn>
                  <a:cxn ang="0">
                    <a:pos x="T6" y="T7"/>
                  </a:cxn>
                </a:cxnLst>
                <a:rect l="0" t="0" r="r" b="b"/>
                <a:pathLst>
                  <a:path w="257" h="46">
                    <a:moveTo>
                      <a:pt x="212" y="1"/>
                    </a:moveTo>
                    <a:lnTo>
                      <a:pt x="257" y="46"/>
                    </a:lnTo>
                    <a:lnTo>
                      <a:pt x="0" y="46"/>
                    </a:lnTo>
                    <a:lnTo>
                      <a:pt x="47" y="0"/>
                    </a:lnTo>
                  </a:path>
                </a:pathLst>
              </a:custGeom>
              <a:grp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endParaRPr>
              </a:p>
            </p:txBody>
          </p:sp>
        </p:grpSp>
        <p:sp>
          <p:nvSpPr>
            <p:cNvPr id="12" name="TextBox 11">
              <a:extLst>
                <a:ext uri="{FF2B5EF4-FFF2-40B4-BE49-F238E27FC236}">
                  <a16:creationId xmlns:a16="http://schemas.microsoft.com/office/drawing/2014/main" id="{C90D1E53-94A1-4ED0-B535-C453AECA9346}"/>
                </a:ext>
              </a:extLst>
            </p:cNvPr>
            <p:cNvSpPr txBox="1"/>
            <p:nvPr/>
          </p:nvSpPr>
          <p:spPr>
            <a:xfrm>
              <a:off x="6100013" y="4805722"/>
              <a:ext cx="1529070" cy="302734"/>
            </a:xfrm>
            <a:prstGeom prst="rect">
              <a:avLst/>
            </a:prstGeom>
            <a:solidFill>
              <a:srgbClr val="002050">
                <a:lumMod val="75000"/>
                <a:lumOff val="25000"/>
              </a:srgbClr>
            </a:solidFill>
          </p:spPr>
          <p:txBody>
            <a:bodyPr wrap="square" lIns="91440" tIns="45720" rIns="91440" bIns="4572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100" b="0" i="0" u="none" strike="noStrike" kern="0" cap="none" spc="0" normalizeH="0" baseline="0" noProof="0" err="1">
                  <a:ln>
                    <a:noFill/>
                  </a:ln>
                  <a:solidFill>
                    <a:srgbClr val="FFFFFF"/>
                  </a:solidFill>
                  <a:effectLst/>
                  <a:uLnTx/>
                  <a:uFillTx/>
                </a:rPr>
                <a:t>RegistrationID</a:t>
              </a:r>
              <a:endParaRPr kumimoji="0" lang="en-US" sz="1100" b="0" i="0" u="none" strike="noStrike" kern="0" cap="none" spc="0" normalizeH="0" baseline="0" noProof="0">
                <a:ln>
                  <a:noFill/>
                </a:ln>
                <a:solidFill>
                  <a:srgbClr val="FFFFFF"/>
                </a:solidFill>
                <a:effectLst/>
                <a:uLnTx/>
                <a:uFillTx/>
              </a:endParaRPr>
            </a:p>
          </p:txBody>
        </p:sp>
        <p:sp>
          <p:nvSpPr>
            <p:cNvPr id="13" name="TextBox 12">
              <a:extLst>
                <a:ext uri="{FF2B5EF4-FFF2-40B4-BE49-F238E27FC236}">
                  <a16:creationId xmlns:a16="http://schemas.microsoft.com/office/drawing/2014/main" id="{21A18B97-9543-479D-B1C4-CBC4A85F6DB4}"/>
                </a:ext>
              </a:extLst>
            </p:cNvPr>
            <p:cNvSpPr txBox="1"/>
            <p:nvPr/>
          </p:nvSpPr>
          <p:spPr>
            <a:xfrm>
              <a:off x="6161808" y="5106307"/>
              <a:ext cx="755894" cy="268462"/>
            </a:xfrm>
            <a:prstGeom prst="rect">
              <a:avLst/>
            </a:prstGeom>
            <a:noFill/>
          </p:spPr>
          <p:txBody>
            <a:bodyPr wrap="none" lIns="91440" tIns="45720" rIns="91440" bIns="4572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srgbClr val="0078D7"/>
                  </a:solidFill>
                  <a:effectLst/>
                  <a:uLnTx/>
                  <a:uFillTx/>
                </a:rPr>
                <a:t>XXXX7541</a:t>
              </a:r>
            </a:p>
          </p:txBody>
        </p:sp>
        <p:sp>
          <p:nvSpPr>
            <p:cNvPr id="14" name="TextBox 13">
              <a:extLst>
                <a:ext uri="{FF2B5EF4-FFF2-40B4-BE49-F238E27FC236}">
                  <a16:creationId xmlns:a16="http://schemas.microsoft.com/office/drawing/2014/main" id="{3F8044A9-7283-4A2F-8DD8-E732295E985A}"/>
                </a:ext>
              </a:extLst>
            </p:cNvPr>
            <p:cNvSpPr txBox="1"/>
            <p:nvPr/>
          </p:nvSpPr>
          <p:spPr>
            <a:xfrm>
              <a:off x="6161808" y="5382310"/>
              <a:ext cx="755894" cy="268462"/>
            </a:xfrm>
            <a:prstGeom prst="rect">
              <a:avLst/>
            </a:prstGeom>
            <a:noFill/>
          </p:spPr>
          <p:txBody>
            <a:bodyPr wrap="none" lIns="91440" tIns="45720" rIns="91440" bIns="45720"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srgbClr val="0078D7"/>
                  </a:solidFill>
                  <a:effectLst/>
                  <a:uLnTx/>
                  <a:uFillTx/>
                </a:rPr>
                <a:t>XXXX5892</a:t>
              </a:r>
            </a:p>
          </p:txBody>
        </p:sp>
        <p:cxnSp>
          <p:nvCxnSpPr>
            <p:cNvPr id="15" name="Straight Connector 14">
              <a:extLst>
                <a:ext uri="{FF2B5EF4-FFF2-40B4-BE49-F238E27FC236}">
                  <a16:creationId xmlns:a16="http://schemas.microsoft.com/office/drawing/2014/main" id="{647C5740-D340-497B-B363-7EBE1EA77D56}"/>
                </a:ext>
              </a:extLst>
            </p:cNvPr>
            <p:cNvCxnSpPr/>
            <p:nvPr/>
          </p:nvCxnSpPr>
          <p:spPr>
            <a:xfrm>
              <a:off x="6161808" y="5069872"/>
              <a:ext cx="1312886" cy="0"/>
            </a:xfrm>
            <a:prstGeom prst="line">
              <a:avLst/>
            </a:prstGeom>
            <a:noFill/>
            <a:ln w="9525" cap="flat" cmpd="sng" algn="ctr">
              <a:solidFill>
                <a:srgbClr val="0078D7"/>
              </a:solidFill>
              <a:prstDash val="solid"/>
              <a:headEnd type="none"/>
              <a:tailEnd type="none"/>
            </a:ln>
            <a:effectLst/>
          </p:spPr>
        </p:cxnSp>
        <p:cxnSp>
          <p:nvCxnSpPr>
            <p:cNvPr id="16" name="Straight Connector 15">
              <a:extLst>
                <a:ext uri="{FF2B5EF4-FFF2-40B4-BE49-F238E27FC236}">
                  <a16:creationId xmlns:a16="http://schemas.microsoft.com/office/drawing/2014/main" id="{0940683D-81D2-4F1F-B960-0177F5DD4179}"/>
                </a:ext>
              </a:extLst>
            </p:cNvPr>
            <p:cNvCxnSpPr/>
            <p:nvPr/>
          </p:nvCxnSpPr>
          <p:spPr>
            <a:xfrm>
              <a:off x="6161808" y="5345875"/>
              <a:ext cx="1312886" cy="0"/>
            </a:xfrm>
            <a:prstGeom prst="line">
              <a:avLst/>
            </a:prstGeom>
            <a:noFill/>
            <a:ln w="9525" cap="flat" cmpd="sng" algn="ctr">
              <a:solidFill>
                <a:srgbClr val="0078D7"/>
              </a:solidFill>
              <a:prstDash val="solid"/>
              <a:headEnd type="none"/>
              <a:tailEnd type="none"/>
            </a:ln>
            <a:effectLst/>
          </p:spPr>
        </p:cxnSp>
      </p:grpSp>
      <p:sp>
        <p:nvSpPr>
          <p:cNvPr id="19" name="Freeform 5">
            <a:extLst>
              <a:ext uri="{FF2B5EF4-FFF2-40B4-BE49-F238E27FC236}">
                <a16:creationId xmlns:a16="http://schemas.microsoft.com/office/drawing/2014/main" id="{575DD7D7-B54C-4968-AC86-E10B626899CD}"/>
              </a:ext>
            </a:extLst>
          </p:cNvPr>
          <p:cNvSpPr>
            <a:spLocks noEditPoints="1"/>
          </p:cNvSpPr>
          <p:nvPr/>
        </p:nvSpPr>
        <p:spPr bwMode="auto">
          <a:xfrm>
            <a:off x="11246079" y="4709748"/>
            <a:ext cx="557089" cy="5511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BCF2">
              <a:lumMod val="60000"/>
              <a:lumOff val="40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nvGrpSpPr>
          <p:cNvPr id="20" name="Group 19">
            <a:extLst>
              <a:ext uri="{FF2B5EF4-FFF2-40B4-BE49-F238E27FC236}">
                <a16:creationId xmlns:a16="http://schemas.microsoft.com/office/drawing/2014/main" id="{BE1E0907-74A9-4955-8D85-B3943B350B32}"/>
              </a:ext>
            </a:extLst>
          </p:cNvPr>
          <p:cNvGrpSpPr/>
          <p:nvPr/>
        </p:nvGrpSpPr>
        <p:grpSpPr>
          <a:xfrm>
            <a:off x="6934200" y="1951583"/>
            <a:ext cx="2102352" cy="1191906"/>
            <a:chOff x="6278973" y="5152787"/>
            <a:chExt cx="1530517" cy="969290"/>
          </a:xfrm>
        </p:grpSpPr>
        <p:sp>
          <p:nvSpPr>
            <p:cNvPr id="21" name="TextBox 20">
              <a:extLst>
                <a:ext uri="{FF2B5EF4-FFF2-40B4-BE49-F238E27FC236}">
                  <a16:creationId xmlns:a16="http://schemas.microsoft.com/office/drawing/2014/main" id="{AC947D7B-D95D-4CC6-AA51-343D9F620BA3}"/>
                </a:ext>
              </a:extLst>
            </p:cNvPr>
            <p:cNvSpPr txBox="1"/>
            <p:nvPr/>
          </p:nvSpPr>
          <p:spPr>
            <a:xfrm>
              <a:off x="6518556" y="5834610"/>
              <a:ext cx="1090547" cy="253916"/>
            </a:xfrm>
            <a:prstGeom prst="rect">
              <a:avLst/>
            </a:prstGeom>
            <a:solidFill>
              <a:srgbClr val="002050">
                <a:lumMod val="50000"/>
                <a:lumOff val="50000"/>
              </a:srgbClr>
            </a:solidFill>
          </p:spPr>
          <p:txBody>
            <a:bodyPr wrap="square" lIns="91440" tIns="45720" rIns="91440" bIns="45720" rtlCol="0">
              <a:spAutoFit/>
            </a:bodyPr>
            <a:lstStyle/>
            <a:p>
              <a:pPr marL="0" marR="0" lvl="0" indent="0" algn="ctr" defTabSz="932503"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rPr>
                <a:t>SQL Database</a:t>
              </a:r>
            </a:p>
          </p:txBody>
        </p:sp>
        <p:sp>
          <p:nvSpPr>
            <p:cNvPr id="22" name="Freeform 146">
              <a:extLst>
                <a:ext uri="{FF2B5EF4-FFF2-40B4-BE49-F238E27FC236}">
                  <a16:creationId xmlns:a16="http://schemas.microsoft.com/office/drawing/2014/main" id="{8C4C66B6-92FC-4672-96D3-BE307A40E3CA}"/>
                </a:ext>
              </a:extLst>
            </p:cNvPr>
            <p:cNvSpPr>
              <a:spLocks noChangeAspect="1"/>
            </p:cNvSpPr>
            <p:nvPr/>
          </p:nvSpPr>
          <p:spPr bwMode="auto">
            <a:xfrm>
              <a:off x="6278973" y="5152787"/>
              <a:ext cx="1530517" cy="9692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3" name="Cylinder 812">
              <a:extLst>
                <a:ext uri="{FF2B5EF4-FFF2-40B4-BE49-F238E27FC236}">
                  <a16:creationId xmlns:a16="http://schemas.microsoft.com/office/drawing/2014/main" id="{BD0BA924-79C1-49F5-BDBC-03877FA56DEB}"/>
                </a:ext>
              </a:extLst>
            </p:cNvPr>
            <p:cNvSpPr/>
            <p:nvPr/>
          </p:nvSpPr>
          <p:spPr bwMode="auto">
            <a:xfrm>
              <a:off x="6930874" y="5347600"/>
              <a:ext cx="345159" cy="453459"/>
            </a:xfrm>
            <a:prstGeom prst="can">
              <a:avLst>
                <a:gd name="adj" fmla="val 39530"/>
              </a:avLst>
            </a:prstGeom>
            <a:solidFill>
              <a:srgbClr val="FFC000"/>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700"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cxnSp>
        <p:nvCxnSpPr>
          <p:cNvPr id="24" name="Connector: Elbow 23">
            <a:extLst>
              <a:ext uri="{FF2B5EF4-FFF2-40B4-BE49-F238E27FC236}">
                <a16:creationId xmlns:a16="http://schemas.microsoft.com/office/drawing/2014/main" id="{59CC64DE-AA19-4979-9800-2DA0A171E3CD}"/>
              </a:ext>
            </a:extLst>
          </p:cNvPr>
          <p:cNvCxnSpPr>
            <a:stCxn id="21" idx="3"/>
            <a:endCxn id="17" idx="0"/>
          </p:cNvCxnSpPr>
          <p:nvPr/>
        </p:nvCxnSpPr>
        <p:spPr>
          <a:xfrm>
            <a:off x="8761296" y="2946117"/>
            <a:ext cx="1515111" cy="1601156"/>
          </a:xfrm>
          <a:prstGeom prst="bentConnector2">
            <a:avLst/>
          </a:prstGeom>
          <a:noFill/>
          <a:ln w="12700" cap="flat" cmpd="sng" algn="ctr">
            <a:solidFill>
              <a:srgbClr val="0078D7"/>
            </a:solidFill>
            <a:prstDash val="solid"/>
            <a:headEnd type="none"/>
            <a:tailEnd type="none"/>
          </a:ln>
          <a:effectLst/>
        </p:spPr>
      </p:cxnSp>
      <p:graphicFrame>
        <p:nvGraphicFramePr>
          <p:cNvPr id="25" name="Table 24">
            <a:extLst>
              <a:ext uri="{FF2B5EF4-FFF2-40B4-BE49-F238E27FC236}">
                <a16:creationId xmlns:a16="http://schemas.microsoft.com/office/drawing/2014/main" id="{5C60C51E-1026-47F4-82E3-2E43AE539775}"/>
              </a:ext>
            </a:extLst>
          </p:cNvPr>
          <p:cNvGraphicFramePr>
            <a:graphicFrameLocks noGrp="1"/>
          </p:cNvGraphicFramePr>
          <p:nvPr>
            <p:extLst>
              <p:ext uri="{D42A27DB-BD31-4B8C-83A1-F6EECF244321}">
                <p14:modId xmlns:p14="http://schemas.microsoft.com/office/powerpoint/2010/main" val="278752707"/>
              </p:ext>
            </p:extLst>
          </p:nvPr>
        </p:nvGraphicFramePr>
        <p:xfrm>
          <a:off x="9199250" y="1312254"/>
          <a:ext cx="1943126" cy="1047237"/>
        </p:xfrm>
        <a:graphic>
          <a:graphicData uri="http://schemas.openxmlformats.org/drawingml/2006/table">
            <a:tbl>
              <a:tblPr firstRow="1" bandRow="1"/>
              <a:tblGrid>
                <a:gridCol w="1943126">
                  <a:extLst>
                    <a:ext uri="{9D8B030D-6E8A-4147-A177-3AD203B41FA5}">
                      <a16:colId xmlns:a16="http://schemas.microsoft.com/office/drawing/2014/main" val="20000"/>
                    </a:ext>
                  </a:extLst>
                </a:gridCol>
              </a:tblGrid>
              <a:tr h="2576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200" err="1">
                          <a:solidFill>
                            <a:schemeClr val="bg1"/>
                          </a:solidFill>
                          <a:latin typeface="Segoe UI Semibold" panose="020B0702040204020203" pitchFamily="34" charset="0"/>
                          <a:cs typeface="Segoe UI Semibold" panose="020B0702040204020203" pitchFamily="34" charset="0"/>
                        </a:rPr>
                        <a:t>Table.RegistrationID</a:t>
                      </a:r>
                      <a:endParaRPr lang="en-US" sz="1200">
                        <a:solidFill>
                          <a:schemeClr val="bg1"/>
                        </a:solidFill>
                        <a:latin typeface="Segoe UI Semibold" panose="020B0702040204020203" pitchFamily="34" charset="0"/>
                        <a:cs typeface="Segoe UI Semibold" panose="020B0702040204020203" pitchFamily="34" charset="0"/>
                      </a:endParaRPr>
                    </a:p>
                  </a:txBody>
                  <a:tcPr anchor="ctr">
                    <a:lnL w="12700" cap="flat" cmpd="sng" algn="ctr">
                      <a:solidFill>
                        <a:srgbClr val="0078D7"/>
                      </a:solidFill>
                      <a:prstDash val="solid"/>
                      <a:round/>
                      <a:headEnd type="none" w="med" len="med"/>
                      <a:tailEnd type="none" w="med" len="med"/>
                    </a:lnL>
                    <a:lnR w="12700" cap="flat" cmpd="sng" algn="ctr">
                      <a:solidFill>
                        <a:srgbClr val="0078D7"/>
                      </a:solidFill>
                      <a:prstDash val="solid"/>
                      <a:round/>
                      <a:headEnd type="none" w="med" len="med"/>
                      <a:tailEnd type="none" w="med" len="med"/>
                    </a:lnR>
                    <a:lnT w="12700" cap="flat" cmpd="sng" algn="ctr">
                      <a:solidFill>
                        <a:srgbClr val="0078D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00"/>
                  </a:ext>
                </a:extLst>
              </a:tr>
              <a:tr h="2576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900"/>
                        <a:t>25487541</a:t>
                      </a:r>
                      <a:endParaRPr lang="en-US" sz="900">
                        <a:solidFill>
                          <a:schemeClr val="bg2">
                            <a:lumMod val="50000"/>
                          </a:schemeClr>
                        </a:solidFill>
                        <a:latin typeface="+mj-lt"/>
                      </a:endParaRPr>
                    </a:p>
                  </a:txBody>
                  <a:tcPr anchor="ctr">
                    <a:lnL w="12700" cap="flat" cmpd="sng" algn="ctr">
                      <a:solidFill>
                        <a:srgbClr val="D2D2D2"/>
                      </a:solidFill>
                      <a:prstDash val="solid"/>
                      <a:round/>
                      <a:headEnd type="none" w="med" len="med"/>
                      <a:tailEnd type="none" w="med" len="med"/>
                    </a:lnL>
                    <a:lnR w="12700" cap="flat" cmpd="sng" algn="ctr">
                      <a:solidFill>
                        <a:srgbClr val="D2D2D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76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900"/>
                        <a:t>85475892</a:t>
                      </a:r>
                      <a:endParaRPr lang="en-US" sz="900">
                        <a:solidFill>
                          <a:schemeClr val="bg2">
                            <a:lumMod val="50000"/>
                          </a:schemeClr>
                        </a:solidFill>
                        <a:latin typeface="+mj-lt"/>
                      </a:endParaRPr>
                    </a:p>
                  </a:txBody>
                  <a:tcPr anchor="ctr">
                    <a:lnL w="12700" cap="flat" cmpd="sng" algn="ctr">
                      <a:solidFill>
                        <a:srgbClr val="D2D2D2"/>
                      </a:solidFill>
                      <a:prstDash val="solid"/>
                      <a:round/>
                      <a:headEnd type="none" w="med" len="med"/>
                      <a:tailEnd type="none" w="med" len="med"/>
                    </a:lnL>
                    <a:lnR w="12700" cap="flat" cmpd="sng" algn="ctr">
                      <a:solidFill>
                        <a:srgbClr val="D2D2D2"/>
                      </a:solidFill>
                      <a:prstDash val="solid"/>
                      <a:round/>
                      <a:headEnd type="none" w="med" len="med"/>
                      <a:tailEnd type="none" w="med" len="med"/>
                    </a:lnR>
                    <a:lnT w="12700" cap="flat" cmpd="sng" algn="ctr">
                      <a:solidFill>
                        <a:srgbClr val="D2D2D2"/>
                      </a:solidFill>
                      <a:prstDash val="solid"/>
                      <a:round/>
                      <a:headEnd type="none" w="med" len="med"/>
                      <a:tailEnd type="none" w="med" len="med"/>
                    </a:lnT>
                    <a:lnB w="12700"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5763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900"/>
                        <a:t>78548354</a:t>
                      </a:r>
                      <a:endParaRPr lang="en-US" sz="900">
                        <a:solidFill>
                          <a:schemeClr val="bg2">
                            <a:lumMod val="50000"/>
                          </a:schemeClr>
                        </a:solidFill>
                        <a:latin typeface="+mj-lt"/>
                      </a:endParaRPr>
                    </a:p>
                  </a:txBody>
                  <a:tcPr anchor="ctr">
                    <a:lnL w="12700" cap="flat" cmpd="sng" algn="ctr">
                      <a:solidFill>
                        <a:srgbClr val="D2D2D2"/>
                      </a:solidFill>
                      <a:prstDash val="solid"/>
                      <a:round/>
                      <a:headEnd type="none" w="med" len="med"/>
                      <a:tailEnd type="none" w="med" len="med"/>
                    </a:lnL>
                    <a:lnR w="12700" cap="flat" cmpd="sng" algn="ctr">
                      <a:solidFill>
                        <a:srgbClr val="D2D2D2"/>
                      </a:solidFill>
                      <a:prstDash val="solid"/>
                      <a:round/>
                      <a:headEnd type="none" w="med" len="med"/>
                      <a:tailEnd type="none" w="med" len="med"/>
                    </a:lnR>
                    <a:lnT w="12700" cap="flat" cmpd="sng" algn="ctr">
                      <a:solidFill>
                        <a:srgbClr val="D2D2D2"/>
                      </a:solidFill>
                      <a:prstDash val="solid"/>
                      <a:round/>
                      <a:headEnd type="none" w="med" len="med"/>
                      <a:tailEnd type="none" w="med" len="med"/>
                    </a:lnT>
                    <a:lnB w="12700" cap="flat" cmpd="sng" algn="ctr">
                      <a:solidFill>
                        <a:srgbClr val="D2D2D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26" name="Diagram 25">
            <a:extLst>
              <a:ext uri="{FF2B5EF4-FFF2-40B4-BE49-F238E27FC236}">
                <a16:creationId xmlns:a16="http://schemas.microsoft.com/office/drawing/2014/main" id="{C5BC69F0-EB73-41B5-B4A7-F76867B3AC87}"/>
              </a:ext>
            </a:extLst>
          </p:cNvPr>
          <p:cNvGraphicFramePr/>
          <p:nvPr>
            <p:extLst>
              <p:ext uri="{D42A27DB-BD31-4B8C-83A1-F6EECF244321}">
                <p14:modId xmlns:p14="http://schemas.microsoft.com/office/powerpoint/2010/main" val="1299211837"/>
              </p:ext>
            </p:extLst>
          </p:nvPr>
        </p:nvGraphicFramePr>
        <p:xfrm>
          <a:off x="638219" y="1380716"/>
          <a:ext cx="625326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41328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graphicEl>
                                              <a:dgm id="{CF4A1DF6-E2B7-4FE4-BCB6-D864A6725124}"/>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graphicEl>
                                              <a:dgm id="{1DC287DD-DF47-4D98-A0CA-750EB6785B40}"/>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graphicEl>
                                              <a:dgm id="{D714046D-10B8-4AB5-B8A9-C1A5D49C186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graphicEl>
                                              <a:dgm id="{626D7748-7541-4DDD-BA65-3DA536D2B71E}"/>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graphicEl>
                                              <a:dgm id="{6D56F947-43EE-403E-8C4B-BFAA188644D1}"/>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6">
                                            <p:graphicEl>
                                              <a:dgm id="{972248A9-818B-4BD5-9F0E-BA667CCB231D}"/>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graphicEl>
                                              <a:dgm id="{4319A94D-E201-47AC-AB12-32EC26C0187A}"/>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graphicEl>
                                              <a:dgm id="{2B507C96-C917-4C3D-A7ED-A908FFFD18BC}"/>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
                                            <p:graphicEl>
                                              <a:dgm id="{0ADDAE33-6705-494C-A593-3EAAD2438B70}"/>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graphicEl>
                                              <a:dgm id="{22FBF4C8-3727-48B1-AEDA-923CA83DA545}"/>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
                                            <p:graphicEl>
                                              <a:dgm id="{F6E71032-AA2B-4FDD-AFB5-E24ECD7A6CF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6" grpId="0">
        <p:bldSub>
          <a:bldDgm bld="one"/>
        </p:bldSub>
      </p:bldGraphic>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C7A1-1547-4A40-B773-FE0CD1D199F3}"/>
              </a:ext>
            </a:extLst>
          </p:cNvPr>
          <p:cNvSpPr>
            <a:spLocks noGrp="1"/>
          </p:cNvSpPr>
          <p:nvPr>
            <p:ph type="title"/>
          </p:nvPr>
        </p:nvSpPr>
        <p:spPr>
          <a:xfrm>
            <a:off x="655638" y="320040"/>
            <a:ext cx="10880725" cy="461665"/>
          </a:xfrm>
        </p:spPr>
        <p:txBody>
          <a:bodyPr/>
          <a:lstStyle/>
          <a:p>
            <a:r>
              <a:rPr lang="en-US"/>
              <a:t>Enable Dynamic Data Masking on Azure SQL DB</a:t>
            </a:r>
          </a:p>
        </p:txBody>
      </p:sp>
      <p:sp>
        <p:nvSpPr>
          <p:cNvPr id="3" name="Content Placeholder 2">
            <a:extLst>
              <a:ext uri="{FF2B5EF4-FFF2-40B4-BE49-F238E27FC236}">
                <a16:creationId xmlns:a16="http://schemas.microsoft.com/office/drawing/2014/main" id="{C13E9F48-194B-40DE-9289-3EAEC60E4D8C}"/>
              </a:ext>
            </a:extLst>
          </p:cNvPr>
          <p:cNvSpPr>
            <a:spLocks noGrp="1"/>
          </p:cNvSpPr>
          <p:nvPr>
            <p:ph sz="quarter" idx="13"/>
          </p:nvPr>
        </p:nvSpPr>
        <p:spPr/>
        <p:txBody>
          <a:bodyPr/>
          <a:lstStyle/>
          <a:p>
            <a:endParaRPr lang="en-US"/>
          </a:p>
        </p:txBody>
      </p:sp>
      <p:cxnSp>
        <p:nvCxnSpPr>
          <p:cNvPr id="4" name="Straight Arrow Connector 11">
            <a:extLst>
              <a:ext uri="{FF2B5EF4-FFF2-40B4-BE49-F238E27FC236}">
                <a16:creationId xmlns:a16="http://schemas.microsoft.com/office/drawing/2014/main" id="{8CCB7187-15CC-421C-AA18-CC14AC634160}"/>
              </a:ext>
            </a:extLst>
          </p:cNvPr>
          <p:cNvCxnSpPr/>
          <p:nvPr/>
        </p:nvCxnSpPr>
        <p:spPr>
          <a:xfrm flipV="1">
            <a:off x="8799752" y="2286000"/>
            <a:ext cx="1817885" cy="600761"/>
          </a:xfrm>
          <a:prstGeom prst="curvedConnector3">
            <a:avLst>
              <a:gd name="adj1" fmla="val 50000"/>
            </a:avLst>
          </a:prstGeom>
          <a:noFill/>
          <a:ln w="57150" cap="flat" cmpd="sng" algn="ctr">
            <a:solidFill>
              <a:sysClr val="window" lastClr="FFFFFF"/>
            </a:solidFill>
            <a:prstDash val="solid"/>
            <a:tailEnd type="triangle"/>
          </a:ln>
          <a:effectLst/>
        </p:spPr>
      </p:cxnSp>
      <p:sp>
        <p:nvSpPr>
          <p:cNvPr id="5" name="Rectangle 4">
            <a:extLst>
              <a:ext uri="{FF2B5EF4-FFF2-40B4-BE49-F238E27FC236}">
                <a16:creationId xmlns:a16="http://schemas.microsoft.com/office/drawing/2014/main" id="{9ECC95CC-AD82-4D69-9FD4-92BA118F725A}"/>
              </a:ext>
            </a:extLst>
          </p:cNvPr>
          <p:cNvSpPr/>
          <p:nvPr/>
        </p:nvSpPr>
        <p:spPr>
          <a:xfrm>
            <a:off x="5092550" y="2908865"/>
            <a:ext cx="5345078" cy="2123658"/>
          </a:xfrm>
          <a:prstGeom prst="rect">
            <a:avLst/>
          </a:prstGeom>
          <a:solidFill>
            <a:srgbClr val="002050">
              <a:lumMod val="10000"/>
              <a:lumOff val="90000"/>
            </a:srgbClr>
          </a:solidFill>
          <a:ln w="12700">
            <a:solidFill>
              <a:srgbClr val="0072C6"/>
            </a:solidFill>
          </a:ln>
        </p:spPr>
        <p:txBody>
          <a:bodyPr wrap="square">
            <a:spAutoFit/>
          </a:bodyPr>
          <a:lstStyle/>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100" kern="0" err="1">
                <a:solidFill>
                  <a:srgbClr val="494949"/>
                </a:solidFill>
                <a:latin typeface="Consolas" panose="020B0609020204030204" pitchFamily="49" charset="0"/>
                <a:ea typeface="Calibri" panose="020F0502020204030204" pitchFamily="34" charset="0"/>
                <a:cs typeface="Consolas" panose="020B0609020204030204" pitchFamily="49" charset="0"/>
              </a:rPr>
              <a:t>dbo.Employee</a:t>
            </a:r>
            <a:endPar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COLUMN [FirstName] ADD MASKED WITH (FUNCTION = 'partial(1, "xxx", 2)')</a:t>
            </a:r>
          </a:p>
          <a:p>
            <a:pPr lvl="0" defTabSz="913154" fontAlgn="base">
              <a:spcBef>
                <a:spcPct val="0"/>
              </a:spcBef>
              <a:spcAft>
                <a:spcPct val="0"/>
              </a:spcAft>
              <a:defRPr/>
            </a:pPr>
            <a:endPar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100" kern="0" err="1">
                <a:solidFill>
                  <a:srgbClr val="494949"/>
                </a:solidFill>
                <a:latin typeface="Consolas" panose="020B0609020204030204" pitchFamily="49" charset="0"/>
                <a:ea typeface="Calibri" panose="020F0502020204030204" pitchFamily="34" charset="0"/>
                <a:cs typeface="Consolas" panose="020B0609020204030204" pitchFamily="49" charset="0"/>
              </a:rPr>
              <a:t>dbo.Employee</a:t>
            </a:r>
            <a:endPar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COLUMN [EMAIL] ADD MASKED WITH (FUNCTION = 'email()')</a:t>
            </a:r>
          </a:p>
          <a:p>
            <a:pPr lvl="0" defTabSz="913154" fontAlgn="base">
              <a:spcBef>
                <a:spcPct val="0"/>
              </a:spcBef>
              <a:spcAft>
                <a:spcPct val="0"/>
              </a:spcAft>
              <a:defRPr/>
            </a:pPr>
            <a:endPar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TABLE </a:t>
            </a:r>
            <a:r>
              <a:rPr lang="en-US" sz="1100" kern="0" err="1">
                <a:solidFill>
                  <a:srgbClr val="494949"/>
                </a:solidFill>
                <a:latin typeface="Consolas" panose="020B0609020204030204" pitchFamily="49" charset="0"/>
                <a:ea typeface="Calibri" panose="020F0502020204030204" pitchFamily="34" charset="0"/>
                <a:cs typeface="Consolas" panose="020B0609020204030204" pitchFamily="49" charset="0"/>
              </a:rPr>
              <a:t>dbo.Employee</a:t>
            </a:r>
            <a:endPar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endParaRPr>
          </a:p>
          <a:p>
            <a:pPr lvl="0" defTabSz="913154" fontAlgn="base">
              <a:spcBef>
                <a:spcPct val="0"/>
              </a:spcBef>
              <a:spcAft>
                <a:spcPct val="0"/>
              </a:spcAft>
              <a:defRPr/>
            </a:pPr>
            <a:r>
              <a:rPr lang="en-US" sz="1100" kern="0">
                <a:solidFill>
                  <a:srgbClr val="494949"/>
                </a:solidFill>
                <a:latin typeface="Consolas" panose="020B0609020204030204" pitchFamily="49" charset="0"/>
                <a:ea typeface="Calibri" panose="020F0502020204030204" pitchFamily="34" charset="0"/>
                <a:cs typeface="Consolas" panose="020B0609020204030204" pitchFamily="49" charset="0"/>
              </a:rPr>
              <a:t>ALTER COLUMN [Salary] ADD MASKED WITH (FUNCTION = 'random(2000,20000)’)</a:t>
            </a:r>
            <a:r>
              <a:rPr kumimoji="0" lang="en-US" sz="1100" b="0" i="0" u="none" strike="noStrike" kern="0" cap="none" spc="0" normalizeH="0" baseline="0" noProof="0">
                <a:ln>
                  <a:noFill/>
                </a:ln>
                <a:solidFill>
                  <a:srgbClr val="0000FF"/>
                </a:solidFill>
                <a:effectLst/>
                <a:uLnTx/>
                <a:uFillTx/>
                <a:latin typeface="Consolas" panose="020B0609020204030204" pitchFamily="49" charset="0"/>
                <a:ea typeface="Calibri" panose="020F0502020204030204" pitchFamily="34" charset="0"/>
                <a:cs typeface="Consolas" panose="020B0609020204030204" pitchFamily="49" charset="0"/>
              </a:rPr>
              <a:t> </a:t>
            </a:r>
          </a:p>
          <a:p>
            <a:pPr marL="0" marR="0" lvl="0" indent="0" defTabSz="913154"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endParaRPr>
          </a:p>
          <a:p>
            <a:pPr marL="0" marR="0" lvl="0" indent="0" defTabSz="913154"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494949"/>
                </a:solidFill>
                <a:effectLst/>
                <a:uLnTx/>
                <a:uFillTx/>
                <a:latin typeface="Consolas" panose="020B0609020204030204" pitchFamily="49" charset="0"/>
                <a:ea typeface="Calibri" panose="020F0502020204030204" pitchFamily="34" charset="0"/>
                <a:cs typeface="Consolas" panose="020B0609020204030204" pitchFamily="49" charset="0"/>
              </a:rPr>
              <a:t>GRANT UNMASK to </a:t>
            </a:r>
            <a:r>
              <a:rPr kumimoji="0" lang="en-US" sz="1100" b="0" i="0" u="none" strike="noStrike" kern="0" cap="none" spc="0" normalizeH="0" baseline="0" noProof="0">
                <a:ln>
                  <a:noFill/>
                </a:ln>
                <a:solidFill>
                  <a:srgbClr val="008080"/>
                </a:solidFill>
                <a:effectLst/>
                <a:uLnTx/>
                <a:uFillTx/>
                <a:latin typeface="Consolas" panose="020B0609020204030204" pitchFamily="49" charset="0"/>
                <a:ea typeface="Calibri" panose="020F0502020204030204" pitchFamily="34" charset="0"/>
                <a:cs typeface="Consolas" panose="020B0609020204030204" pitchFamily="49" charset="0"/>
              </a:rPr>
              <a:t>admin1</a:t>
            </a:r>
          </a:p>
        </p:txBody>
      </p:sp>
      <p:sp>
        <p:nvSpPr>
          <p:cNvPr id="6" name="TextBox 5">
            <a:extLst>
              <a:ext uri="{FF2B5EF4-FFF2-40B4-BE49-F238E27FC236}">
                <a16:creationId xmlns:a16="http://schemas.microsoft.com/office/drawing/2014/main" id="{79276B74-4E71-4825-B73E-9628CAD1C2AA}"/>
              </a:ext>
            </a:extLst>
          </p:cNvPr>
          <p:cNvSpPr txBox="1"/>
          <p:nvPr/>
        </p:nvSpPr>
        <p:spPr>
          <a:xfrm>
            <a:off x="473150" y="5245829"/>
            <a:ext cx="2581077" cy="830997"/>
          </a:xfrm>
          <a:prstGeom prst="rect">
            <a:avLst/>
          </a:prstGeom>
          <a:solidFill>
            <a:srgbClr val="002050">
              <a:lumMod val="10000"/>
              <a:lumOff val="90000"/>
            </a:srgbClr>
          </a:solidFill>
          <a:ln w="12700">
            <a:solidFill>
              <a:srgbClr val="0072C6"/>
            </a:solidFill>
            <a:miter lim="800000"/>
          </a:ln>
        </p:spPr>
        <p:txBody>
          <a:bodyPr wrap="square">
            <a:spAutoFit/>
          </a:bodyPr>
          <a:lstStyle>
            <a:defPPr>
              <a:defRPr lang="en-US"/>
            </a:defPPr>
            <a:lvl1pPr defTabSz="913154" fontAlgn="base">
              <a:spcBef>
                <a:spcPct val="0"/>
              </a:spcBef>
              <a:spcAft>
                <a:spcPct val="0"/>
              </a:spcAft>
              <a:defRPr sz="1200">
                <a:solidFill>
                  <a:srgbClr val="0000FF"/>
                </a:solidFill>
                <a:latin typeface="Consolas" panose="020B0609020204030204" pitchFamily="49" charset="0"/>
                <a:ea typeface="Calibri" panose="020F0502020204030204" pitchFamily="34" charset="0"/>
                <a:cs typeface="Consolas" panose="020B0609020204030204" pitchFamily="49" charset="0"/>
              </a:defRPr>
            </a:lvl1pPr>
          </a:lstStyle>
          <a:p>
            <a:pPr marL="0" marR="0" lvl="0" indent="0" defTabSz="913154"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rPr>
              <a:t>SELECT </a:t>
            </a:r>
            <a:r>
              <a:rPr kumimoji="0" lang="en-US" sz="1200" b="0" i="0" u="none" strike="noStrike" kern="0" cap="none" spc="0" normalizeH="0" baseline="0" noProof="0" err="1">
                <a:ln>
                  <a:noFill/>
                </a:ln>
                <a:solidFill>
                  <a:srgbClr val="494949"/>
                </a:solidFill>
                <a:effectLst/>
                <a:uLnTx/>
                <a:uFillTx/>
                <a:latin typeface="Consolas" panose="020B0609020204030204" pitchFamily="49" charset="0"/>
              </a:rPr>
              <a:t>EmployeeID</a:t>
            </a:r>
            <a:r>
              <a:rPr kumimoji="0" lang="en-US" sz="1200" b="0" i="0" u="none" strike="noStrike" kern="0" cap="none" spc="0" normalizeH="0" baseline="0" noProof="0">
                <a:ln>
                  <a:noFill/>
                </a:ln>
                <a:solidFill>
                  <a:srgbClr val="494949"/>
                </a:solidFill>
                <a:effectLst/>
                <a:uLnTx/>
                <a:uFillTx/>
                <a:latin typeface="Consolas" panose="020B0609020204030204" pitchFamily="49" charset="0"/>
              </a:rPr>
              <a:t>, FirstName, </a:t>
            </a:r>
            <a:r>
              <a:rPr kumimoji="0" lang="en-US" sz="1200" b="0" i="0" u="none" strike="noStrike" kern="0" cap="none" spc="0" normalizeH="0" baseline="0" noProof="0" err="1">
                <a:ln>
                  <a:noFill/>
                </a:ln>
                <a:solidFill>
                  <a:srgbClr val="494949"/>
                </a:solidFill>
                <a:effectLst/>
                <a:uLnTx/>
                <a:uFillTx/>
                <a:latin typeface="Consolas" panose="020B0609020204030204" pitchFamily="49" charset="0"/>
              </a:rPr>
              <a:t>MiddleInitial</a:t>
            </a:r>
            <a:r>
              <a:rPr kumimoji="0" lang="en-US" sz="1200" b="0" i="0" u="none" strike="noStrike" kern="0" cap="none" spc="0" normalizeH="0" baseline="0" noProof="0">
                <a:ln>
                  <a:noFill/>
                </a:ln>
                <a:solidFill>
                  <a:srgbClr val="494949"/>
                </a:solidFill>
                <a:effectLst/>
                <a:uLnTx/>
                <a:uFillTx/>
                <a:latin typeface="Consolas" panose="020B0609020204030204" pitchFamily="49" charset="0"/>
              </a:rPr>
              <a:t>,</a:t>
            </a:r>
            <a:r>
              <a:rPr kumimoji="0" lang="en-US" sz="1200" b="0" i="0" u="none" strike="noStrike" kern="0" cap="none" spc="0" normalizeH="0" noProof="0">
                <a:ln>
                  <a:noFill/>
                </a:ln>
                <a:solidFill>
                  <a:srgbClr val="494949"/>
                </a:solidFill>
                <a:effectLst/>
                <a:uLnTx/>
                <a:uFillTx/>
                <a:latin typeface="Consolas" panose="020B0609020204030204" pitchFamily="49" charset="0"/>
              </a:rPr>
              <a:t> </a:t>
            </a:r>
            <a:r>
              <a:rPr kumimoji="0" lang="en-US" sz="1200" b="0" i="0" u="none" strike="noStrike" kern="0" cap="none" spc="0" normalizeH="0" noProof="0" err="1">
                <a:ln>
                  <a:noFill/>
                </a:ln>
                <a:solidFill>
                  <a:srgbClr val="494949"/>
                </a:solidFill>
                <a:effectLst/>
                <a:uLnTx/>
                <a:uFillTx/>
                <a:latin typeface="Consolas" panose="020B0609020204030204" pitchFamily="49" charset="0"/>
              </a:rPr>
              <a:t>LastName</a:t>
            </a:r>
            <a:r>
              <a:rPr kumimoji="0" lang="en-US" sz="1200" b="0" i="0" u="none" strike="noStrike" kern="0" cap="none" spc="0" normalizeH="0" noProof="0">
                <a:ln>
                  <a:noFill/>
                </a:ln>
                <a:solidFill>
                  <a:srgbClr val="494949"/>
                </a:solidFill>
                <a:effectLst/>
                <a:uLnTx/>
                <a:uFillTx/>
                <a:latin typeface="Consolas" panose="020B0609020204030204" pitchFamily="49" charset="0"/>
              </a:rPr>
              <a:t>, EMAIL, Salary</a:t>
            </a:r>
            <a:endParaRPr kumimoji="0" lang="en-US" sz="1200" b="0" i="0" u="none" strike="noStrike" kern="0" cap="none" spc="0" normalizeH="0" baseline="0" noProof="0">
              <a:ln>
                <a:noFill/>
              </a:ln>
              <a:solidFill>
                <a:srgbClr val="494949"/>
              </a:solidFill>
              <a:effectLst/>
              <a:uLnTx/>
              <a:uFillTx/>
              <a:latin typeface="Consolas" panose="020B0609020204030204" pitchFamily="49" charset="0"/>
            </a:endParaRPr>
          </a:p>
          <a:p>
            <a:pPr marL="0" marR="0" lvl="0" indent="0" defTabSz="913154"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494949"/>
                </a:solidFill>
                <a:effectLst/>
                <a:uLnTx/>
                <a:uFillTx/>
                <a:latin typeface="Consolas" panose="020B0609020204030204" pitchFamily="49" charset="0"/>
              </a:rPr>
              <a:t>FROM [Employee] </a:t>
            </a:r>
          </a:p>
        </p:txBody>
      </p:sp>
      <p:grpSp>
        <p:nvGrpSpPr>
          <p:cNvPr id="7" name="Group 6">
            <a:extLst>
              <a:ext uri="{FF2B5EF4-FFF2-40B4-BE49-F238E27FC236}">
                <a16:creationId xmlns:a16="http://schemas.microsoft.com/office/drawing/2014/main" id="{8BDCD466-6247-45DD-8679-53E2E535BCC4}"/>
              </a:ext>
            </a:extLst>
          </p:cNvPr>
          <p:cNvGrpSpPr/>
          <p:nvPr/>
        </p:nvGrpSpPr>
        <p:grpSpPr>
          <a:xfrm>
            <a:off x="3869951" y="-114380166"/>
            <a:ext cx="7864849" cy="120317742"/>
            <a:chOff x="-2147483647" y="-2147483647"/>
            <a:chExt cx="2147483647" cy="2147483647"/>
          </a:xfrm>
        </p:grpSpPr>
        <p:pic>
          <p:nvPicPr>
            <p:cNvPr id="8" name="Picture 7">
              <a:extLst>
                <a:ext uri="{FF2B5EF4-FFF2-40B4-BE49-F238E27FC236}">
                  <a16:creationId xmlns:a16="http://schemas.microsoft.com/office/drawing/2014/main" id="{9A6DD4B8-FD1C-46CB-BBCD-168F9FEA3D84}"/>
                </a:ext>
              </a:extLst>
            </p:cNvPr>
            <p:cNvPicPr>
              <a:picLocks noChangeAspect="1"/>
            </p:cNvPicPr>
            <p:nvPr/>
          </p:nvPicPr>
          <p:blipFill rotWithShape="1">
            <a:blip r:embed="rId3"/>
            <a:srcRect t="2522" b="1390"/>
            <a:stretch/>
          </p:blipFill>
          <p:spPr>
            <a:xfrm>
              <a:off x="8017556" y="5404911"/>
              <a:ext cx="4038601" cy="1025707"/>
            </a:xfrm>
            <a:prstGeom prst="rect">
              <a:avLst/>
            </a:prstGeom>
          </p:spPr>
        </p:pic>
        <p:sp>
          <p:nvSpPr>
            <p:cNvPr id="9" name="TextBox 8">
              <a:extLst>
                <a:ext uri="{FF2B5EF4-FFF2-40B4-BE49-F238E27FC236}">
                  <a16:creationId xmlns:a16="http://schemas.microsoft.com/office/drawing/2014/main" id="{C2BB39D3-1FD3-498A-B2B3-91E60A87FB12}"/>
                </a:ext>
              </a:extLst>
            </p:cNvPr>
            <p:cNvSpPr txBox="1"/>
            <p:nvPr/>
          </p:nvSpPr>
          <p:spPr>
            <a:xfrm>
              <a:off x="-2147483647" y="-2147483647"/>
              <a:ext cx="2147483647" cy="4958804"/>
            </a:xfrm>
            <a:prstGeom prst="rect">
              <a:avLst/>
            </a:prstGeom>
            <a:noFill/>
            <a:ln>
              <a:noFill/>
            </a:ln>
            <a:effectLst/>
          </p:spPr>
          <p:txBody>
            <a:bodyPr wrap="square" lIns="91440" tIns="45720" rIns="91440" bIns="45720" rtlCol="0">
              <a:spAutoFit/>
            </a:bodyPr>
            <a:lstStyle>
              <a:defPPr>
                <a:defRPr lang="en-US"/>
              </a:defPPr>
              <a:lvl1pPr marR="0" lvl="0" indent="0" defTabSz="913154" fontAlgn="base">
                <a:spcBef>
                  <a:spcPct val="0"/>
                </a:spcBef>
                <a:spcAft>
                  <a:spcPts val="588"/>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3154"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admin1 logon</a:t>
              </a:r>
            </a:p>
          </p:txBody>
        </p:sp>
        <p:sp>
          <p:nvSpPr>
            <p:cNvPr id="10" name="TextBox 9">
              <a:extLst>
                <a:ext uri="{FF2B5EF4-FFF2-40B4-BE49-F238E27FC236}">
                  <a16:creationId xmlns:a16="http://schemas.microsoft.com/office/drawing/2014/main" id="{F95EF591-A6DF-45C5-9EF1-3149BC87DDB5}"/>
                </a:ext>
              </a:extLst>
            </p:cNvPr>
            <p:cNvSpPr txBox="1"/>
            <p:nvPr/>
          </p:nvSpPr>
          <p:spPr>
            <a:xfrm>
              <a:off x="-2147483647" y="-406828710"/>
              <a:ext cx="2147483647" cy="4973653"/>
            </a:xfrm>
            <a:prstGeom prst="rect">
              <a:avLst/>
            </a:prstGeom>
            <a:noFill/>
            <a:ln>
              <a:noFill/>
            </a:ln>
            <a:effectLst/>
          </p:spPr>
          <p:txBody>
            <a:bodyPr wrap="square" lIns="91440" tIns="45720" rIns="91440" bIns="45720" rtlCol="0">
              <a:spAutoFit/>
            </a:bodyPr>
            <a:lstStyle>
              <a:defPPr>
                <a:defRPr lang="en-US"/>
              </a:defPPr>
              <a:lvl1pPr marR="0" lvl="0" indent="0" defTabSz="913154" fontAlgn="base">
                <a:spcBef>
                  <a:spcPct val="0"/>
                </a:spcBef>
                <a:spcAft>
                  <a:spcPts val="588"/>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3154"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other logon</a:t>
              </a:r>
            </a:p>
          </p:txBody>
        </p:sp>
        <p:pic>
          <p:nvPicPr>
            <p:cNvPr id="11" name="Picture 10">
              <a:extLst>
                <a:ext uri="{FF2B5EF4-FFF2-40B4-BE49-F238E27FC236}">
                  <a16:creationId xmlns:a16="http://schemas.microsoft.com/office/drawing/2014/main" id="{904C3827-8F4C-4CB7-8EE8-48D23D7F738B}"/>
                </a:ext>
              </a:extLst>
            </p:cNvPr>
            <p:cNvPicPr>
              <a:picLocks noChangeAspect="1"/>
            </p:cNvPicPr>
            <p:nvPr/>
          </p:nvPicPr>
          <p:blipFill rotWithShape="1">
            <a:blip r:embed="rId4"/>
            <a:srcRect t="1054" b="1222"/>
            <a:stretch/>
          </p:blipFill>
          <p:spPr>
            <a:xfrm>
              <a:off x="3910077" y="5404911"/>
              <a:ext cx="3436047" cy="1023845"/>
            </a:xfrm>
            <a:prstGeom prst="rect">
              <a:avLst/>
            </a:prstGeom>
          </p:spPr>
        </p:pic>
      </p:grpSp>
      <p:sp>
        <p:nvSpPr>
          <p:cNvPr id="12" name="TextBox 11">
            <a:extLst>
              <a:ext uri="{FF2B5EF4-FFF2-40B4-BE49-F238E27FC236}">
                <a16:creationId xmlns:a16="http://schemas.microsoft.com/office/drawing/2014/main" id="{926AB338-0463-4013-BC89-1384C6B54B38}"/>
              </a:ext>
            </a:extLst>
          </p:cNvPr>
          <p:cNvSpPr txBox="1"/>
          <p:nvPr/>
        </p:nvSpPr>
        <p:spPr>
          <a:xfrm>
            <a:off x="655637" y="1408114"/>
            <a:ext cx="10880726" cy="1287212"/>
          </a:xfrm>
          <a:prstGeom prst="rect">
            <a:avLst/>
          </a:prstGeom>
          <a:solidFill>
            <a:srgbClr val="243A5E"/>
          </a:solidFill>
        </p:spPr>
        <p:txBody>
          <a:bodyPr wrap="square" rtlCol="0">
            <a:spAutoFit/>
          </a:bodyPr>
          <a:lstStyle/>
          <a:p>
            <a:pPr marL="456937" indent="-456937" defTabSz="931505" fontAlgn="base">
              <a:lnSpc>
                <a:spcPct val="150000"/>
              </a:lnSpc>
              <a:spcBef>
                <a:spcPct val="0"/>
              </a:spcBef>
              <a:spcAft>
                <a:spcPct val="0"/>
              </a:spcAft>
              <a:defRPr/>
            </a:pPr>
            <a:r>
              <a:rPr lang="en-US" kern="0">
                <a:solidFill>
                  <a:srgbClr val="FFFFFF"/>
                </a:solidFill>
                <a:latin typeface="Segoe UI Semilight" panose="020B0402040204020203" pitchFamily="34" charset="0"/>
                <a:cs typeface="Segoe UI Semilight" panose="020B0402040204020203" pitchFamily="34" charset="0"/>
              </a:rPr>
              <a:t>Security officer defines dynamic data masking policy in T-SQL over sensitive data in the Employee table.</a:t>
            </a:r>
          </a:p>
          <a:p>
            <a:pPr marL="456937" indent="-456937" defTabSz="931505" fontAlgn="base">
              <a:lnSpc>
                <a:spcPct val="150000"/>
              </a:lnSpc>
              <a:spcBef>
                <a:spcPct val="0"/>
              </a:spcBef>
              <a:spcAft>
                <a:spcPct val="0"/>
              </a:spcAft>
              <a:defRPr/>
            </a:pPr>
            <a:r>
              <a:rPr lang="en-US" kern="0">
                <a:solidFill>
                  <a:srgbClr val="FFFFFF"/>
                </a:solidFill>
                <a:latin typeface="Segoe UI Semilight" panose="020B0402040204020203" pitchFamily="34" charset="0"/>
                <a:cs typeface="Segoe UI Semilight" panose="020B0402040204020203" pitchFamily="34" charset="0"/>
              </a:rPr>
              <a:t>The app user selects from the Employee table.</a:t>
            </a:r>
          </a:p>
          <a:p>
            <a:pPr marL="456937" indent="-456937" defTabSz="931505" fontAlgn="base">
              <a:lnSpc>
                <a:spcPct val="150000"/>
              </a:lnSpc>
              <a:spcBef>
                <a:spcPct val="0"/>
              </a:spcBef>
              <a:spcAft>
                <a:spcPct val="0"/>
              </a:spcAft>
              <a:defRPr/>
            </a:pPr>
            <a:r>
              <a:rPr lang="en-US" kern="0">
                <a:solidFill>
                  <a:srgbClr val="FFFFFF"/>
                </a:solidFill>
                <a:latin typeface="Segoe UI Semilight" panose="020B0402040204020203" pitchFamily="34" charset="0"/>
                <a:cs typeface="Segoe UI Semilight" panose="020B0402040204020203" pitchFamily="34" charset="0"/>
              </a:rPr>
              <a:t>The dynamic data masking policy obfuscates the sensitive data in the query results. </a:t>
            </a:r>
          </a:p>
        </p:txBody>
      </p:sp>
      <p:grpSp>
        <p:nvGrpSpPr>
          <p:cNvPr id="13" name="Group 12">
            <a:extLst>
              <a:ext uri="{FF2B5EF4-FFF2-40B4-BE49-F238E27FC236}">
                <a16:creationId xmlns:a16="http://schemas.microsoft.com/office/drawing/2014/main" id="{E10E556F-5F72-494F-9C51-D4F31B35457F}"/>
              </a:ext>
            </a:extLst>
          </p:cNvPr>
          <p:cNvGrpSpPr/>
          <p:nvPr/>
        </p:nvGrpSpPr>
        <p:grpSpPr>
          <a:xfrm>
            <a:off x="10636064" y="3000660"/>
            <a:ext cx="1098736" cy="1070287"/>
            <a:chOff x="11198634" y="1697514"/>
            <a:chExt cx="1199367" cy="1070287"/>
          </a:xfrm>
        </p:grpSpPr>
        <p:grpSp>
          <p:nvGrpSpPr>
            <p:cNvPr id="14" name="Group 13">
              <a:extLst>
                <a:ext uri="{FF2B5EF4-FFF2-40B4-BE49-F238E27FC236}">
                  <a16:creationId xmlns:a16="http://schemas.microsoft.com/office/drawing/2014/main" id="{01835A8C-095A-472E-A669-FBF3F2E98816}"/>
                </a:ext>
              </a:extLst>
            </p:cNvPr>
            <p:cNvGrpSpPr/>
            <p:nvPr/>
          </p:nvGrpSpPr>
          <p:grpSpPr>
            <a:xfrm>
              <a:off x="11491843" y="1697514"/>
              <a:ext cx="612950" cy="684853"/>
              <a:chOff x="11491843" y="1697514"/>
              <a:chExt cx="612950" cy="684853"/>
            </a:xfrm>
          </p:grpSpPr>
          <p:grpSp>
            <p:nvGrpSpPr>
              <p:cNvPr id="16" name="Group 15">
                <a:extLst>
                  <a:ext uri="{FF2B5EF4-FFF2-40B4-BE49-F238E27FC236}">
                    <a16:creationId xmlns:a16="http://schemas.microsoft.com/office/drawing/2014/main" id="{8A4031D2-78D2-4B2E-9DE3-F6A9387A95D7}"/>
                  </a:ext>
                </a:extLst>
              </p:cNvPr>
              <p:cNvGrpSpPr/>
              <p:nvPr/>
            </p:nvGrpSpPr>
            <p:grpSpPr>
              <a:xfrm>
                <a:off x="11491843" y="1697514"/>
                <a:ext cx="612950" cy="684853"/>
                <a:chOff x="709535" y="3658062"/>
                <a:chExt cx="1430415" cy="1598221"/>
              </a:xfrm>
            </p:grpSpPr>
            <p:sp>
              <p:nvSpPr>
                <p:cNvPr id="18" name="Freeform 5">
                  <a:extLst>
                    <a:ext uri="{FF2B5EF4-FFF2-40B4-BE49-F238E27FC236}">
                      <a16:creationId xmlns:a16="http://schemas.microsoft.com/office/drawing/2014/main" id="{8841B7C6-17C1-42F0-9510-A3E4C5F381D5}"/>
                    </a:ext>
                  </a:extLst>
                </p:cNvPr>
                <p:cNvSpPr>
                  <a:spLocks noEditPoints="1"/>
                </p:cNvSpPr>
                <p:nvPr/>
              </p:nvSpPr>
              <p:spPr bwMode="auto">
                <a:xfrm>
                  <a:off x="709535" y="3658062"/>
                  <a:ext cx="1430415" cy="159822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rgbClr val="002050">
                    <a:lumMod val="25000"/>
                    <a:lumOff val="75000"/>
                  </a:srgbClr>
                </a:solidFill>
                <a:ln w="12700" cap="flat">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19" name="Trapezoid 22">
                  <a:extLst>
                    <a:ext uri="{FF2B5EF4-FFF2-40B4-BE49-F238E27FC236}">
                      <a16:creationId xmlns:a16="http://schemas.microsoft.com/office/drawing/2014/main" id="{9EC2536E-C7F7-4B81-A559-91A8ED37D2A8}"/>
                    </a:ext>
                  </a:extLst>
                </p:cNvPr>
                <p:cNvSpPr/>
                <p:nvPr/>
              </p:nvSpPr>
              <p:spPr bwMode="auto">
                <a:xfrm rot="10800000">
                  <a:off x="1301681" y="4559299"/>
                  <a:ext cx="246123" cy="193606"/>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Trapezoid 19">
                  <a:extLst>
                    <a:ext uri="{FF2B5EF4-FFF2-40B4-BE49-F238E27FC236}">
                      <a16:creationId xmlns:a16="http://schemas.microsoft.com/office/drawing/2014/main" id="{7E219717-9390-439E-88ED-0C283A3CF4D0}"/>
                    </a:ext>
                  </a:extLst>
                </p:cNvPr>
                <p:cNvSpPr/>
                <p:nvPr/>
              </p:nvSpPr>
              <p:spPr bwMode="auto">
                <a:xfrm>
                  <a:off x="1304538" y="4754251"/>
                  <a:ext cx="240408" cy="498694"/>
                </a:xfrm>
                <a:prstGeom prst="trapezoid">
                  <a:avLst>
                    <a:gd name="adj" fmla="val 31603"/>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7" name="Freeform 271">
                <a:extLst>
                  <a:ext uri="{FF2B5EF4-FFF2-40B4-BE49-F238E27FC236}">
                    <a16:creationId xmlns:a16="http://schemas.microsoft.com/office/drawing/2014/main" id="{BCF2B25E-A5A8-4F70-B3DD-109EB971502A}"/>
                  </a:ext>
                </a:extLst>
              </p:cNvPr>
              <p:cNvSpPr>
                <a:spLocks noChangeAspect="1"/>
              </p:cNvSpPr>
              <p:nvPr/>
            </p:nvSpPr>
            <p:spPr bwMode="black">
              <a:xfrm>
                <a:off x="11863570" y="2177345"/>
                <a:ext cx="123019" cy="139686"/>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763275 w 1342613"/>
                  <a:gd name="connsiteY5" fmla="*/ 796673 h 1524532"/>
                  <a:gd name="connsiteX6" fmla="*/ 803729 w 1342613"/>
                  <a:gd name="connsiteY6" fmla="*/ 769397 h 1524532"/>
                  <a:gd name="connsiteX7" fmla="*/ 858309 w 1342613"/>
                  <a:gd name="connsiteY7" fmla="*/ 637630 h 1524532"/>
                  <a:gd name="connsiteX8" fmla="*/ 671962 w 1342613"/>
                  <a:gd name="connsiteY8" fmla="*/ 451283 h 1524532"/>
                  <a:gd name="connsiteX9" fmla="*/ 665941 w 1342613"/>
                  <a:gd name="connsiteY9" fmla="*/ 0 h 1524532"/>
                  <a:gd name="connsiteX10" fmla="*/ 677983 w 1342613"/>
                  <a:gd name="connsiteY10" fmla="*/ 12004 h 1524532"/>
                  <a:gd name="connsiteX11" fmla="*/ 1015160 w 1342613"/>
                  <a:gd name="connsiteY11" fmla="*/ 156055 h 1524532"/>
                  <a:gd name="connsiteX12" fmla="*/ 1292127 w 1342613"/>
                  <a:gd name="connsiteY12" fmla="*/ 84029 h 1524532"/>
                  <a:gd name="connsiteX13" fmla="*/ 665941 w 1342613"/>
                  <a:gd name="connsiteY13" fmla="*/ 1524532 h 1524532"/>
                  <a:gd name="connsiteX14" fmla="*/ 51797 w 1342613"/>
                  <a:gd name="connsiteY14" fmla="*/ 84029 h 1524532"/>
                  <a:gd name="connsiteX15" fmla="*/ 328763 w 1342613"/>
                  <a:gd name="connsiteY15" fmla="*/ 156055 h 1524532"/>
                  <a:gd name="connsiteX16" fmla="*/ 665941 w 1342613"/>
                  <a:gd name="connsiteY16" fmla="*/ 12004 h 1524532"/>
                  <a:gd name="connsiteX17" fmla="*/ 665941 w 1342613"/>
                  <a:gd name="connsiteY17"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763275 w 1342613"/>
                  <a:gd name="connsiteY4" fmla="*/ 796673 h 1524532"/>
                  <a:gd name="connsiteX5" fmla="*/ 803729 w 1342613"/>
                  <a:gd name="connsiteY5" fmla="*/ 769397 h 1524532"/>
                  <a:gd name="connsiteX6" fmla="*/ 858309 w 1342613"/>
                  <a:gd name="connsiteY6" fmla="*/ 637630 h 1524532"/>
                  <a:gd name="connsiteX7" fmla="*/ 671962 w 1342613"/>
                  <a:gd name="connsiteY7" fmla="*/ 451283 h 1524532"/>
                  <a:gd name="connsiteX8" fmla="*/ 665941 w 1342613"/>
                  <a:gd name="connsiteY8" fmla="*/ 0 h 1524532"/>
                  <a:gd name="connsiteX9" fmla="*/ 677983 w 1342613"/>
                  <a:gd name="connsiteY9" fmla="*/ 12004 h 1524532"/>
                  <a:gd name="connsiteX10" fmla="*/ 1015160 w 1342613"/>
                  <a:gd name="connsiteY10" fmla="*/ 156055 h 1524532"/>
                  <a:gd name="connsiteX11" fmla="*/ 1292127 w 1342613"/>
                  <a:gd name="connsiteY11" fmla="*/ 84029 h 1524532"/>
                  <a:gd name="connsiteX12" fmla="*/ 665941 w 1342613"/>
                  <a:gd name="connsiteY12" fmla="*/ 1524532 h 1524532"/>
                  <a:gd name="connsiteX13" fmla="*/ 51797 w 1342613"/>
                  <a:gd name="connsiteY13" fmla="*/ 84029 h 1524532"/>
                  <a:gd name="connsiteX14" fmla="*/ 328763 w 1342613"/>
                  <a:gd name="connsiteY14" fmla="*/ 156055 h 1524532"/>
                  <a:gd name="connsiteX15" fmla="*/ 665941 w 1342613"/>
                  <a:gd name="connsiteY15" fmla="*/ 12004 h 1524532"/>
                  <a:gd name="connsiteX16" fmla="*/ 665941 w 1342613"/>
                  <a:gd name="connsiteY16" fmla="*/ 0 h 1524532"/>
                  <a:gd name="connsiteX0" fmla="*/ 671962 w 1342613"/>
                  <a:gd name="connsiteY0" fmla="*/ 451283 h 1524532"/>
                  <a:gd name="connsiteX1" fmla="*/ 485615 w 1342613"/>
                  <a:gd name="connsiteY1" fmla="*/ 637630 h 1524532"/>
                  <a:gd name="connsiteX2" fmla="*/ 540195 w 1342613"/>
                  <a:gd name="connsiteY2" fmla="*/ 769397 h 1524532"/>
                  <a:gd name="connsiteX3" fmla="*/ 763275 w 1342613"/>
                  <a:gd name="connsiteY3" fmla="*/ 796673 h 1524532"/>
                  <a:gd name="connsiteX4" fmla="*/ 803729 w 1342613"/>
                  <a:gd name="connsiteY4" fmla="*/ 769397 h 1524532"/>
                  <a:gd name="connsiteX5" fmla="*/ 858309 w 1342613"/>
                  <a:gd name="connsiteY5" fmla="*/ 637630 h 1524532"/>
                  <a:gd name="connsiteX6" fmla="*/ 671962 w 1342613"/>
                  <a:gd name="connsiteY6" fmla="*/ 451283 h 1524532"/>
                  <a:gd name="connsiteX7" fmla="*/ 665941 w 1342613"/>
                  <a:gd name="connsiteY7" fmla="*/ 0 h 1524532"/>
                  <a:gd name="connsiteX8" fmla="*/ 677983 w 1342613"/>
                  <a:gd name="connsiteY8" fmla="*/ 12004 h 1524532"/>
                  <a:gd name="connsiteX9" fmla="*/ 1015160 w 1342613"/>
                  <a:gd name="connsiteY9" fmla="*/ 156055 h 1524532"/>
                  <a:gd name="connsiteX10" fmla="*/ 1292127 w 1342613"/>
                  <a:gd name="connsiteY10" fmla="*/ 84029 h 1524532"/>
                  <a:gd name="connsiteX11" fmla="*/ 665941 w 1342613"/>
                  <a:gd name="connsiteY11" fmla="*/ 1524532 h 1524532"/>
                  <a:gd name="connsiteX12" fmla="*/ 51797 w 1342613"/>
                  <a:gd name="connsiteY12" fmla="*/ 84029 h 1524532"/>
                  <a:gd name="connsiteX13" fmla="*/ 328763 w 1342613"/>
                  <a:gd name="connsiteY13" fmla="*/ 156055 h 1524532"/>
                  <a:gd name="connsiteX14" fmla="*/ 665941 w 1342613"/>
                  <a:gd name="connsiteY14" fmla="*/ 12004 h 1524532"/>
                  <a:gd name="connsiteX15" fmla="*/ 665941 w 1342613"/>
                  <a:gd name="connsiteY15" fmla="*/ 0 h 1524532"/>
                  <a:gd name="connsiteX0" fmla="*/ 671962 w 1342613"/>
                  <a:gd name="connsiteY0" fmla="*/ 451283 h 1524532"/>
                  <a:gd name="connsiteX1" fmla="*/ 485615 w 1342613"/>
                  <a:gd name="connsiteY1" fmla="*/ 637630 h 1524532"/>
                  <a:gd name="connsiteX2" fmla="*/ 763275 w 1342613"/>
                  <a:gd name="connsiteY2" fmla="*/ 796673 h 1524532"/>
                  <a:gd name="connsiteX3" fmla="*/ 803729 w 1342613"/>
                  <a:gd name="connsiteY3" fmla="*/ 769397 h 1524532"/>
                  <a:gd name="connsiteX4" fmla="*/ 858309 w 1342613"/>
                  <a:gd name="connsiteY4" fmla="*/ 637630 h 1524532"/>
                  <a:gd name="connsiteX5" fmla="*/ 671962 w 1342613"/>
                  <a:gd name="connsiteY5" fmla="*/ 451283 h 1524532"/>
                  <a:gd name="connsiteX6" fmla="*/ 665941 w 1342613"/>
                  <a:gd name="connsiteY6" fmla="*/ 0 h 1524532"/>
                  <a:gd name="connsiteX7" fmla="*/ 677983 w 1342613"/>
                  <a:gd name="connsiteY7" fmla="*/ 12004 h 1524532"/>
                  <a:gd name="connsiteX8" fmla="*/ 1015160 w 1342613"/>
                  <a:gd name="connsiteY8" fmla="*/ 156055 h 1524532"/>
                  <a:gd name="connsiteX9" fmla="*/ 1292127 w 1342613"/>
                  <a:gd name="connsiteY9" fmla="*/ 84029 h 1524532"/>
                  <a:gd name="connsiteX10" fmla="*/ 665941 w 1342613"/>
                  <a:gd name="connsiteY10" fmla="*/ 1524532 h 1524532"/>
                  <a:gd name="connsiteX11" fmla="*/ 51797 w 1342613"/>
                  <a:gd name="connsiteY11" fmla="*/ 84029 h 1524532"/>
                  <a:gd name="connsiteX12" fmla="*/ 328763 w 1342613"/>
                  <a:gd name="connsiteY12" fmla="*/ 156055 h 1524532"/>
                  <a:gd name="connsiteX13" fmla="*/ 665941 w 1342613"/>
                  <a:gd name="connsiteY13" fmla="*/ 12004 h 1524532"/>
                  <a:gd name="connsiteX14" fmla="*/ 665941 w 1342613"/>
                  <a:gd name="connsiteY14" fmla="*/ 0 h 1524532"/>
                  <a:gd name="connsiteX0" fmla="*/ 671962 w 1342613"/>
                  <a:gd name="connsiteY0" fmla="*/ 451283 h 1524532"/>
                  <a:gd name="connsiteX1" fmla="*/ 763275 w 1342613"/>
                  <a:gd name="connsiteY1" fmla="*/ 796673 h 1524532"/>
                  <a:gd name="connsiteX2" fmla="*/ 803729 w 1342613"/>
                  <a:gd name="connsiteY2" fmla="*/ 769397 h 1524532"/>
                  <a:gd name="connsiteX3" fmla="*/ 858309 w 1342613"/>
                  <a:gd name="connsiteY3" fmla="*/ 637630 h 1524532"/>
                  <a:gd name="connsiteX4" fmla="*/ 671962 w 1342613"/>
                  <a:gd name="connsiteY4" fmla="*/ 451283 h 1524532"/>
                  <a:gd name="connsiteX5" fmla="*/ 665941 w 1342613"/>
                  <a:gd name="connsiteY5" fmla="*/ 0 h 1524532"/>
                  <a:gd name="connsiteX6" fmla="*/ 677983 w 1342613"/>
                  <a:gd name="connsiteY6" fmla="*/ 12004 h 1524532"/>
                  <a:gd name="connsiteX7" fmla="*/ 1015160 w 1342613"/>
                  <a:gd name="connsiteY7" fmla="*/ 156055 h 1524532"/>
                  <a:gd name="connsiteX8" fmla="*/ 1292127 w 1342613"/>
                  <a:gd name="connsiteY8" fmla="*/ 84029 h 1524532"/>
                  <a:gd name="connsiteX9" fmla="*/ 665941 w 1342613"/>
                  <a:gd name="connsiteY9" fmla="*/ 1524532 h 1524532"/>
                  <a:gd name="connsiteX10" fmla="*/ 51797 w 1342613"/>
                  <a:gd name="connsiteY10" fmla="*/ 84029 h 1524532"/>
                  <a:gd name="connsiteX11" fmla="*/ 328763 w 1342613"/>
                  <a:gd name="connsiteY11" fmla="*/ 156055 h 1524532"/>
                  <a:gd name="connsiteX12" fmla="*/ 665941 w 1342613"/>
                  <a:gd name="connsiteY12" fmla="*/ 12004 h 1524532"/>
                  <a:gd name="connsiteX13" fmla="*/ 665941 w 1342613"/>
                  <a:gd name="connsiteY13" fmla="*/ 0 h 1524532"/>
                  <a:gd name="connsiteX0" fmla="*/ 671962 w 1342613"/>
                  <a:gd name="connsiteY0" fmla="*/ 451283 h 1524532"/>
                  <a:gd name="connsiteX1" fmla="*/ 763275 w 1342613"/>
                  <a:gd name="connsiteY1" fmla="*/ 796673 h 1524532"/>
                  <a:gd name="connsiteX2" fmla="*/ 858309 w 1342613"/>
                  <a:gd name="connsiteY2" fmla="*/ 637630 h 1524532"/>
                  <a:gd name="connsiteX3" fmla="*/ 671962 w 1342613"/>
                  <a:gd name="connsiteY3" fmla="*/ 451283 h 1524532"/>
                  <a:gd name="connsiteX4" fmla="*/ 665941 w 1342613"/>
                  <a:gd name="connsiteY4" fmla="*/ 0 h 1524532"/>
                  <a:gd name="connsiteX5" fmla="*/ 677983 w 1342613"/>
                  <a:gd name="connsiteY5" fmla="*/ 12004 h 1524532"/>
                  <a:gd name="connsiteX6" fmla="*/ 1015160 w 1342613"/>
                  <a:gd name="connsiteY6" fmla="*/ 156055 h 1524532"/>
                  <a:gd name="connsiteX7" fmla="*/ 1292127 w 1342613"/>
                  <a:gd name="connsiteY7" fmla="*/ 84029 h 1524532"/>
                  <a:gd name="connsiteX8" fmla="*/ 665941 w 1342613"/>
                  <a:gd name="connsiteY8" fmla="*/ 1524532 h 1524532"/>
                  <a:gd name="connsiteX9" fmla="*/ 51797 w 1342613"/>
                  <a:gd name="connsiteY9" fmla="*/ 84029 h 1524532"/>
                  <a:gd name="connsiteX10" fmla="*/ 328763 w 1342613"/>
                  <a:gd name="connsiteY10" fmla="*/ 156055 h 1524532"/>
                  <a:gd name="connsiteX11" fmla="*/ 665941 w 1342613"/>
                  <a:gd name="connsiteY11" fmla="*/ 12004 h 1524532"/>
                  <a:gd name="connsiteX12" fmla="*/ 665941 w 1342613"/>
                  <a:gd name="connsiteY12" fmla="*/ 0 h 1524532"/>
                  <a:gd name="connsiteX0" fmla="*/ 671962 w 1342613"/>
                  <a:gd name="connsiteY0" fmla="*/ 451283 h 1524532"/>
                  <a:gd name="connsiteX1" fmla="*/ 858309 w 1342613"/>
                  <a:gd name="connsiteY1" fmla="*/ 637630 h 1524532"/>
                  <a:gd name="connsiteX2" fmla="*/ 671962 w 1342613"/>
                  <a:gd name="connsiteY2" fmla="*/ 451283 h 1524532"/>
                  <a:gd name="connsiteX3" fmla="*/ 665941 w 1342613"/>
                  <a:gd name="connsiteY3" fmla="*/ 0 h 1524532"/>
                  <a:gd name="connsiteX4" fmla="*/ 677983 w 1342613"/>
                  <a:gd name="connsiteY4" fmla="*/ 12004 h 1524532"/>
                  <a:gd name="connsiteX5" fmla="*/ 1015160 w 1342613"/>
                  <a:gd name="connsiteY5" fmla="*/ 156055 h 1524532"/>
                  <a:gd name="connsiteX6" fmla="*/ 1292127 w 1342613"/>
                  <a:gd name="connsiteY6" fmla="*/ 84029 h 1524532"/>
                  <a:gd name="connsiteX7" fmla="*/ 665941 w 1342613"/>
                  <a:gd name="connsiteY7" fmla="*/ 1524532 h 1524532"/>
                  <a:gd name="connsiteX8" fmla="*/ 51797 w 1342613"/>
                  <a:gd name="connsiteY8" fmla="*/ 84029 h 1524532"/>
                  <a:gd name="connsiteX9" fmla="*/ 328763 w 1342613"/>
                  <a:gd name="connsiteY9" fmla="*/ 156055 h 1524532"/>
                  <a:gd name="connsiteX10" fmla="*/ 665941 w 1342613"/>
                  <a:gd name="connsiteY10" fmla="*/ 12004 h 1524532"/>
                  <a:gd name="connsiteX11" fmla="*/ 665941 w 1342613"/>
                  <a:gd name="connsiteY11" fmla="*/ 0 h 1524532"/>
                  <a:gd name="connsiteX0" fmla="*/ 665941 w 1342613"/>
                  <a:gd name="connsiteY0" fmla="*/ 0 h 1524532"/>
                  <a:gd name="connsiteX1" fmla="*/ 677983 w 1342613"/>
                  <a:gd name="connsiteY1" fmla="*/ 12004 h 1524532"/>
                  <a:gd name="connsiteX2" fmla="*/ 1015160 w 1342613"/>
                  <a:gd name="connsiteY2" fmla="*/ 156055 h 1524532"/>
                  <a:gd name="connsiteX3" fmla="*/ 1292127 w 1342613"/>
                  <a:gd name="connsiteY3" fmla="*/ 84029 h 1524532"/>
                  <a:gd name="connsiteX4" fmla="*/ 665941 w 1342613"/>
                  <a:gd name="connsiteY4" fmla="*/ 1524532 h 1524532"/>
                  <a:gd name="connsiteX5" fmla="*/ 51797 w 1342613"/>
                  <a:gd name="connsiteY5" fmla="*/ 84029 h 1524532"/>
                  <a:gd name="connsiteX6" fmla="*/ 328763 w 1342613"/>
                  <a:gd name="connsiteY6" fmla="*/ 156055 h 1524532"/>
                  <a:gd name="connsiteX7" fmla="*/ 665941 w 1342613"/>
                  <a:gd name="connsiteY7" fmla="*/ 12004 h 1524532"/>
                  <a:gd name="connsiteX8" fmla="*/ 665941 w 1342613"/>
                  <a:gd name="connsiteY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613" h="1524532">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lnTo>
                      <a:pt x="665941" y="0"/>
                    </a:ln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marL="0" marR="0" lvl="0" indent="0" algn="ctr" defTabSz="474391" eaLnBrk="1" fontAlgn="base" latinLnBrk="0" hangingPunct="1">
                  <a:lnSpc>
                    <a:spcPct val="90000"/>
                  </a:lnSpc>
                  <a:spcBef>
                    <a:spcPct val="0"/>
                  </a:spcBef>
                  <a:spcAft>
                    <a:spcPct val="0"/>
                  </a:spcAft>
                  <a:buClrTx/>
                  <a:buSzTx/>
                  <a:buFontTx/>
                  <a:buNone/>
                  <a:tabLst/>
                  <a:defRPr/>
                </a:pPr>
                <a:endParaRPr kumimoji="0" lang="en-US" sz="1221"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5" name="TextBox 14">
              <a:extLst>
                <a:ext uri="{FF2B5EF4-FFF2-40B4-BE49-F238E27FC236}">
                  <a16:creationId xmlns:a16="http://schemas.microsoft.com/office/drawing/2014/main" id="{039D8F5B-1E24-47C3-8434-AC541402FF57}"/>
                </a:ext>
              </a:extLst>
            </p:cNvPr>
            <p:cNvSpPr txBox="1"/>
            <p:nvPr/>
          </p:nvSpPr>
          <p:spPr>
            <a:xfrm>
              <a:off x="11198634" y="2490802"/>
              <a:ext cx="1199367" cy="276999"/>
            </a:xfrm>
            <a:prstGeom prst="rect">
              <a:avLst/>
            </a:prstGeom>
            <a:noFill/>
            <a:ln>
              <a:noFill/>
            </a:ln>
            <a:effectLst/>
          </p:spPr>
          <p:txBody>
            <a:bodyPr wrap="none" lIns="91440" tIns="45720" rIns="91440" bIns="45720" rtlCol="0">
              <a:spAutoFit/>
            </a:bodyPr>
            <a:lstStyle/>
            <a:p>
              <a:pPr marL="0" marR="0" lvl="0" indent="0" defTabSz="913154" eaLnBrk="1" fontAlgn="base" latinLnBrk="0" hangingPunct="1">
                <a:lnSpc>
                  <a:spcPct val="100000"/>
                </a:lnSpc>
                <a:spcBef>
                  <a:spcPct val="0"/>
                </a:spcBef>
                <a:spcAft>
                  <a:spcPts val="588"/>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Security officer </a:t>
              </a:r>
            </a:p>
          </p:txBody>
        </p:sp>
      </p:grpSp>
      <p:sp>
        <p:nvSpPr>
          <p:cNvPr id="21" name="Cylinder 513">
            <a:extLst>
              <a:ext uri="{FF2B5EF4-FFF2-40B4-BE49-F238E27FC236}">
                <a16:creationId xmlns:a16="http://schemas.microsoft.com/office/drawing/2014/main" id="{D3F3FD56-4AE9-4A32-9D1C-A6FB7C10B6BA}"/>
              </a:ext>
            </a:extLst>
          </p:cNvPr>
          <p:cNvSpPr/>
          <p:nvPr/>
        </p:nvSpPr>
        <p:spPr bwMode="auto">
          <a:xfrm>
            <a:off x="3610148" y="3015304"/>
            <a:ext cx="1168657" cy="1675952"/>
          </a:xfrm>
          <a:prstGeom prst="can">
            <a:avLst>
              <a:gd name="adj" fmla="val 39530"/>
            </a:avLst>
          </a:prstGeom>
          <a:solidFill>
            <a:srgbClr val="0078D7"/>
          </a:solid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endParaRPr lang="en-US" kern="0">
              <a:solidFill>
                <a:srgbClr val="0078D7"/>
              </a:solidFill>
              <a:latin typeface="Segoe UI Light"/>
              <a:ea typeface="Segoe UI" pitchFamily="34" charset="0"/>
              <a:cs typeface="Segoe UI" pitchFamily="34" charset="0"/>
            </a:endParaRPr>
          </a:p>
        </p:txBody>
      </p:sp>
      <p:cxnSp>
        <p:nvCxnSpPr>
          <p:cNvPr id="22" name="Straight Arrow Connector 21">
            <a:extLst>
              <a:ext uri="{FF2B5EF4-FFF2-40B4-BE49-F238E27FC236}">
                <a16:creationId xmlns:a16="http://schemas.microsoft.com/office/drawing/2014/main" id="{4D3222D5-BDF0-4EB4-87B8-E6ECF539662D}"/>
              </a:ext>
            </a:extLst>
          </p:cNvPr>
          <p:cNvCxnSpPr>
            <a:cxnSpLocks/>
          </p:cNvCxnSpPr>
          <p:nvPr/>
        </p:nvCxnSpPr>
        <p:spPr>
          <a:xfrm>
            <a:off x="2144999" y="3825984"/>
            <a:ext cx="1091747" cy="0"/>
          </a:xfrm>
          <a:prstGeom prst="straightConnector1">
            <a:avLst/>
          </a:prstGeom>
          <a:noFill/>
          <a:ln w="12700" cap="flat" cmpd="sng" algn="ctr">
            <a:solidFill>
              <a:srgbClr val="0078D7"/>
            </a:solidFill>
            <a:prstDash val="solid"/>
            <a:headEnd type="triangle"/>
            <a:tailEnd type="triangle"/>
          </a:ln>
          <a:effectLst/>
        </p:spPr>
      </p:cxnSp>
      <p:grpSp>
        <p:nvGrpSpPr>
          <p:cNvPr id="23" name="Group 22">
            <a:extLst>
              <a:ext uri="{FF2B5EF4-FFF2-40B4-BE49-F238E27FC236}">
                <a16:creationId xmlns:a16="http://schemas.microsoft.com/office/drawing/2014/main" id="{7445D131-9164-4A1C-BB94-D039DBD5AB08}"/>
              </a:ext>
            </a:extLst>
          </p:cNvPr>
          <p:cNvGrpSpPr/>
          <p:nvPr/>
        </p:nvGrpSpPr>
        <p:grpSpPr>
          <a:xfrm>
            <a:off x="765033" y="3465918"/>
            <a:ext cx="882865" cy="633770"/>
            <a:chOff x="1247587" y="4497886"/>
            <a:chExt cx="1470804" cy="967238"/>
          </a:xfrm>
        </p:grpSpPr>
        <p:grpSp>
          <p:nvGrpSpPr>
            <p:cNvPr id="24" name="Group 23">
              <a:extLst>
                <a:ext uri="{FF2B5EF4-FFF2-40B4-BE49-F238E27FC236}">
                  <a16:creationId xmlns:a16="http://schemas.microsoft.com/office/drawing/2014/main" id="{04CBEDDF-06D2-4374-91B1-3EAFE28F80AF}"/>
                </a:ext>
              </a:extLst>
            </p:cNvPr>
            <p:cNvGrpSpPr/>
            <p:nvPr/>
          </p:nvGrpSpPr>
          <p:grpSpPr>
            <a:xfrm>
              <a:off x="1247587" y="4497886"/>
              <a:ext cx="1470804" cy="967238"/>
              <a:chOff x="2107244" y="1575258"/>
              <a:chExt cx="310993" cy="348066"/>
            </a:xfrm>
          </p:grpSpPr>
          <p:sp>
            <p:nvSpPr>
              <p:cNvPr id="32" name="Rectangle 9">
                <a:extLst>
                  <a:ext uri="{FF2B5EF4-FFF2-40B4-BE49-F238E27FC236}">
                    <a16:creationId xmlns:a16="http://schemas.microsoft.com/office/drawing/2014/main" id="{9B6138DD-A28D-4931-BCB5-C457A5C0B3BB}"/>
                  </a:ext>
                </a:extLst>
              </p:cNvPr>
              <p:cNvSpPr>
                <a:spLocks noChangeArrowheads="1"/>
              </p:cNvSpPr>
              <p:nvPr/>
            </p:nvSpPr>
            <p:spPr bwMode="auto">
              <a:xfrm>
                <a:off x="2107244" y="1575258"/>
                <a:ext cx="310993" cy="348066"/>
              </a:xfrm>
              <a:prstGeom prst="rect">
                <a:avLst/>
              </a:pr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3" name="Line 10">
                <a:extLst>
                  <a:ext uri="{FF2B5EF4-FFF2-40B4-BE49-F238E27FC236}">
                    <a16:creationId xmlns:a16="http://schemas.microsoft.com/office/drawing/2014/main" id="{C64F88D5-E5F2-4C04-BB35-E84F78C9E290}"/>
                  </a:ext>
                </a:extLst>
              </p:cNvPr>
              <p:cNvSpPr>
                <a:spLocks noChangeShapeType="1"/>
              </p:cNvSpPr>
              <p:nvPr/>
            </p:nvSpPr>
            <p:spPr bwMode="auto">
              <a:xfrm flipH="1">
                <a:off x="2107244" y="1647026"/>
                <a:ext cx="310993" cy="0"/>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5" name="Group 24">
              <a:extLst>
                <a:ext uri="{FF2B5EF4-FFF2-40B4-BE49-F238E27FC236}">
                  <a16:creationId xmlns:a16="http://schemas.microsoft.com/office/drawing/2014/main" id="{5198E95C-562D-411B-8E61-9720E3528548}"/>
                </a:ext>
              </a:extLst>
            </p:cNvPr>
            <p:cNvGrpSpPr/>
            <p:nvPr/>
          </p:nvGrpSpPr>
          <p:grpSpPr>
            <a:xfrm>
              <a:off x="2326017" y="4564258"/>
              <a:ext cx="330094" cy="76767"/>
              <a:chOff x="2326017" y="4564258"/>
              <a:chExt cx="330094" cy="76767"/>
            </a:xfrm>
          </p:grpSpPr>
          <p:sp>
            <p:nvSpPr>
              <p:cNvPr id="29" name="Oval 11">
                <a:extLst>
                  <a:ext uri="{FF2B5EF4-FFF2-40B4-BE49-F238E27FC236}">
                    <a16:creationId xmlns:a16="http://schemas.microsoft.com/office/drawing/2014/main" id="{810E10B0-5358-4952-BEB0-15CC2AC9BE10}"/>
                  </a:ext>
                </a:extLst>
              </p:cNvPr>
              <p:cNvSpPr>
                <a:spLocks noChangeArrowheads="1"/>
              </p:cNvSpPr>
              <p:nvPr/>
            </p:nvSpPr>
            <p:spPr bwMode="auto">
              <a:xfrm>
                <a:off x="2326017" y="4564258"/>
                <a:ext cx="76768" cy="76767"/>
              </a:xfrm>
              <a:prstGeom prst="ellipse">
                <a:avLst/>
              </a:prstGeom>
              <a:noFill/>
              <a:ln w="12700">
                <a:solidFill>
                  <a:srgbClr val="0078D7"/>
                </a:solidFill>
                <a:round/>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0" name="Oval 12">
                <a:extLst>
                  <a:ext uri="{FF2B5EF4-FFF2-40B4-BE49-F238E27FC236}">
                    <a16:creationId xmlns:a16="http://schemas.microsoft.com/office/drawing/2014/main" id="{27E9D659-CF5C-4959-88CD-F485E148FF26}"/>
                  </a:ext>
                </a:extLst>
              </p:cNvPr>
              <p:cNvSpPr>
                <a:spLocks noChangeArrowheads="1"/>
              </p:cNvSpPr>
              <p:nvPr/>
            </p:nvSpPr>
            <p:spPr bwMode="auto">
              <a:xfrm>
                <a:off x="2450197" y="4564258"/>
                <a:ext cx="76768" cy="76767"/>
              </a:xfrm>
              <a:prstGeom prst="ellipse">
                <a:avLst/>
              </a:prstGeom>
              <a:noFill/>
              <a:ln w="12700">
                <a:solidFill>
                  <a:srgbClr val="0078D7"/>
                </a:solidFill>
                <a:round/>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1" name="Oval 13">
                <a:extLst>
                  <a:ext uri="{FF2B5EF4-FFF2-40B4-BE49-F238E27FC236}">
                    <a16:creationId xmlns:a16="http://schemas.microsoft.com/office/drawing/2014/main" id="{5ADE7A7F-D067-4B64-B8F1-C32D5A9FF8C1}"/>
                  </a:ext>
                </a:extLst>
              </p:cNvPr>
              <p:cNvSpPr>
                <a:spLocks noChangeArrowheads="1"/>
              </p:cNvSpPr>
              <p:nvPr/>
            </p:nvSpPr>
            <p:spPr bwMode="auto">
              <a:xfrm>
                <a:off x="2579343" y="4564258"/>
                <a:ext cx="76768" cy="76767"/>
              </a:xfrm>
              <a:prstGeom prst="ellipse">
                <a:avLst/>
              </a:prstGeom>
              <a:noFill/>
              <a:ln w="12700">
                <a:solidFill>
                  <a:srgbClr val="0078D7"/>
                </a:solidFill>
                <a:round/>
                <a:headEnd/>
                <a:tailEnd/>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6" name="Group 25">
              <a:extLst>
                <a:ext uri="{FF2B5EF4-FFF2-40B4-BE49-F238E27FC236}">
                  <a16:creationId xmlns:a16="http://schemas.microsoft.com/office/drawing/2014/main" id="{11464112-7E74-4074-A2A6-76C6958C8E58}"/>
                </a:ext>
              </a:extLst>
            </p:cNvPr>
            <p:cNvGrpSpPr/>
            <p:nvPr/>
          </p:nvGrpSpPr>
          <p:grpSpPr>
            <a:xfrm>
              <a:off x="1798556" y="4956408"/>
              <a:ext cx="368866" cy="347167"/>
              <a:chOff x="2202934" y="1701907"/>
              <a:chExt cx="95690" cy="90061"/>
            </a:xfrm>
          </p:grpSpPr>
          <p:sp>
            <p:nvSpPr>
              <p:cNvPr id="27" name="Freeform 14">
                <a:extLst>
                  <a:ext uri="{FF2B5EF4-FFF2-40B4-BE49-F238E27FC236}">
                    <a16:creationId xmlns:a16="http://schemas.microsoft.com/office/drawing/2014/main" id="{AE0534CE-C9E1-4F92-873E-0A489B5F2597}"/>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177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8" name="Line 15">
                <a:extLst>
                  <a:ext uri="{FF2B5EF4-FFF2-40B4-BE49-F238E27FC236}">
                    <a16:creationId xmlns:a16="http://schemas.microsoft.com/office/drawing/2014/main" id="{8B5CD2F1-2DD4-451B-BC4B-B29453E90058}"/>
                  </a:ext>
                </a:extLst>
              </p:cNvPr>
              <p:cNvSpPr>
                <a:spLocks noChangeShapeType="1"/>
              </p:cNvSpPr>
              <p:nvPr/>
            </p:nvSpPr>
            <p:spPr bwMode="auto">
              <a:xfrm>
                <a:off x="2253117" y="1755381"/>
                <a:ext cx="0" cy="36587"/>
              </a:xfrm>
              <a:prstGeom prst="line">
                <a:avLst/>
              </a:prstGeom>
              <a:noFill/>
              <a:ln w="12700" cap="flat">
                <a:solidFill>
                  <a:srgbClr val="0177D7"/>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
        <p:nvSpPr>
          <p:cNvPr id="34" name="TextBox 33">
            <a:extLst>
              <a:ext uri="{FF2B5EF4-FFF2-40B4-BE49-F238E27FC236}">
                <a16:creationId xmlns:a16="http://schemas.microsoft.com/office/drawing/2014/main" id="{8A00E0A3-5687-4C94-AE8B-B8E32B33B5A9}"/>
              </a:ext>
            </a:extLst>
          </p:cNvPr>
          <p:cNvSpPr txBox="1"/>
          <p:nvPr/>
        </p:nvSpPr>
        <p:spPr>
          <a:xfrm>
            <a:off x="731478" y="4256966"/>
            <a:ext cx="948949" cy="461665"/>
          </a:xfrm>
          <a:prstGeom prst="rect">
            <a:avLst/>
          </a:prstGeom>
          <a:noFill/>
          <a:ln>
            <a:noFill/>
          </a:ln>
          <a:effectLst/>
        </p:spPr>
        <p:txBody>
          <a:bodyPr wrap="square" lIns="91440" tIns="45720" rIns="91440" bIns="45720" rtlCol="0">
            <a:spAutoFit/>
          </a:bodyPr>
          <a:lstStyle/>
          <a:p>
            <a:pPr algn="ctr" defTabSz="913154" fontAlgn="base">
              <a:spcBef>
                <a:spcPct val="0"/>
              </a:spcBef>
              <a:spcAft>
                <a:spcPts val="588"/>
              </a:spcAft>
              <a:defRPr/>
            </a:pPr>
            <a:r>
              <a:rPr lang="en-US" sz="1200" kern="0">
                <a:solidFill>
                  <a:srgbClr val="0078D7"/>
                </a:solidFill>
                <a:latin typeface="Segoe UI Semilight" panose="020B0402040204020203" pitchFamily="34" charset="0"/>
                <a:cs typeface="Segoe UI Semilight" panose="020B0402040204020203" pitchFamily="34" charset="0"/>
              </a:rPr>
              <a:t>Business app</a:t>
            </a:r>
          </a:p>
        </p:txBody>
      </p:sp>
      <p:pic>
        <p:nvPicPr>
          <p:cNvPr id="36" name="Picture 35">
            <a:extLst>
              <a:ext uri="{FF2B5EF4-FFF2-40B4-BE49-F238E27FC236}">
                <a16:creationId xmlns:a16="http://schemas.microsoft.com/office/drawing/2014/main" id="{5BCCD1A8-DD0B-44D4-ACF7-3DADB43B72DB}"/>
              </a:ext>
            </a:extLst>
          </p:cNvPr>
          <p:cNvPicPr>
            <a:picLocks noChangeAspect="1"/>
          </p:cNvPicPr>
          <p:nvPr/>
        </p:nvPicPr>
        <p:blipFill>
          <a:blip r:embed="rId5"/>
          <a:stretch>
            <a:fillRect/>
          </a:stretch>
        </p:blipFill>
        <p:spPr>
          <a:xfrm>
            <a:off x="3223175" y="5523091"/>
            <a:ext cx="4541914" cy="914479"/>
          </a:xfrm>
          <a:prstGeom prst="rect">
            <a:avLst/>
          </a:prstGeom>
          <a:ln>
            <a:no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DE7840E2-484F-4657-9948-9673CA10A570}"/>
              </a:ext>
            </a:extLst>
          </p:cNvPr>
          <p:cNvPicPr>
            <a:picLocks noChangeAspect="1"/>
          </p:cNvPicPr>
          <p:nvPr/>
        </p:nvPicPr>
        <p:blipFill>
          <a:blip r:embed="rId6"/>
          <a:stretch>
            <a:fillRect/>
          </a:stretch>
        </p:blipFill>
        <p:spPr>
          <a:xfrm>
            <a:off x="8001000" y="5539320"/>
            <a:ext cx="3932261" cy="906859"/>
          </a:xfrm>
          <a:prstGeom prst="rect">
            <a:avLst/>
          </a:prstGeom>
          <a:ln>
            <a:noFill/>
          </a:ln>
          <a:effectLst>
            <a:outerShdw blurRad="292100" dist="139700" dir="2700000" algn="tl" rotWithShape="0">
              <a:srgbClr val="333333">
                <a:alpha val="65000"/>
              </a:srgbClr>
            </a:outerShdw>
          </a:effectLst>
        </p:spPr>
      </p:pic>
      <p:sp>
        <p:nvSpPr>
          <p:cNvPr id="39" name="TextBox 38">
            <a:extLst>
              <a:ext uri="{FF2B5EF4-FFF2-40B4-BE49-F238E27FC236}">
                <a16:creationId xmlns:a16="http://schemas.microsoft.com/office/drawing/2014/main" id="{18135282-4093-4C2B-8150-FBB408C9F858}"/>
              </a:ext>
            </a:extLst>
          </p:cNvPr>
          <p:cNvSpPr txBox="1"/>
          <p:nvPr/>
        </p:nvSpPr>
        <p:spPr>
          <a:xfrm>
            <a:off x="4061618" y="5234442"/>
            <a:ext cx="2819400" cy="215444"/>
          </a:xfrm>
          <a:prstGeom prst="rect">
            <a:avLst/>
          </a:prstGeom>
          <a:noFill/>
        </p:spPr>
        <p:txBody>
          <a:bodyPr wrap="square" lIns="0" tIns="0" rIns="0" bIns="0" rtlCol="0">
            <a:spAutoFit/>
          </a:bodyPr>
          <a:lstStyle/>
          <a:p>
            <a:pPr algn="ctr"/>
            <a:r>
              <a:rPr lang="en-US" sz="1400">
                <a:gradFill>
                  <a:gsLst>
                    <a:gs pos="2917">
                      <a:schemeClr val="tx1"/>
                    </a:gs>
                    <a:gs pos="30000">
                      <a:schemeClr val="tx1"/>
                    </a:gs>
                  </a:gsLst>
                  <a:lin ang="5400000" scaled="0"/>
                </a:gradFill>
              </a:rPr>
              <a:t>Other Login</a:t>
            </a:r>
          </a:p>
        </p:txBody>
      </p:sp>
      <p:sp>
        <p:nvSpPr>
          <p:cNvPr id="41" name="TextBox 40">
            <a:extLst>
              <a:ext uri="{FF2B5EF4-FFF2-40B4-BE49-F238E27FC236}">
                <a16:creationId xmlns:a16="http://schemas.microsoft.com/office/drawing/2014/main" id="{DE152902-89D8-425C-80BF-B1F3B141563C}"/>
              </a:ext>
            </a:extLst>
          </p:cNvPr>
          <p:cNvSpPr txBox="1"/>
          <p:nvPr/>
        </p:nvSpPr>
        <p:spPr>
          <a:xfrm>
            <a:off x="8558604" y="5218583"/>
            <a:ext cx="2819400" cy="215444"/>
          </a:xfrm>
          <a:prstGeom prst="rect">
            <a:avLst/>
          </a:prstGeom>
          <a:noFill/>
        </p:spPr>
        <p:txBody>
          <a:bodyPr wrap="square" lIns="0" tIns="0" rIns="0" bIns="0" rtlCol="0">
            <a:spAutoFit/>
          </a:bodyPr>
          <a:lstStyle/>
          <a:p>
            <a:pPr algn="ctr"/>
            <a:r>
              <a:rPr lang="en-US" sz="1400">
                <a:gradFill>
                  <a:gsLst>
                    <a:gs pos="2917">
                      <a:schemeClr val="tx1"/>
                    </a:gs>
                    <a:gs pos="30000">
                      <a:schemeClr val="tx1"/>
                    </a:gs>
                  </a:gsLst>
                  <a:lin ang="5400000" scaled="0"/>
                </a:gradFill>
              </a:rPr>
              <a:t>Admin Login</a:t>
            </a:r>
          </a:p>
        </p:txBody>
      </p:sp>
    </p:spTree>
    <p:extLst>
      <p:ext uri="{BB962C8B-B14F-4D97-AF65-F5344CB8AC3E}">
        <p14:creationId xmlns:p14="http://schemas.microsoft.com/office/powerpoint/2010/main" val="1787149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2750"/>
                                        <p:tgtEl>
                                          <p:spTgt spid="1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75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75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xit" presetSubtype="0" fill="hold" grpId="1" nodeType="clickEffect">
                                  <p:stCondLst>
                                    <p:cond delay="0"/>
                                  </p:stCondLst>
                                  <p:childTnLst>
                                    <p:animEffect transition="out" filter="fade">
                                      <p:cBhvr>
                                        <p:cTn id="25" dur="1000"/>
                                        <p:tgtEl>
                                          <p:spTgt spid="12"/>
                                        </p:tgtEl>
                                      </p:cBhvr>
                                    </p:animEffect>
                                    <p:anim calcmode="lin" valueType="num">
                                      <p:cBhvr>
                                        <p:cTn id="26" dur="1000"/>
                                        <p:tgtEl>
                                          <p:spTgt spid="12"/>
                                        </p:tgtEl>
                                        <p:attrNameLst>
                                          <p:attrName>ppt_x</p:attrName>
                                        </p:attrNameLst>
                                      </p:cBhvr>
                                      <p:tavLst>
                                        <p:tav tm="0">
                                          <p:val>
                                            <p:strVal val="ppt_x"/>
                                          </p:val>
                                        </p:tav>
                                        <p:tav tm="100000">
                                          <p:val>
                                            <p:strVal val="ppt_x"/>
                                          </p:val>
                                        </p:tav>
                                      </p:tavLst>
                                    </p:anim>
                                    <p:anim calcmode="lin" valueType="num">
                                      <p:cBhvr>
                                        <p:cTn id="27" dur="1000"/>
                                        <p:tgtEl>
                                          <p:spTgt spid="12"/>
                                        </p:tgtEl>
                                        <p:attrNameLst>
                                          <p:attrName>ppt_y</p:attrName>
                                        </p:attrNameLst>
                                      </p:cBhvr>
                                      <p:tavLst>
                                        <p:tav tm="0">
                                          <p:val>
                                            <p:strVal val="ppt_y"/>
                                          </p:val>
                                        </p:tav>
                                        <p:tav tm="100000">
                                          <p:val>
                                            <p:strVal val="ppt_y+.1"/>
                                          </p:val>
                                        </p:tav>
                                      </p:tavLst>
                                    </p:anim>
                                    <p:set>
                                      <p:cBhvr>
                                        <p:cTn id="28" dur="1" fill="hold">
                                          <p:stCondLst>
                                            <p:cond delay="999"/>
                                          </p:stCondLst>
                                        </p:cTn>
                                        <p:tgtEl>
                                          <p:spTgt spid="12"/>
                                        </p:tgtEl>
                                        <p:attrNameLst>
                                          <p:attrName>style.visibility</p:attrName>
                                        </p:attrNameLst>
                                      </p:cBhvr>
                                      <p:to>
                                        <p:strVal val="hidden"/>
                                      </p:to>
                                    </p:set>
                                  </p:childTnLst>
                                </p:cTn>
                              </p:par>
                              <p:par>
                                <p:cTn id="29" presetID="10"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animBg="1"/>
      <p:bldP spid="12" grpId="1"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br>
              <a:rPr lang="en-US"/>
            </a:br>
            <a:endParaRPr lang="en-US"/>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Implement Dynamic Data masking T-SQL Code</a:t>
            </a:r>
          </a:p>
          <a:p>
            <a:pPr marL="571500" lvl="1" indent="-342900">
              <a:buFont typeface="Arial" panose="020B0604020202020204" pitchFamily="34" charset="0"/>
              <a:buChar char="•"/>
            </a:pPr>
            <a:r>
              <a:rPr lang="en-US"/>
              <a:t>Enable Dynamic Data masking using T-SQL.</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689261473"/>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3009-3701-4057-BF65-BFB63A4DFDB3}"/>
              </a:ext>
            </a:extLst>
          </p:cNvPr>
          <p:cNvSpPr>
            <a:spLocks noGrp="1"/>
          </p:cNvSpPr>
          <p:nvPr>
            <p:ph type="title"/>
          </p:nvPr>
        </p:nvSpPr>
        <p:spPr/>
        <p:txBody>
          <a:bodyPr/>
          <a:lstStyle/>
          <a:p>
            <a:r>
              <a:rPr lang="en-US"/>
              <a:t>Types of data encryption </a:t>
            </a:r>
          </a:p>
        </p:txBody>
      </p:sp>
      <p:sp>
        <p:nvSpPr>
          <p:cNvPr id="4" name="TextBox 3">
            <a:extLst>
              <a:ext uri="{FF2B5EF4-FFF2-40B4-BE49-F238E27FC236}">
                <a16:creationId xmlns:a16="http://schemas.microsoft.com/office/drawing/2014/main" id="{2AEDA153-CBAD-4463-B3A0-11C720D7959C}"/>
              </a:ext>
            </a:extLst>
          </p:cNvPr>
          <p:cNvSpPr txBox="1"/>
          <p:nvPr/>
        </p:nvSpPr>
        <p:spPr>
          <a:xfrm>
            <a:off x="8109830" y="5643805"/>
            <a:ext cx="1582649" cy="586699"/>
          </a:xfrm>
          <a:prstGeom prst="rect">
            <a:avLst/>
          </a:prstGeom>
          <a:noFill/>
        </p:spPr>
        <p:txBody>
          <a:bodyPr wrap="square" rtlCol="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rPr>
              <a:t>Database files, backups, Tx log, TempDB</a:t>
            </a:r>
          </a:p>
        </p:txBody>
      </p:sp>
      <p:sp>
        <p:nvSpPr>
          <p:cNvPr id="5" name="TextBox 4">
            <a:extLst>
              <a:ext uri="{FF2B5EF4-FFF2-40B4-BE49-F238E27FC236}">
                <a16:creationId xmlns:a16="http://schemas.microsoft.com/office/drawing/2014/main" id="{D02CB713-3C1C-4442-B3F0-B8BB8D5AD9FD}"/>
              </a:ext>
            </a:extLst>
          </p:cNvPr>
          <p:cNvSpPr txBox="1"/>
          <p:nvPr/>
        </p:nvSpPr>
        <p:spPr>
          <a:xfrm>
            <a:off x="5157844" y="5726204"/>
            <a:ext cx="1438771" cy="257122"/>
          </a:xfrm>
          <a:prstGeom prst="rect">
            <a:avLst/>
          </a:prstGeom>
          <a:noFill/>
        </p:spPr>
        <p:txBody>
          <a:bodyPr wrap="square" rtlCol="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rPr>
              <a:t>Customer data</a:t>
            </a:r>
          </a:p>
        </p:txBody>
      </p:sp>
      <p:sp>
        <p:nvSpPr>
          <p:cNvPr id="6" name="TextBox 5">
            <a:extLst>
              <a:ext uri="{FF2B5EF4-FFF2-40B4-BE49-F238E27FC236}">
                <a16:creationId xmlns:a16="http://schemas.microsoft.com/office/drawing/2014/main" id="{8DB321A2-4B13-4E24-B508-8BDDE68535F4}"/>
              </a:ext>
            </a:extLst>
          </p:cNvPr>
          <p:cNvSpPr txBox="1"/>
          <p:nvPr/>
        </p:nvSpPr>
        <p:spPr>
          <a:xfrm>
            <a:off x="5367755" y="5257800"/>
            <a:ext cx="1039415" cy="280718"/>
          </a:xfrm>
          <a:prstGeom prst="rect">
            <a:avLst/>
          </a:prstGeom>
          <a:noFill/>
        </p:spPr>
        <p:txBody>
          <a:bodyPr wrap="square" rtlCol="0">
            <a:spAutoFit/>
          </a:bodyPr>
          <a:lstStyle/>
          <a:p>
            <a:pPr marL="0" marR="0" lvl="0" indent="0" algn="ctr" defTabSz="932597" eaLnBrk="1" fontAlgn="auto" latinLnBrk="0" hangingPunct="1">
              <a:lnSpc>
                <a:spcPct val="100000"/>
              </a:lnSpc>
              <a:spcBef>
                <a:spcPts val="612"/>
              </a:spcBef>
              <a:spcAft>
                <a:spcPts val="0"/>
              </a:spcAft>
              <a:buClrTx/>
              <a:buSzTx/>
              <a:buFontTx/>
              <a:buNone/>
              <a:tabLst/>
              <a:defRPr/>
            </a:pPr>
            <a:r>
              <a:rPr kumimoji="0" lang="en-US" sz="1224" b="0" i="0" u="none" strike="noStrike" kern="0" cap="none" spc="0" normalizeH="0" baseline="0" noProof="0">
                <a:ln>
                  <a:noFill/>
                </a:ln>
                <a:solidFill>
                  <a:srgbClr val="0078D7"/>
                </a:solidFill>
                <a:effectLst/>
                <a:uLnTx/>
                <a:uFillTx/>
              </a:rPr>
              <a:t>In transit</a:t>
            </a:r>
          </a:p>
        </p:txBody>
      </p:sp>
      <p:sp>
        <p:nvSpPr>
          <p:cNvPr id="7" name="TextBox 6">
            <a:extLst>
              <a:ext uri="{FF2B5EF4-FFF2-40B4-BE49-F238E27FC236}">
                <a16:creationId xmlns:a16="http://schemas.microsoft.com/office/drawing/2014/main" id="{BD9376C4-92F2-4FD6-9193-F6BEAC23D6C3}"/>
              </a:ext>
            </a:extLst>
          </p:cNvPr>
          <p:cNvSpPr txBox="1"/>
          <p:nvPr/>
        </p:nvSpPr>
        <p:spPr>
          <a:xfrm>
            <a:off x="8518423" y="5257800"/>
            <a:ext cx="805303" cy="280718"/>
          </a:xfrm>
          <a:prstGeom prst="rect">
            <a:avLst/>
          </a:prstGeom>
          <a:noFill/>
        </p:spPr>
        <p:txBody>
          <a:bodyPr wrap="square" rtlCol="0">
            <a:spAutoFit/>
          </a:bodyPr>
          <a:lstStyle/>
          <a:p>
            <a:pPr marL="0" marR="0" lvl="0" indent="0" algn="ctr" defTabSz="932597" eaLnBrk="1" fontAlgn="auto" latinLnBrk="0" hangingPunct="1">
              <a:lnSpc>
                <a:spcPct val="100000"/>
              </a:lnSpc>
              <a:spcBef>
                <a:spcPts val="612"/>
              </a:spcBef>
              <a:spcAft>
                <a:spcPts val="0"/>
              </a:spcAft>
              <a:buClrTx/>
              <a:buSzTx/>
              <a:buFontTx/>
              <a:buNone/>
              <a:tabLst/>
              <a:defRPr/>
            </a:pPr>
            <a:r>
              <a:rPr kumimoji="0" lang="en-US" sz="1224" b="0" i="0" u="none" strike="noStrike" kern="0" cap="none" spc="0" normalizeH="0" baseline="0" noProof="0">
                <a:ln>
                  <a:noFill/>
                </a:ln>
                <a:solidFill>
                  <a:srgbClr val="0078D7"/>
                </a:solidFill>
                <a:effectLst/>
                <a:uLnTx/>
                <a:uFillTx/>
              </a:rPr>
              <a:t>At rest</a:t>
            </a:r>
          </a:p>
        </p:txBody>
      </p:sp>
      <p:sp>
        <p:nvSpPr>
          <p:cNvPr id="8" name="TextBox 7">
            <a:extLst>
              <a:ext uri="{FF2B5EF4-FFF2-40B4-BE49-F238E27FC236}">
                <a16:creationId xmlns:a16="http://schemas.microsoft.com/office/drawing/2014/main" id="{086DB2C1-4C7E-483B-A66C-AEBF866A0006}"/>
              </a:ext>
            </a:extLst>
          </p:cNvPr>
          <p:cNvSpPr txBox="1"/>
          <p:nvPr/>
        </p:nvSpPr>
        <p:spPr>
          <a:xfrm>
            <a:off x="2225755" y="5257800"/>
            <a:ext cx="978857" cy="280718"/>
          </a:xfrm>
          <a:prstGeom prst="rect">
            <a:avLst/>
          </a:prstGeom>
          <a:noFill/>
        </p:spPr>
        <p:txBody>
          <a:bodyPr wrap="square" rtlCol="0">
            <a:spAutoFit/>
          </a:bodyPr>
          <a:lstStyle/>
          <a:p>
            <a:pPr marL="0" marR="0" lvl="0" indent="0" algn="ctr" defTabSz="932597" eaLnBrk="1" fontAlgn="auto" latinLnBrk="0" hangingPunct="1">
              <a:lnSpc>
                <a:spcPct val="100000"/>
              </a:lnSpc>
              <a:spcBef>
                <a:spcPts val="612"/>
              </a:spcBef>
              <a:spcAft>
                <a:spcPts val="0"/>
              </a:spcAft>
              <a:buClrTx/>
              <a:buSzTx/>
              <a:buFontTx/>
              <a:buNone/>
              <a:tabLst/>
              <a:defRPr/>
            </a:pPr>
            <a:r>
              <a:rPr kumimoji="0" lang="en-US" sz="1224" b="0" i="0" u="none" strike="noStrike" kern="0" cap="none" spc="0" normalizeH="0" baseline="0" noProof="0">
                <a:ln>
                  <a:noFill/>
                </a:ln>
                <a:solidFill>
                  <a:srgbClr val="0078D7"/>
                </a:solidFill>
                <a:effectLst/>
                <a:uLnTx/>
                <a:uFillTx/>
              </a:rPr>
              <a:t>In use</a:t>
            </a:r>
          </a:p>
        </p:txBody>
      </p:sp>
      <p:sp>
        <p:nvSpPr>
          <p:cNvPr id="9" name="Freeform 128">
            <a:extLst>
              <a:ext uri="{FF2B5EF4-FFF2-40B4-BE49-F238E27FC236}">
                <a16:creationId xmlns:a16="http://schemas.microsoft.com/office/drawing/2014/main" id="{999D7D25-4854-480C-96BB-13DF8A401DE9}"/>
              </a:ext>
            </a:extLst>
          </p:cNvPr>
          <p:cNvSpPr>
            <a:spLocks noChangeAspect="1" noEditPoints="1"/>
          </p:cNvSpPr>
          <p:nvPr/>
        </p:nvSpPr>
        <p:spPr bwMode="black">
          <a:xfrm>
            <a:off x="10269218" y="4529092"/>
            <a:ext cx="827087" cy="728113"/>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p:spPr>
        <p:txBody>
          <a:bodyPr vert="horz" wrap="square" lIns="95135" tIns="47567" rIns="95135" bIns="47567"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aphicFrame>
        <p:nvGraphicFramePr>
          <p:cNvPr id="10" name="Table 9">
            <a:extLst>
              <a:ext uri="{FF2B5EF4-FFF2-40B4-BE49-F238E27FC236}">
                <a16:creationId xmlns:a16="http://schemas.microsoft.com/office/drawing/2014/main" id="{A13FFBFC-D3E9-4F75-8FA3-A0B1EB840D80}"/>
              </a:ext>
            </a:extLst>
          </p:cNvPr>
          <p:cNvGraphicFramePr>
            <a:graphicFrameLocks noGrp="1"/>
          </p:cNvGraphicFramePr>
          <p:nvPr>
            <p:extLst>
              <p:ext uri="{D42A27DB-BD31-4B8C-83A1-F6EECF244321}">
                <p14:modId xmlns:p14="http://schemas.microsoft.com/office/powerpoint/2010/main" val="1994832979"/>
              </p:ext>
            </p:extLst>
          </p:nvPr>
        </p:nvGraphicFramePr>
        <p:xfrm>
          <a:off x="655637" y="1408114"/>
          <a:ext cx="10880725" cy="3777382"/>
        </p:xfrm>
        <a:graphic>
          <a:graphicData uri="http://schemas.openxmlformats.org/drawingml/2006/table">
            <a:tbl>
              <a:tblPr firstRow="1">
                <a:tableStyleId>{9DCAF9ED-07DC-4A11-8D7F-57B35C25682E}</a:tableStyleId>
              </a:tblPr>
              <a:tblGrid>
                <a:gridCol w="2121267">
                  <a:extLst>
                    <a:ext uri="{9D8B030D-6E8A-4147-A177-3AD203B41FA5}">
                      <a16:colId xmlns:a16="http://schemas.microsoft.com/office/drawing/2014/main" val="20000"/>
                    </a:ext>
                  </a:extLst>
                </a:gridCol>
                <a:gridCol w="2782487">
                  <a:extLst>
                    <a:ext uri="{9D8B030D-6E8A-4147-A177-3AD203B41FA5}">
                      <a16:colId xmlns:a16="http://schemas.microsoft.com/office/drawing/2014/main" val="20001"/>
                    </a:ext>
                  </a:extLst>
                </a:gridCol>
                <a:gridCol w="5976971">
                  <a:extLst>
                    <a:ext uri="{9D8B030D-6E8A-4147-A177-3AD203B41FA5}">
                      <a16:colId xmlns:a16="http://schemas.microsoft.com/office/drawing/2014/main" val="20002"/>
                    </a:ext>
                  </a:extLst>
                </a:gridCol>
              </a:tblGrid>
              <a:tr h="385401">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spcBef>
                          <a:spcPts val="588"/>
                        </a:spcBef>
                        <a:spcAft>
                          <a:spcPts val="1176"/>
                        </a:spcAft>
                      </a:pPr>
                      <a:r>
                        <a:rPr lang="en-US" sz="1400" b="1" kern="1200">
                          <a:solidFill>
                            <a:schemeClr val="bg1"/>
                          </a:solidFill>
                        </a:rPr>
                        <a:t>Data encryption </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marL="186521" marR="20895" marT="93260" marB="93260"/>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spcBef>
                          <a:spcPts val="588"/>
                        </a:spcBef>
                        <a:spcAft>
                          <a:spcPts val="1176"/>
                        </a:spcAft>
                      </a:pPr>
                      <a:r>
                        <a:rPr lang="en-US" sz="1400" b="1" kern="1200">
                          <a:solidFill>
                            <a:schemeClr val="bg1"/>
                          </a:solidFill>
                        </a:rPr>
                        <a:t>Encryption technology</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marL="186521" marR="20895" marT="93260" marB="93260"/>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spcBef>
                          <a:spcPts val="588"/>
                        </a:spcBef>
                        <a:spcAft>
                          <a:spcPts val="1176"/>
                        </a:spcAft>
                      </a:pPr>
                      <a:r>
                        <a:rPr lang="en-US" sz="1400" b="1" kern="1200">
                          <a:solidFill>
                            <a:schemeClr val="bg1"/>
                          </a:solidFill>
                        </a:rPr>
                        <a:t>Customer value</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marL="186521" marR="20895" marT="93260" marB="93260"/>
                </a:tc>
                <a:extLst>
                  <a:ext uri="{0D108BD9-81ED-4DB2-BD59-A6C34878D82A}">
                    <a16:rowId xmlns:a16="http://schemas.microsoft.com/office/drawing/2014/main" val="10000"/>
                  </a:ext>
                </a:extLst>
              </a:tr>
              <a:tr h="116801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r>
                        <a:rPr lang="en-US" sz="1600" kern="1200"/>
                        <a:t>In transit</a:t>
                      </a:r>
                      <a:endParaRPr lang="en-US" sz="1600" kern="1200">
                        <a:solidFill>
                          <a:schemeClr val="tx1"/>
                        </a:solidFill>
                        <a:latin typeface="Segoe UI Semibold" panose="020B0702040204020203" pitchFamily="34" charset="0"/>
                        <a:ea typeface="+mn-ea"/>
                        <a:cs typeface="Segoe UI Semibold" panose="020B0702040204020203" pitchFamily="34" charset="0"/>
                      </a:endParaRPr>
                    </a:p>
                  </a:txBody>
                  <a:tcPr marL="186521" marR="186521"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r>
                        <a:rPr lang="en-US" sz="1400" kern="1200"/>
                        <a:t>Transport Layer Security (TLS) from the client to the server.</a:t>
                      </a:r>
                      <a:endParaRPr lang="en-US" sz="1400" kern="1200">
                        <a:solidFill>
                          <a:schemeClr val="tx1"/>
                        </a:solidFill>
                        <a:latin typeface="+mn-lt"/>
                        <a:ea typeface="+mn-ea"/>
                        <a:cs typeface="+mn-cs"/>
                      </a:endParaRPr>
                    </a:p>
                  </a:txBody>
                  <a:tcPr marL="186521" marR="93260"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fontAlgn="base" latinLnBrk="0" hangingPunct="1">
                        <a:lnSpc>
                          <a:spcPct val="110000"/>
                        </a:lnSpc>
                        <a:spcBef>
                          <a:spcPct val="0"/>
                        </a:spcBef>
                        <a:spcAft>
                          <a:spcPts val="600"/>
                        </a:spcAft>
                        <a:defRPr/>
                      </a:pPr>
                      <a:r>
                        <a:rPr lang="en-US" sz="1400" kern="1200"/>
                        <a:t>Protects data between client and server against snooping and </a:t>
                      </a:r>
                      <a:br>
                        <a:rPr lang="en-US" sz="1400" kern="1200"/>
                      </a:br>
                      <a:r>
                        <a:rPr lang="en-US" sz="1400" kern="1200"/>
                        <a:t>man-in-the-middle attacks.</a:t>
                      </a:r>
                    </a:p>
                    <a:p>
                      <a:pPr marL="0" lvl="1" algn="l" defTabSz="914367" rtl="0" eaLnBrk="1" fontAlgn="base" latinLnBrk="0" hangingPunct="1">
                        <a:lnSpc>
                          <a:spcPct val="110000"/>
                        </a:lnSpc>
                        <a:spcBef>
                          <a:spcPct val="0"/>
                        </a:spcBef>
                        <a:spcAft>
                          <a:spcPts val="600"/>
                        </a:spcAft>
                        <a:defRPr/>
                      </a:pPr>
                      <a:r>
                        <a:rPr lang="en-US" sz="1200" kern="1200"/>
                        <a:t>NOTE: Azure SQL Database is phasing out Secure Sockets Layer (SSL) 3.0 and TLS 1.0 in favor of TLS 1.2.</a:t>
                      </a:r>
                      <a:endParaRPr lang="en-US" sz="1200" kern="1200">
                        <a:solidFill>
                          <a:schemeClr val="tx1"/>
                        </a:solidFill>
                        <a:latin typeface="+mn-lt"/>
                        <a:ea typeface="+mn-ea"/>
                        <a:cs typeface="+mn-cs"/>
                      </a:endParaRPr>
                    </a:p>
                  </a:txBody>
                  <a:tcPr marL="186521" marR="93260" marT="93260" marB="186521" anchor="ctr"/>
                </a:tc>
                <a:extLst>
                  <a:ext uri="{0D108BD9-81ED-4DB2-BD59-A6C34878D82A}">
                    <a16:rowId xmlns:a16="http://schemas.microsoft.com/office/drawing/2014/main" val="10001"/>
                  </a:ext>
                </a:extLst>
              </a:tr>
              <a:tr h="930495">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r>
                        <a:rPr lang="en-US" sz="1600" kern="1200"/>
                        <a:t>At rest</a:t>
                      </a:r>
                      <a:endParaRPr lang="en-US" sz="1600" kern="1200">
                        <a:solidFill>
                          <a:schemeClr val="tx1"/>
                        </a:solidFill>
                        <a:latin typeface="Segoe UI Semibold" panose="020B0702040204020203" pitchFamily="34" charset="0"/>
                        <a:ea typeface="+mn-ea"/>
                        <a:cs typeface="Segoe UI Semibold" panose="020B0702040204020203" pitchFamily="34" charset="0"/>
                      </a:endParaRPr>
                    </a:p>
                  </a:txBody>
                  <a:tcPr marL="186521" marR="186521"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r>
                        <a:rPr lang="en-US" sz="1400" kern="1200"/>
                        <a:t>Transparent Data Encryption (TDE) for Azure SQL Database.</a:t>
                      </a:r>
                      <a:endParaRPr lang="en-US" sz="1400" kern="1200">
                        <a:solidFill>
                          <a:schemeClr val="tx1"/>
                        </a:solidFill>
                        <a:latin typeface="+mn-lt"/>
                        <a:ea typeface="+mn-ea"/>
                        <a:cs typeface="+mn-cs"/>
                      </a:endParaRPr>
                    </a:p>
                  </a:txBody>
                  <a:tcPr marL="186521" marR="93260"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lnSpc>
                          <a:spcPct val="110000"/>
                        </a:lnSpc>
                      </a:pPr>
                      <a:r>
                        <a:rPr lang="en-US" sz="1400" kern="1200"/>
                        <a:t>Protects data on the disk. </a:t>
                      </a:r>
                    </a:p>
                    <a:p>
                      <a:pPr marL="0" algn="l" defTabSz="914367" rtl="0" eaLnBrk="1" latinLnBrk="0" hangingPunct="1">
                        <a:lnSpc>
                          <a:spcPct val="110000"/>
                        </a:lnSpc>
                      </a:pPr>
                      <a:r>
                        <a:rPr lang="en-US" sz="1400" kern="1200"/>
                        <a:t>Key management is done by Azure, which makes it easier to obtain compliance.</a:t>
                      </a:r>
                      <a:endParaRPr lang="en-US" sz="1400" kern="1200" noProof="0">
                        <a:solidFill>
                          <a:schemeClr val="tx1"/>
                        </a:solidFill>
                        <a:latin typeface="+mn-lt"/>
                        <a:ea typeface="+mn-ea"/>
                        <a:cs typeface="+mn-cs"/>
                      </a:endParaRPr>
                    </a:p>
                  </a:txBody>
                  <a:tcPr marL="186521" marR="93260" marT="93260" marB="186521" anchor="ctr"/>
                </a:tc>
                <a:extLst>
                  <a:ext uri="{0D108BD9-81ED-4DB2-BD59-A6C34878D82A}">
                    <a16:rowId xmlns:a16="http://schemas.microsoft.com/office/drawing/2014/main" val="10002"/>
                  </a:ext>
                </a:extLst>
              </a:tr>
              <a:tr h="1156693">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r>
                        <a:rPr lang="en-US" sz="1600" kern="1200"/>
                        <a:t>In use (end-to-end)</a:t>
                      </a:r>
                      <a:endParaRPr lang="en-US" sz="1600" kern="1200">
                        <a:solidFill>
                          <a:schemeClr val="tx1"/>
                        </a:solidFill>
                        <a:latin typeface="Segoe UI Semibold" panose="020B0702040204020203" pitchFamily="34" charset="0"/>
                        <a:ea typeface="+mn-ea"/>
                        <a:cs typeface="Segoe UI Semibold" panose="020B0702040204020203" pitchFamily="34" charset="0"/>
                      </a:endParaRPr>
                    </a:p>
                  </a:txBody>
                  <a:tcPr marL="186521" marR="186521"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400" kern="1200"/>
                        <a:t>Always Encrypted for client-side column encryption.</a:t>
                      </a:r>
                      <a:endParaRPr lang="en-US" sz="1400" kern="1200">
                        <a:solidFill>
                          <a:schemeClr val="tx1"/>
                        </a:solidFill>
                        <a:latin typeface="+mn-lt"/>
                        <a:ea typeface="+mn-ea"/>
                        <a:cs typeface="+mn-cs"/>
                      </a:endParaRPr>
                    </a:p>
                  </a:txBody>
                  <a:tcPr marL="186521" marR="93260" marT="93260" marB="186521" anchor="ct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algn="l" defTabSz="914367" rtl="0" eaLnBrk="1" latinLnBrk="0" hangingPunct="1">
                        <a:lnSpc>
                          <a:spcPct val="110000"/>
                        </a:lnSpc>
                      </a:pPr>
                      <a:r>
                        <a:rPr lang="en-US" sz="1400" kern="1200"/>
                        <a:t>Data is protected end-to-end, but the application is aware of encrypted columns. </a:t>
                      </a:r>
                    </a:p>
                    <a:p>
                      <a:pPr marL="0" algn="l" defTabSz="914367" rtl="0" eaLnBrk="1" latinLnBrk="0" hangingPunct="1">
                        <a:lnSpc>
                          <a:spcPct val="110000"/>
                        </a:lnSpc>
                      </a:pPr>
                      <a:r>
                        <a:rPr lang="en-US" sz="1400" kern="1200"/>
                        <a:t>This is used in the absence of data masking and TDE for compliance-related scenarios.</a:t>
                      </a:r>
                      <a:endParaRPr lang="en-US" sz="1400" kern="1200">
                        <a:solidFill>
                          <a:schemeClr val="tx1"/>
                        </a:solidFill>
                        <a:latin typeface="+mn-lt"/>
                        <a:ea typeface="+mn-ea"/>
                        <a:cs typeface="+mn-cs"/>
                      </a:endParaRPr>
                    </a:p>
                  </a:txBody>
                  <a:tcPr marL="186521" marR="93260" marT="93260" marB="186521" anchor="ctr"/>
                </a:tc>
                <a:extLst>
                  <a:ext uri="{0D108BD9-81ED-4DB2-BD59-A6C34878D82A}">
                    <a16:rowId xmlns:a16="http://schemas.microsoft.com/office/drawing/2014/main" val="10003"/>
                  </a:ext>
                </a:extLst>
              </a:tr>
            </a:tbl>
          </a:graphicData>
        </a:graphic>
      </p:graphicFrame>
      <p:sp>
        <p:nvSpPr>
          <p:cNvPr id="11" name="TextBox 10">
            <a:extLst>
              <a:ext uri="{FF2B5EF4-FFF2-40B4-BE49-F238E27FC236}">
                <a16:creationId xmlns:a16="http://schemas.microsoft.com/office/drawing/2014/main" id="{E007AE9E-D839-4ACC-BDFA-384E99F64A90}"/>
              </a:ext>
            </a:extLst>
          </p:cNvPr>
          <p:cNvSpPr txBox="1"/>
          <p:nvPr/>
        </p:nvSpPr>
        <p:spPr>
          <a:xfrm>
            <a:off x="2054637" y="5726204"/>
            <a:ext cx="1304409" cy="421910"/>
          </a:xfrm>
          <a:prstGeom prst="rect">
            <a:avLst/>
          </a:prstGeom>
          <a:noFill/>
        </p:spPr>
        <p:txBody>
          <a:bodyPr wrap="square" rtlCol="0">
            <a:spAutoFit/>
          </a:bodyPr>
          <a:lstStyle/>
          <a:p>
            <a:pPr marL="0" marR="0" lvl="0" indent="0" algn="ctr" defTabSz="932597" eaLnBrk="1" fontAlgn="auto" latinLnBrk="0" hangingPunct="1">
              <a:lnSpc>
                <a:spcPct val="100000"/>
              </a:lnSpc>
              <a:spcBef>
                <a:spcPts val="612"/>
              </a:spcBef>
              <a:spcAft>
                <a:spcPts val="0"/>
              </a:spcAft>
              <a:buClrTx/>
              <a:buSzTx/>
              <a:buFontTx/>
              <a:buNone/>
              <a:tabLst/>
              <a:defRPr/>
            </a:pPr>
            <a:r>
              <a:rPr kumimoji="0" lang="en-US" sz="1071" b="0" i="0" u="none" strike="noStrike" kern="0" cap="none" spc="0" normalizeH="0" baseline="0" noProof="0">
                <a:ln>
                  <a:noFill/>
                </a:ln>
                <a:solidFill>
                  <a:srgbClr val="0078D7"/>
                </a:solidFill>
                <a:effectLst/>
                <a:uLnTx/>
                <a:uFillTx/>
              </a:rPr>
              <a:t>Column encryption</a:t>
            </a:r>
          </a:p>
        </p:txBody>
      </p:sp>
      <p:cxnSp>
        <p:nvCxnSpPr>
          <p:cNvPr id="12" name="Straight Arrow Connector 11">
            <a:extLst>
              <a:ext uri="{FF2B5EF4-FFF2-40B4-BE49-F238E27FC236}">
                <a16:creationId xmlns:a16="http://schemas.microsoft.com/office/drawing/2014/main" id="{69DC3778-E408-4AD4-9613-815974BDD324}"/>
              </a:ext>
            </a:extLst>
          </p:cNvPr>
          <p:cNvCxnSpPr/>
          <p:nvPr/>
        </p:nvCxnSpPr>
        <p:spPr>
          <a:xfrm>
            <a:off x="1854294" y="5623824"/>
            <a:ext cx="1685562" cy="0"/>
          </a:xfrm>
          <a:prstGeom prst="straightConnector1">
            <a:avLst/>
          </a:prstGeom>
          <a:noFill/>
          <a:ln w="12700" cap="flat" cmpd="sng" algn="ctr">
            <a:solidFill>
              <a:srgbClr val="002050"/>
            </a:solidFill>
            <a:prstDash val="solid"/>
            <a:headEnd type="triangle"/>
            <a:tailEnd type="triangle"/>
          </a:ln>
          <a:effectLst/>
        </p:spPr>
      </p:cxnSp>
      <p:cxnSp>
        <p:nvCxnSpPr>
          <p:cNvPr id="13" name="Straight Arrow Connector 12">
            <a:extLst>
              <a:ext uri="{FF2B5EF4-FFF2-40B4-BE49-F238E27FC236}">
                <a16:creationId xmlns:a16="http://schemas.microsoft.com/office/drawing/2014/main" id="{0A20280D-0F28-4BC3-9680-E95533D6EFDF}"/>
              </a:ext>
            </a:extLst>
          </p:cNvPr>
          <p:cNvCxnSpPr/>
          <p:nvPr/>
        </p:nvCxnSpPr>
        <p:spPr>
          <a:xfrm>
            <a:off x="5028123" y="5623824"/>
            <a:ext cx="1685562" cy="0"/>
          </a:xfrm>
          <a:prstGeom prst="straightConnector1">
            <a:avLst/>
          </a:prstGeom>
          <a:noFill/>
          <a:ln w="12700" cap="flat" cmpd="sng" algn="ctr">
            <a:solidFill>
              <a:srgbClr val="002050"/>
            </a:solidFill>
            <a:prstDash val="solid"/>
            <a:headEnd type="triangle"/>
            <a:tailEnd type="triangle"/>
          </a:ln>
          <a:effectLst/>
        </p:spPr>
      </p:cxnSp>
      <p:cxnSp>
        <p:nvCxnSpPr>
          <p:cNvPr id="14" name="Straight Arrow Connector 13">
            <a:extLst>
              <a:ext uri="{FF2B5EF4-FFF2-40B4-BE49-F238E27FC236}">
                <a16:creationId xmlns:a16="http://schemas.microsoft.com/office/drawing/2014/main" id="{2725C408-EB34-4DE7-A151-0F35B4EA357D}"/>
              </a:ext>
            </a:extLst>
          </p:cNvPr>
          <p:cNvCxnSpPr/>
          <p:nvPr/>
        </p:nvCxnSpPr>
        <p:spPr>
          <a:xfrm>
            <a:off x="8055737" y="5623824"/>
            <a:ext cx="1685562" cy="0"/>
          </a:xfrm>
          <a:prstGeom prst="straightConnector1">
            <a:avLst/>
          </a:prstGeom>
          <a:noFill/>
          <a:ln w="12700" cap="flat" cmpd="sng" algn="ctr">
            <a:solidFill>
              <a:srgbClr val="002050"/>
            </a:solidFill>
            <a:prstDash val="solid"/>
            <a:headEnd type="triangle"/>
            <a:tailEnd type="triangle"/>
          </a:ln>
          <a:effectLst/>
        </p:spPr>
      </p:cxnSp>
      <p:sp>
        <p:nvSpPr>
          <p:cNvPr id="15" name="Freeform 5">
            <a:extLst>
              <a:ext uri="{FF2B5EF4-FFF2-40B4-BE49-F238E27FC236}">
                <a16:creationId xmlns:a16="http://schemas.microsoft.com/office/drawing/2014/main" id="{B29BBAB0-630D-4C36-99E1-372F63D9F37A}"/>
              </a:ext>
            </a:extLst>
          </p:cNvPr>
          <p:cNvSpPr>
            <a:spLocks noEditPoints="1"/>
          </p:cNvSpPr>
          <p:nvPr/>
        </p:nvSpPr>
        <p:spPr bwMode="auto">
          <a:xfrm>
            <a:off x="1066800" y="5380170"/>
            <a:ext cx="363094" cy="36197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505050"/>
              </a:solidFill>
              <a:effectLst/>
              <a:uLnTx/>
              <a:uFillTx/>
            </a:endParaRPr>
          </a:p>
        </p:txBody>
      </p:sp>
      <p:grpSp>
        <p:nvGrpSpPr>
          <p:cNvPr id="16" name="Group 15">
            <a:extLst>
              <a:ext uri="{FF2B5EF4-FFF2-40B4-BE49-F238E27FC236}">
                <a16:creationId xmlns:a16="http://schemas.microsoft.com/office/drawing/2014/main" id="{B5D04653-E847-46A7-9547-C7E632DB5E03}"/>
              </a:ext>
            </a:extLst>
          </p:cNvPr>
          <p:cNvGrpSpPr/>
          <p:nvPr/>
        </p:nvGrpSpPr>
        <p:grpSpPr>
          <a:xfrm>
            <a:off x="4032031" y="5337363"/>
            <a:ext cx="561522" cy="426204"/>
            <a:chOff x="2107244" y="1575258"/>
            <a:chExt cx="310993" cy="264555"/>
          </a:xfrm>
        </p:grpSpPr>
        <p:grpSp>
          <p:nvGrpSpPr>
            <p:cNvPr id="17" name="Group 16">
              <a:extLst>
                <a:ext uri="{FF2B5EF4-FFF2-40B4-BE49-F238E27FC236}">
                  <a16:creationId xmlns:a16="http://schemas.microsoft.com/office/drawing/2014/main" id="{5BD1F870-AFB4-4EAC-8F2F-B4C7452B9FE9}"/>
                </a:ext>
              </a:extLst>
            </p:cNvPr>
            <p:cNvGrpSpPr/>
            <p:nvPr/>
          </p:nvGrpSpPr>
          <p:grpSpPr>
            <a:xfrm>
              <a:off x="2107244" y="1575258"/>
              <a:ext cx="310993" cy="264555"/>
              <a:chOff x="2107244" y="1575258"/>
              <a:chExt cx="310993" cy="264555"/>
            </a:xfrm>
          </p:grpSpPr>
          <p:sp>
            <p:nvSpPr>
              <p:cNvPr id="25" name="Rectangle 9">
                <a:extLst>
                  <a:ext uri="{FF2B5EF4-FFF2-40B4-BE49-F238E27FC236}">
                    <a16:creationId xmlns:a16="http://schemas.microsoft.com/office/drawing/2014/main" id="{FB9B0B3E-3629-4D5F-BD58-9038615096E2}"/>
                  </a:ext>
                </a:extLst>
              </p:cNvPr>
              <p:cNvSpPr>
                <a:spLocks noChangeArrowheads="1"/>
              </p:cNvSpPr>
              <p:nvPr/>
            </p:nvSpPr>
            <p:spPr bwMode="auto">
              <a:xfrm>
                <a:off x="2107244" y="1575258"/>
                <a:ext cx="310993" cy="264555"/>
              </a:xfrm>
              <a:prstGeom prst="rect">
                <a:avLst/>
              </a:pr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sp>
            <p:nvSpPr>
              <p:cNvPr id="26" name="Line 10">
                <a:extLst>
                  <a:ext uri="{FF2B5EF4-FFF2-40B4-BE49-F238E27FC236}">
                    <a16:creationId xmlns:a16="http://schemas.microsoft.com/office/drawing/2014/main" id="{B4046B9E-8B21-4142-B392-258EE0F82837}"/>
                  </a:ext>
                </a:extLst>
              </p:cNvPr>
              <p:cNvSpPr>
                <a:spLocks noChangeShapeType="1"/>
              </p:cNvSpPr>
              <p:nvPr/>
            </p:nvSpPr>
            <p:spPr bwMode="auto">
              <a:xfrm flipH="1">
                <a:off x="2107244" y="1647026"/>
                <a:ext cx="310993" cy="0"/>
              </a:xfrm>
              <a:prstGeom prst="line">
                <a:avLst/>
              </a:prstGeom>
              <a:noFill/>
              <a:ln w="127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grpSp>
        <p:grpSp>
          <p:nvGrpSpPr>
            <p:cNvPr id="18" name="Group 17">
              <a:extLst>
                <a:ext uri="{FF2B5EF4-FFF2-40B4-BE49-F238E27FC236}">
                  <a16:creationId xmlns:a16="http://schemas.microsoft.com/office/drawing/2014/main" id="{6CB11A60-76BB-4C55-BF86-235DBE5F8D6B}"/>
                </a:ext>
              </a:extLst>
            </p:cNvPr>
            <p:cNvGrpSpPr/>
            <p:nvPr/>
          </p:nvGrpSpPr>
          <p:grpSpPr>
            <a:xfrm>
              <a:off x="2287367" y="1599181"/>
              <a:ext cx="95690" cy="23923"/>
              <a:chOff x="2287367" y="1599181"/>
              <a:chExt cx="95690" cy="23923"/>
            </a:xfrm>
          </p:grpSpPr>
          <p:sp>
            <p:nvSpPr>
              <p:cNvPr id="22" name="Oval 11">
                <a:extLst>
                  <a:ext uri="{FF2B5EF4-FFF2-40B4-BE49-F238E27FC236}">
                    <a16:creationId xmlns:a16="http://schemas.microsoft.com/office/drawing/2014/main" id="{4B803CB7-45A2-421F-8A67-496A9AE66429}"/>
                  </a:ext>
                </a:extLst>
              </p:cNvPr>
              <p:cNvSpPr>
                <a:spLocks noChangeArrowheads="1"/>
              </p:cNvSpPr>
              <p:nvPr/>
            </p:nvSpPr>
            <p:spPr bwMode="auto">
              <a:xfrm>
                <a:off x="2287367" y="1599181"/>
                <a:ext cx="23923" cy="23923"/>
              </a:xfrm>
              <a:prstGeom prst="ellipse">
                <a:avLst/>
              </a:prstGeom>
              <a:solidFill>
                <a:srgbClr val="002050"/>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sp>
            <p:nvSpPr>
              <p:cNvPr id="23" name="Oval 12">
                <a:extLst>
                  <a:ext uri="{FF2B5EF4-FFF2-40B4-BE49-F238E27FC236}">
                    <a16:creationId xmlns:a16="http://schemas.microsoft.com/office/drawing/2014/main" id="{ACE4A308-4CB1-4702-81EB-068944B8B2BA}"/>
                  </a:ext>
                </a:extLst>
              </p:cNvPr>
              <p:cNvSpPr>
                <a:spLocks noChangeArrowheads="1"/>
              </p:cNvSpPr>
              <p:nvPr/>
            </p:nvSpPr>
            <p:spPr bwMode="auto">
              <a:xfrm>
                <a:off x="2322547" y="1599181"/>
                <a:ext cx="23923" cy="23923"/>
              </a:xfrm>
              <a:prstGeom prst="ellipse">
                <a:avLst/>
              </a:prstGeom>
              <a:solidFill>
                <a:srgbClr val="002050"/>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sp>
            <p:nvSpPr>
              <p:cNvPr id="24" name="Oval 13">
                <a:extLst>
                  <a:ext uri="{FF2B5EF4-FFF2-40B4-BE49-F238E27FC236}">
                    <a16:creationId xmlns:a16="http://schemas.microsoft.com/office/drawing/2014/main" id="{E68859EC-E144-4AAA-964F-3AB714FF167B}"/>
                  </a:ext>
                </a:extLst>
              </p:cNvPr>
              <p:cNvSpPr>
                <a:spLocks noChangeArrowheads="1"/>
              </p:cNvSpPr>
              <p:nvPr/>
            </p:nvSpPr>
            <p:spPr bwMode="auto">
              <a:xfrm>
                <a:off x="2359134" y="1599181"/>
                <a:ext cx="23923" cy="23923"/>
              </a:xfrm>
              <a:prstGeom prst="ellipse">
                <a:avLst/>
              </a:prstGeom>
              <a:solidFill>
                <a:srgbClr val="002050"/>
              </a:solidFill>
              <a:ln w="12700">
                <a:noFill/>
                <a:round/>
                <a:headEnd/>
                <a:tailEnd/>
              </a:ln>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grpSp>
        <p:grpSp>
          <p:nvGrpSpPr>
            <p:cNvPr id="19" name="Group 18">
              <a:extLst>
                <a:ext uri="{FF2B5EF4-FFF2-40B4-BE49-F238E27FC236}">
                  <a16:creationId xmlns:a16="http://schemas.microsoft.com/office/drawing/2014/main" id="{F9F45D00-0130-4514-B690-3BE76D06BB30}"/>
                </a:ext>
              </a:extLst>
            </p:cNvPr>
            <p:cNvGrpSpPr/>
            <p:nvPr/>
          </p:nvGrpSpPr>
          <p:grpSpPr>
            <a:xfrm>
              <a:off x="2202934" y="1701907"/>
              <a:ext cx="95690" cy="90061"/>
              <a:chOff x="2202934" y="1701907"/>
              <a:chExt cx="95690" cy="90061"/>
            </a:xfrm>
          </p:grpSpPr>
          <p:sp>
            <p:nvSpPr>
              <p:cNvPr id="20" name="Freeform 14">
                <a:extLst>
                  <a:ext uri="{FF2B5EF4-FFF2-40B4-BE49-F238E27FC236}">
                    <a16:creationId xmlns:a16="http://schemas.microsoft.com/office/drawing/2014/main" id="{205E1F05-DF36-4817-8FC8-28433BC0119C}"/>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sp>
            <p:nvSpPr>
              <p:cNvPr id="21" name="Line 15">
                <a:extLst>
                  <a:ext uri="{FF2B5EF4-FFF2-40B4-BE49-F238E27FC236}">
                    <a16:creationId xmlns:a16="http://schemas.microsoft.com/office/drawing/2014/main" id="{E8430086-70F0-4856-9A2E-F4EEA5B96BA2}"/>
                  </a:ext>
                </a:extLst>
              </p:cNvPr>
              <p:cNvSpPr>
                <a:spLocks noChangeShapeType="1"/>
              </p:cNvSpPr>
              <p:nvPr/>
            </p:nvSpPr>
            <p:spPr bwMode="auto">
              <a:xfrm>
                <a:off x="2253117" y="1755381"/>
                <a:ext cx="0" cy="36587"/>
              </a:xfrm>
              <a:prstGeom prst="line">
                <a:avLst/>
              </a:prstGeom>
              <a:noFill/>
              <a:ln w="1270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defTabSz="95130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3F3F3F"/>
                  </a:solidFill>
                  <a:effectLst/>
                  <a:uLnTx/>
                  <a:uFillTx/>
                </a:endParaRPr>
              </a:p>
            </p:txBody>
          </p:sp>
        </p:grpSp>
      </p:grpSp>
      <p:sp>
        <p:nvSpPr>
          <p:cNvPr id="27" name="Cylinder 513">
            <a:extLst>
              <a:ext uri="{FF2B5EF4-FFF2-40B4-BE49-F238E27FC236}">
                <a16:creationId xmlns:a16="http://schemas.microsoft.com/office/drawing/2014/main" id="{1B14A6AF-6E4C-4DF5-A526-ECF2F7E5D79B}"/>
              </a:ext>
            </a:extLst>
          </p:cNvPr>
          <p:cNvSpPr/>
          <p:nvPr/>
        </p:nvSpPr>
        <p:spPr bwMode="auto">
          <a:xfrm>
            <a:off x="7205861" y="5347300"/>
            <a:ext cx="422434" cy="495175"/>
          </a:xfrm>
          <a:prstGeom prst="can">
            <a:avLst>
              <a:gd name="adj" fmla="val 39530"/>
            </a:avLst>
          </a:prstGeom>
          <a:solidFill>
            <a:srgbClr val="FFFFFF"/>
          </a:solidFill>
          <a:ln w="12700" cap="flat" cmpd="sng" algn="ctr">
            <a:solidFill>
              <a:srgbClr val="002050"/>
            </a:solidFill>
            <a:prstDash val="solid"/>
            <a:headEnd type="none" w="med" len="med"/>
            <a:tailEnd type="none" w="med" len="med"/>
          </a:ln>
          <a:effectLst/>
        </p:spPr>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a:ln>
                <a:noFill/>
              </a:ln>
              <a:solidFill>
                <a:srgbClr val="0078D7"/>
              </a:solidFill>
              <a:effectLst/>
              <a:uLnTx/>
              <a:uFillTx/>
              <a:latin typeface="Segoe UI Semibold" panose="020B0702040204020203" pitchFamily="34" charset="0"/>
              <a:ea typeface="Segoe UI" pitchFamily="34" charset="0"/>
              <a:cs typeface="Segoe UI" pitchFamily="34" charset="0"/>
            </a:endParaRPr>
          </a:p>
        </p:txBody>
      </p:sp>
      <p:grpSp>
        <p:nvGrpSpPr>
          <p:cNvPr id="28" name="Group 27">
            <a:extLst>
              <a:ext uri="{FF2B5EF4-FFF2-40B4-BE49-F238E27FC236}">
                <a16:creationId xmlns:a16="http://schemas.microsoft.com/office/drawing/2014/main" id="{6FBC989F-06D3-4EF9-B659-F1342C43B65A}"/>
              </a:ext>
            </a:extLst>
          </p:cNvPr>
          <p:cNvGrpSpPr/>
          <p:nvPr/>
        </p:nvGrpSpPr>
        <p:grpSpPr>
          <a:xfrm>
            <a:off x="10233476" y="5334000"/>
            <a:ext cx="833128" cy="470773"/>
            <a:chOff x="8100799" y="4516967"/>
            <a:chExt cx="1004342" cy="636058"/>
          </a:xfrm>
        </p:grpSpPr>
        <p:sp>
          <p:nvSpPr>
            <p:cNvPr id="29" name="Freeform 146">
              <a:extLst>
                <a:ext uri="{FF2B5EF4-FFF2-40B4-BE49-F238E27FC236}">
                  <a16:creationId xmlns:a16="http://schemas.microsoft.com/office/drawing/2014/main" id="{91CEA70E-D4CF-4EA6-8500-0AC75E2935F5}"/>
                </a:ext>
              </a:extLst>
            </p:cNvPr>
            <p:cNvSpPr>
              <a:spLocks noChangeAspect="1"/>
            </p:cNvSpPr>
            <p:nvPr/>
          </p:nvSpPr>
          <p:spPr bwMode="auto">
            <a:xfrm>
              <a:off x="8100799" y="4516967"/>
              <a:ext cx="1004342" cy="63605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2050"/>
              </a:solidFill>
              <a:prstDash val="solid"/>
              <a:miter lim="800000"/>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IN" sz="2000" b="1"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endParaRPr>
            </a:p>
          </p:txBody>
        </p:sp>
        <p:grpSp>
          <p:nvGrpSpPr>
            <p:cNvPr id="30" name="Group 29">
              <a:extLst>
                <a:ext uri="{FF2B5EF4-FFF2-40B4-BE49-F238E27FC236}">
                  <a16:creationId xmlns:a16="http://schemas.microsoft.com/office/drawing/2014/main" id="{A42CCEEF-19C3-4CF4-BA71-64483D4B6FE6}"/>
                </a:ext>
              </a:extLst>
            </p:cNvPr>
            <p:cNvGrpSpPr/>
            <p:nvPr/>
          </p:nvGrpSpPr>
          <p:grpSpPr>
            <a:xfrm>
              <a:off x="8526202" y="4690093"/>
              <a:ext cx="293717" cy="359549"/>
              <a:chOff x="965200" y="3436897"/>
              <a:chExt cx="528881" cy="647424"/>
            </a:xfrm>
          </p:grpSpPr>
          <p:grpSp>
            <p:nvGrpSpPr>
              <p:cNvPr id="31" name="Group 30">
                <a:extLst>
                  <a:ext uri="{FF2B5EF4-FFF2-40B4-BE49-F238E27FC236}">
                    <a16:creationId xmlns:a16="http://schemas.microsoft.com/office/drawing/2014/main" id="{04E2ADC2-2F8D-45E2-8C10-203EBFF01163}"/>
                  </a:ext>
                </a:extLst>
              </p:cNvPr>
              <p:cNvGrpSpPr/>
              <p:nvPr/>
            </p:nvGrpSpPr>
            <p:grpSpPr>
              <a:xfrm flipH="1">
                <a:off x="965200" y="3436897"/>
                <a:ext cx="528881" cy="647424"/>
                <a:chOff x="3003960" y="3685414"/>
                <a:chExt cx="403310" cy="493707"/>
              </a:xfrm>
            </p:grpSpPr>
            <p:sp>
              <p:nvSpPr>
                <p:cNvPr id="36" name="Snip Single Corner Rectangle 26">
                  <a:extLst>
                    <a:ext uri="{FF2B5EF4-FFF2-40B4-BE49-F238E27FC236}">
                      <a16:creationId xmlns:a16="http://schemas.microsoft.com/office/drawing/2014/main" id="{A93E1F88-E690-4873-A0D5-5B6FD6FC1F43}"/>
                    </a:ext>
                  </a:extLst>
                </p:cNvPr>
                <p:cNvSpPr/>
                <p:nvPr/>
              </p:nvSpPr>
              <p:spPr bwMode="auto">
                <a:xfrm flipH="1">
                  <a:off x="3003960" y="3685414"/>
                  <a:ext cx="403310" cy="493707"/>
                </a:xfrm>
                <a:prstGeom prst="snip1Rect">
                  <a:avLst>
                    <a:gd name="adj" fmla="val 28736"/>
                  </a:avLst>
                </a:prstGeom>
                <a:noFill/>
                <a:ln w="12700" cap="flat" cmpd="sng" algn="ctr">
                  <a:solidFill>
                    <a:srgbClr val="002050"/>
                  </a:solid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riangle 27">
                  <a:extLst>
                    <a:ext uri="{FF2B5EF4-FFF2-40B4-BE49-F238E27FC236}">
                      <a16:creationId xmlns:a16="http://schemas.microsoft.com/office/drawing/2014/main" id="{09958D90-BED8-4097-AF8F-4E413098DC2B}"/>
                    </a:ext>
                  </a:extLst>
                </p:cNvPr>
                <p:cNvSpPr/>
                <p:nvPr/>
              </p:nvSpPr>
              <p:spPr bwMode="auto">
                <a:xfrm rot="8100000">
                  <a:off x="3012552" y="3733609"/>
                  <a:ext cx="160049" cy="80930"/>
                </a:xfrm>
                <a:prstGeom prst="triangle">
                  <a:avLst/>
                </a:prstGeom>
                <a:noFill/>
                <a:ln w="12700" cap="flat" cmpd="sng" algn="ctr">
                  <a:solidFill>
                    <a:srgbClr val="002050"/>
                  </a:solidFill>
                  <a:prstDash val="solid"/>
                  <a:bevel/>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2" name="Straight Connector 31">
                <a:extLst>
                  <a:ext uri="{FF2B5EF4-FFF2-40B4-BE49-F238E27FC236}">
                    <a16:creationId xmlns:a16="http://schemas.microsoft.com/office/drawing/2014/main" id="{0A1BCE53-C277-404B-949B-1EFFDE73CF87}"/>
                  </a:ext>
                </a:extLst>
              </p:cNvPr>
              <p:cNvCxnSpPr/>
              <p:nvPr/>
            </p:nvCxnSpPr>
            <p:spPr>
              <a:xfrm>
                <a:off x="1047750" y="3578225"/>
                <a:ext cx="215900" cy="0"/>
              </a:xfrm>
              <a:prstGeom prst="line">
                <a:avLst/>
              </a:prstGeom>
              <a:noFill/>
              <a:ln w="12700" cap="rnd" cmpd="sng" algn="ctr">
                <a:solidFill>
                  <a:srgbClr val="002050"/>
                </a:solidFill>
                <a:prstDash val="solid"/>
                <a:miter lim="800000"/>
                <a:headEnd type="none"/>
                <a:tailEnd type="none"/>
              </a:ln>
              <a:effectLst/>
            </p:spPr>
          </p:cxnSp>
          <p:cxnSp>
            <p:nvCxnSpPr>
              <p:cNvPr id="33" name="Straight Connector 32">
                <a:extLst>
                  <a:ext uri="{FF2B5EF4-FFF2-40B4-BE49-F238E27FC236}">
                    <a16:creationId xmlns:a16="http://schemas.microsoft.com/office/drawing/2014/main" id="{76BF84C3-5E1C-4E30-9308-2172CF22C596}"/>
                  </a:ext>
                </a:extLst>
              </p:cNvPr>
              <p:cNvCxnSpPr/>
              <p:nvPr/>
            </p:nvCxnSpPr>
            <p:spPr>
              <a:xfrm>
                <a:off x="1047750" y="3697817"/>
                <a:ext cx="368300" cy="0"/>
              </a:xfrm>
              <a:prstGeom prst="line">
                <a:avLst/>
              </a:prstGeom>
              <a:noFill/>
              <a:ln w="12700" cap="rnd" cmpd="sng" algn="ctr">
                <a:solidFill>
                  <a:srgbClr val="002050"/>
                </a:solidFill>
                <a:prstDash val="solid"/>
                <a:miter lim="800000"/>
                <a:headEnd type="none"/>
                <a:tailEnd type="none"/>
              </a:ln>
              <a:effectLst/>
            </p:spPr>
          </p:cxnSp>
          <p:cxnSp>
            <p:nvCxnSpPr>
              <p:cNvPr id="34" name="Straight Connector 33">
                <a:extLst>
                  <a:ext uri="{FF2B5EF4-FFF2-40B4-BE49-F238E27FC236}">
                    <a16:creationId xmlns:a16="http://schemas.microsoft.com/office/drawing/2014/main" id="{F9BE79D8-BEF9-4538-A12F-6490B8467625}"/>
                  </a:ext>
                </a:extLst>
              </p:cNvPr>
              <p:cNvCxnSpPr/>
              <p:nvPr/>
            </p:nvCxnSpPr>
            <p:spPr>
              <a:xfrm>
                <a:off x="1047750" y="3817409"/>
                <a:ext cx="368300" cy="0"/>
              </a:xfrm>
              <a:prstGeom prst="line">
                <a:avLst/>
              </a:prstGeom>
              <a:noFill/>
              <a:ln w="12700" cap="rnd" cmpd="sng" algn="ctr">
                <a:solidFill>
                  <a:srgbClr val="002050"/>
                </a:solidFill>
                <a:prstDash val="solid"/>
                <a:miter lim="800000"/>
                <a:headEnd type="none"/>
                <a:tailEnd type="none"/>
              </a:ln>
              <a:effectLst/>
            </p:spPr>
          </p:cxnSp>
          <p:cxnSp>
            <p:nvCxnSpPr>
              <p:cNvPr id="35" name="Straight Connector 34">
                <a:extLst>
                  <a:ext uri="{FF2B5EF4-FFF2-40B4-BE49-F238E27FC236}">
                    <a16:creationId xmlns:a16="http://schemas.microsoft.com/office/drawing/2014/main" id="{A460461D-232E-4EA0-8606-12D64734D185}"/>
                  </a:ext>
                </a:extLst>
              </p:cNvPr>
              <p:cNvCxnSpPr/>
              <p:nvPr/>
            </p:nvCxnSpPr>
            <p:spPr>
              <a:xfrm>
                <a:off x="1047750" y="3937000"/>
                <a:ext cx="368300" cy="0"/>
              </a:xfrm>
              <a:prstGeom prst="line">
                <a:avLst/>
              </a:prstGeom>
              <a:noFill/>
              <a:ln w="12700" cap="rnd" cmpd="sng" algn="ctr">
                <a:solidFill>
                  <a:srgbClr val="002050"/>
                </a:solidFill>
                <a:prstDash val="solid"/>
                <a:miter lim="800000"/>
                <a:headEnd type="none"/>
                <a:tailEnd type="none"/>
              </a:ln>
              <a:effectLst/>
            </p:spPr>
          </p:cxnSp>
        </p:grpSp>
      </p:grpSp>
    </p:spTree>
    <p:extLst>
      <p:ext uri="{BB962C8B-B14F-4D97-AF65-F5344CB8AC3E}">
        <p14:creationId xmlns:p14="http://schemas.microsoft.com/office/powerpoint/2010/main" val="3840878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384387664"/>
      </p:ext>
    </p:extLst>
  </p:cSld>
  <p:clrMapOvr>
    <a:masterClrMapping/>
  </p:clrMapOvr>
  <p:transition spd="slow"/>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6099774"/>
              </p:ext>
            </p:extLst>
          </p:nvPr>
        </p:nvGraphicFramePr>
        <p:xfrm>
          <a:off x="655638" y="1408113"/>
          <a:ext cx="10880725" cy="2325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6314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A8D5DCD8-4D9F-45BD-9BC9-1D9A2A16691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231562" cy="604798"/>
          </a:xfrm>
        </p:spPr>
        <p:txBody>
          <a:bodyPr/>
          <a:lstStyle/>
          <a:p>
            <a:r>
              <a:rPr lang="en-US"/>
              <a:t>Lesson 9: Implement Auditing for Azure SQL Database</a:t>
            </a:r>
          </a:p>
        </p:txBody>
      </p:sp>
    </p:spTree>
    <p:extLst>
      <p:ext uri="{BB962C8B-B14F-4D97-AF65-F5344CB8AC3E}">
        <p14:creationId xmlns:p14="http://schemas.microsoft.com/office/powerpoint/2010/main" val="7600263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you can configure Auditing on Azure SQL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102187109"/>
      </p:ext>
    </p:extLst>
  </p:cSld>
  <p:clrMapOvr>
    <a:masterClrMapping/>
  </p:clrMapOvr>
  <p:transition spd="slow"/>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AAB2-9EFA-4510-9A3E-40C95A91E02E}"/>
              </a:ext>
            </a:extLst>
          </p:cNvPr>
          <p:cNvSpPr>
            <a:spLocks noGrp="1"/>
          </p:cNvSpPr>
          <p:nvPr>
            <p:ph type="title"/>
          </p:nvPr>
        </p:nvSpPr>
        <p:spPr/>
        <p:txBody>
          <a:bodyPr/>
          <a:lstStyle/>
          <a:p>
            <a:r>
              <a:rPr lang="en-US"/>
              <a:t>SQL Auditing</a:t>
            </a:r>
          </a:p>
        </p:txBody>
      </p:sp>
      <p:graphicFrame>
        <p:nvGraphicFramePr>
          <p:cNvPr id="4" name="Content Placeholder 3">
            <a:extLst>
              <a:ext uri="{FF2B5EF4-FFF2-40B4-BE49-F238E27FC236}">
                <a16:creationId xmlns:a16="http://schemas.microsoft.com/office/drawing/2014/main" id="{99753E43-6FF5-4DE5-873C-C730B7CEBC31}"/>
              </a:ext>
            </a:extLst>
          </p:cNvPr>
          <p:cNvGraphicFramePr>
            <a:graphicFrameLocks noGrp="1"/>
          </p:cNvGraphicFramePr>
          <p:nvPr>
            <p:ph sz="quarter" idx="13"/>
            <p:extLst>
              <p:ext uri="{D42A27DB-BD31-4B8C-83A1-F6EECF244321}">
                <p14:modId xmlns:p14="http://schemas.microsoft.com/office/powerpoint/2010/main" val="62294525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77029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973A9B01-5687-4BDF-ACEF-B99D56A6C625}"/>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dgm id="{5F5DA72A-9759-40C0-BFFB-5004DD84EB8D}"/>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1FB44F38-3C75-4114-A095-4802598DF03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AAB2-9EFA-4510-9A3E-40C95A91E02E}"/>
              </a:ext>
            </a:extLst>
          </p:cNvPr>
          <p:cNvSpPr>
            <a:spLocks noGrp="1"/>
          </p:cNvSpPr>
          <p:nvPr>
            <p:ph type="title"/>
          </p:nvPr>
        </p:nvSpPr>
        <p:spPr/>
        <p:txBody>
          <a:bodyPr/>
          <a:lstStyle/>
          <a:p>
            <a:r>
              <a:rPr lang="en-US"/>
              <a:t>SQL Auditing (continued)</a:t>
            </a:r>
          </a:p>
        </p:txBody>
      </p:sp>
      <p:sp>
        <p:nvSpPr>
          <p:cNvPr id="4" name="TextBox 3">
            <a:extLst>
              <a:ext uri="{FF2B5EF4-FFF2-40B4-BE49-F238E27FC236}">
                <a16:creationId xmlns:a16="http://schemas.microsoft.com/office/drawing/2014/main" id="{6DA322B8-AB9F-44AC-A8CB-82541399C37F}"/>
              </a:ext>
            </a:extLst>
          </p:cNvPr>
          <p:cNvSpPr txBox="1"/>
          <p:nvPr/>
        </p:nvSpPr>
        <p:spPr>
          <a:xfrm>
            <a:off x="8396428" y="4614353"/>
            <a:ext cx="1294208" cy="276999"/>
          </a:xfrm>
          <a:prstGeom prst="rect">
            <a:avLst/>
          </a:prstGeom>
          <a:solidFill>
            <a:srgbClr val="00188F"/>
          </a:solidFill>
        </p:spPr>
        <p:txBody>
          <a:bodyPr wrap="square" rtlCol="0">
            <a:spAutoFit/>
          </a:bodyPr>
          <a:lstStyle/>
          <a:p>
            <a:pPr algn="ctr">
              <a:defRPr/>
            </a:pPr>
            <a:r>
              <a:rPr lang="en-US" sz="1200" kern="0">
                <a:solidFill>
                  <a:srgbClr val="FFFFFF"/>
                </a:solidFill>
                <a:latin typeface="Segoe UI Semilight" panose="020B0402040204020203" pitchFamily="34" charset="0"/>
                <a:cs typeface="Segoe UI Semilight" panose="020B0402040204020203" pitchFamily="34" charset="0"/>
              </a:rPr>
              <a:t>Application data</a:t>
            </a:r>
          </a:p>
        </p:txBody>
      </p:sp>
      <p:pic>
        <p:nvPicPr>
          <p:cNvPr id="5" name="Picture 4">
            <a:extLst>
              <a:ext uri="{FF2B5EF4-FFF2-40B4-BE49-F238E27FC236}">
                <a16:creationId xmlns:a16="http://schemas.microsoft.com/office/drawing/2014/main" id="{960954A6-82E6-4590-8B9F-DCCA89807D70}"/>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0365" t="12448" r="12379" b="14454"/>
          <a:stretch/>
        </p:blipFill>
        <p:spPr>
          <a:xfrm>
            <a:off x="9991691" y="3831295"/>
            <a:ext cx="1951629" cy="962378"/>
          </a:xfrm>
          <a:prstGeom prst="rect">
            <a:avLst/>
          </a:prstGeom>
          <a:ln w="12700">
            <a:solidFill>
              <a:srgbClr val="0078D7"/>
            </a:solidFill>
            <a:miter lim="800000"/>
          </a:ln>
        </p:spPr>
      </p:pic>
      <p:sp>
        <p:nvSpPr>
          <p:cNvPr id="6" name="Freeform 146">
            <a:extLst>
              <a:ext uri="{FF2B5EF4-FFF2-40B4-BE49-F238E27FC236}">
                <a16:creationId xmlns:a16="http://schemas.microsoft.com/office/drawing/2014/main" id="{C97C0E8F-1772-411C-BA39-7FEB56B36322}"/>
              </a:ext>
            </a:extLst>
          </p:cNvPr>
          <p:cNvSpPr>
            <a:spLocks noChangeAspect="1"/>
          </p:cNvSpPr>
          <p:nvPr/>
        </p:nvSpPr>
        <p:spPr bwMode="auto">
          <a:xfrm>
            <a:off x="9291215" y="1753938"/>
            <a:ext cx="2365139" cy="1330166"/>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2050">
              <a:lumMod val="10000"/>
              <a:lumOff val="90000"/>
            </a:srgbClr>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 name="Freeform: Shape 6">
            <a:extLst>
              <a:ext uri="{FF2B5EF4-FFF2-40B4-BE49-F238E27FC236}">
                <a16:creationId xmlns:a16="http://schemas.microsoft.com/office/drawing/2014/main" id="{20EE9184-56B2-4169-B184-6823437FD695}"/>
              </a:ext>
            </a:extLst>
          </p:cNvPr>
          <p:cNvSpPr>
            <a:spLocks noChangeAspect="1"/>
          </p:cNvSpPr>
          <p:nvPr/>
        </p:nvSpPr>
        <p:spPr bwMode="auto">
          <a:xfrm>
            <a:off x="6705600" y="2070762"/>
            <a:ext cx="3217102" cy="1525678"/>
          </a:xfrm>
          <a:custGeom>
            <a:avLst/>
            <a:gdLst>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2606746 w 3631577"/>
              <a:gd name="connsiteY9" fmla="*/ 1939359 h 1939363"/>
              <a:gd name="connsiteX10" fmla="*/ 2606742 w 3631577"/>
              <a:gd name="connsiteY10" fmla="*/ 1939360 h 1939363"/>
              <a:gd name="connsiteX11" fmla="*/ 664172 w 3631577"/>
              <a:gd name="connsiteY11" fmla="*/ 1939360 h 1939363"/>
              <a:gd name="connsiteX12" fmla="*/ 146 w 3631577"/>
              <a:gd name="connsiteY12" fmla="*/ 1262384 h 1939363"/>
              <a:gd name="connsiteX13" fmla="*/ 851902 w 3631577"/>
              <a:gd name="connsiteY13" fmla="*/ 616223 h 1939363"/>
              <a:gd name="connsiteX14" fmla="*/ 1663949 w 3631577"/>
              <a:gd name="connsiteY14" fmla="*/ 1055 h 1939363"/>
              <a:gd name="connsiteX0" fmla="*/ 1663949 w 3631577"/>
              <a:gd name="connsiteY0" fmla="*/ 1055 h 1989505"/>
              <a:gd name="connsiteX1" fmla="*/ 1834615 w 3631577"/>
              <a:gd name="connsiteY1" fmla="*/ 10033 h 1989505"/>
              <a:gd name="connsiteX2" fmla="*/ 2313390 w 3631577"/>
              <a:gd name="connsiteY2" fmla="*/ 236394 h 1989505"/>
              <a:gd name="connsiteX3" fmla="*/ 2335490 w 3631577"/>
              <a:gd name="connsiteY3" fmla="*/ 259441 h 1989505"/>
              <a:gd name="connsiteX4" fmla="*/ 2411520 w 3631577"/>
              <a:gd name="connsiteY4" fmla="*/ 248167 h 1989505"/>
              <a:gd name="connsiteX5" fmla="*/ 2560428 w 3631577"/>
              <a:gd name="connsiteY5" fmla="*/ 256000 h 1989505"/>
              <a:gd name="connsiteX6" fmla="*/ 3250416 w 3631577"/>
              <a:gd name="connsiteY6" fmla="*/ 1132298 h 1989505"/>
              <a:gd name="connsiteX7" fmla="*/ 3631575 w 3631577"/>
              <a:gd name="connsiteY7" fmla="*/ 1534151 h 1989505"/>
              <a:gd name="connsiteX8" fmla="*/ 3234118 w 3631577"/>
              <a:gd name="connsiteY8" fmla="*/ 1939359 h 1989505"/>
              <a:gd name="connsiteX9" fmla="*/ 2606746 w 3631577"/>
              <a:gd name="connsiteY9" fmla="*/ 1939359 h 1989505"/>
              <a:gd name="connsiteX10" fmla="*/ 664172 w 3631577"/>
              <a:gd name="connsiteY10" fmla="*/ 1939360 h 1989505"/>
              <a:gd name="connsiteX11" fmla="*/ 146 w 3631577"/>
              <a:gd name="connsiteY11" fmla="*/ 1262384 h 1989505"/>
              <a:gd name="connsiteX12" fmla="*/ 851902 w 3631577"/>
              <a:gd name="connsiteY12" fmla="*/ 616223 h 1989505"/>
              <a:gd name="connsiteX13" fmla="*/ 1663949 w 3631577"/>
              <a:gd name="connsiteY13" fmla="*/ 1055 h 1989505"/>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664172 w 3631577"/>
              <a:gd name="connsiteY9" fmla="*/ 1939360 h 1939363"/>
              <a:gd name="connsiteX10" fmla="*/ 146 w 3631577"/>
              <a:gd name="connsiteY10" fmla="*/ 1262384 h 1939363"/>
              <a:gd name="connsiteX11" fmla="*/ 851902 w 3631577"/>
              <a:gd name="connsiteY11" fmla="*/ 616223 h 1939363"/>
              <a:gd name="connsiteX12" fmla="*/ 1663949 w 3631577"/>
              <a:gd name="connsiteY12" fmla="*/ 1055 h 193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1577" h="1939363">
                <a:moveTo>
                  <a:pt x="1663949" y="1055"/>
                </a:moveTo>
                <a:cubicBezTo>
                  <a:pt x="1719922" y="-1755"/>
                  <a:pt x="1777005" y="986"/>
                  <a:pt x="1834615" y="10033"/>
                </a:cubicBezTo>
                <a:cubicBezTo>
                  <a:pt x="2014550" y="38289"/>
                  <a:pt x="2180180" y="120172"/>
                  <a:pt x="2313390" y="236394"/>
                </a:cubicBezTo>
                <a:lnTo>
                  <a:pt x="2335490" y="259441"/>
                </a:lnTo>
                <a:lnTo>
                  <a:pt x="2411520" y="248167"/>
                </a:lnTo>
                <a:cubicBezTo>
                  <a:pt x="2460357" y="245715"/>
                  <a:pt x="2510162" y="248106"/>
                  <a:pt x="2560428" y="256000"/>
                </a:cubicBezTo>
                <a:cubicBezTo>
                  <a:pt x="2979083" y="321743"/>
                  <a:pt x="3308979" y="720215"/>
                  <a:pt x="3250416" y="1132298"/>
                </a:cubicBezTo>
                <a:cubicBezTo>
                  <a:pt x="3551932" y="1174749"/>
                  <a:pt x="3631030" y="1412458"/>
                  <a:pt x="3631575" y="1534151"/>
                </a:cubicBezTo>
                <a:cubicBezTo>
                  <a:pt x="3632293" y="1694245"/>
                  <a:pt x="3496359" y="1940578"/>
                  <a:pt x="3234118" y="1939359"/>
                </a:cubicBezTo>
                <a:lnTo>
                  <a:pt x="664172" y="1939360"/>
                </a:lnTo>
                <a:cubicBezTo>
                  <a:pt x="268892" y="1936996"/>
                  <a:pt x="7906" y="1583998"/>
                  <a:pt x="146" y="1262384"/>
                </a:cubicBezTo>
                <a:cubicBezTo>
                  <a:pt x="-7615" y="940769"/>
                  <a:pt x="294464" y="439020"/>
                  <a:pt x="851902" y="616223"/>
                </a:cubicBezTo>
                <a:cubicBezTo>
                  <a:pt x="934764" y="312319"/>
                  <a:pt x="1272144" y="20721"/>
                  <a:pt x="1663949" y="1055"/>
                </a:cubicBezTo>
                <a:close/>
              </a:path>
            </a:pathLst>
          </a:custGeom>
          <a:solidFill>
            <a:srgbClr val="002050">
              <a:lumMod val="10000"/>
              <a:lumOff val="90000"/>
            </a:srgbClr>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90000"/>
              </a:lnSpc>
              <a:spcBef>
                <a:spcPct val="0"/>
              </a:spcBef>
              <a:spcAft>
                <a:spcPct val="0"/>
              </a:spcAft>
              <a:buClrTx/>
              <a:buSzTx/>
              <a:buFontTx/>
              <a:buNone/>
              <a:tabLst/>
              <a:defRPr/>
            </a:pPr>
            <a:endParaRPr kumimoji="0" lang="en-IN" sz="1961"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 name="TextBox 7">
            <a:extLst>
              <a:ext uri="{FF2B5EF4-FFF2-40B4-BE49-F238E27FC236}">
                <a16:creationId xmlns:a16="http://schemas.microsoft.com/office/drawing/2014/main" id="{EE5F416B-22D7-4D0A-90B5-6AED6E3F9D75}"/>
              </a:ext>
            </a:extLst>
          </p:cNvPr>
          <p:cNvSpPr txBox="1"/>
          <p:nvPr/>
        </p:nvSpPr>
        <p:spPr>
          <a:xfrm>
            <a:off x="7052671" y="3373477"/>
            <a:ext cx="1204837" cy="276999"/>
          </a:xfrm>
          <a:prstGeom prst="rect">
            <a:avLst/>
          </a:prstGeom>
          <a:noFill/>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SQL Database </a:t>
            </a:r>
          </a:p>
        </p:txBody>
      </p:sp>
      <p:sp>
        <p:nvSpPr>
          <p:cNvPr id="9" name="TextBox 8">
            <a:extLst>
              <a:ext uri="{FF2B5EF4-FFF2-40B4-BE49-F238E27FC236}">
                <a16:creationId xmlns:a16="http://schemas.microsoft.com/office/drawing/2014/main" id="{81238C8A-BE08-412B-938A-60F7086DAC21}"/>
              </a:ext>
            </a:extLst>
          </p:cNvPr>
          <p:cNvSpPr txBox="1"/>
          <p:nvPr/>
        </p:nvSpPr>
        <p:spPr>
          <a:xfrm>
            <a:off x="10066557" y="2776419"/>
            <a:ext cx="1131990"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Azure storage</a:t>
            </a:r>
          </a:p>
        </p:txBody>
      </p:sp>
      <p:cxnSp>
        <p:nvCxnSpPr>
          <p:cNvPr id="10" name="Straight Connector 9">
            <a:extLst>
              <a:ext uri="{FF2B5EF4-FFF2-40B4-BE49-F238E27FC236}">
                <a16:creationId xmlns:a16="http://schemas.microsoft.com/office/drawing/2014/main" id="{3D0B027D-FBA5-445B-B236-E2685CCFB304}"/>
              </a:ext>
            </a:extLst>
          </p:cNvPr>
          <p:cNvCxnSpPr>
            <a:cxnSpLocks/>
          </p:cNvCxnSpPr>
          <p:nvPr/>
        </p:nvCxnSpPr>
        <p:spPr>
          <a:xfrm>
            <a:off x="7971633" y="3049964"/>
            <a:ext cx="625546" cy="0"/>
          </a:xfrm>
          <a:prstGeom prst="line">
            <a:avLst/>
          </a:prstGeom>
          <a:noFill/>
          <a:ln w="12700" cap="flat" cmpd="sng" algn="ctr">
            <a:solidFill>
              <a:srgbClr val="0078D7"/>
            </a:solidFill>
            <a:prstDash val="solid"/>
            <a:headEnd type="none"/>
            <a:tailEnd type="none"/>
          </a:ln>
          <a:effectLst/>
        </p:spPr>
      </p:cxnSp>
      <p:sp>
        <p:nvSpPr>
          <p:cNvPr id="11" name="TextBox 10">
            <a:extLst>
              <a:ext uri="{FF2B5EF4-FFF2-40B4-BE49-F238E27FC236}">
                <a16:creationId xmlns:a16="http://schemas.microsoft.com/office/drawing/2014/main" id="{4F7E6DF2-F573-40C2-BAAF-6F86B5561D4D}"/>
              </a:ext>
            </a:extLst>
          </p:cNvPr>
          <p:cNvSpPr txBox="1"/>
          <p:nvPr/>
        </p:nvSpPr>
        <p:spPr>
          <a:xfrm>
            <a:off x="8662936" y="3373477"/>
            <a:ext cx="761193" cy="276999"/>
          </a:xfrm>
          <a:prstGeom prst="rect">
            <a:avLst/>
          </a:prstGeom>
          <a:noFill/>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Auditing</a:t>
            </a:r>
          </a:p>
        </p:txBody>
      </p:sp>
      <p:sp>
        <p:nvSpPr>
          <p:cNvPr id="12" name="Cylinder 513">
            <a:extLst>
              <a:ext uri="{FF2B5EF4-FFF2-40B4-BE49-F238E27FC236}">
                <a16:creationId xmlns:a16="http://schemas.microsoft.com/office/drawing/2014/main" id="{757F1433-5D81-40B3-B461-97973D3E8232}"/>
              </a:ext>
            </a:extLst>
          </p:cNvPr>
          <p:cNvSpPr/>
          <p:nvPr/>
        </p:nvSpPr>
        <p:spPr bwMode="auto">
          <a:xfrm>
            <a:off x="7407779" y="2690260"/>
            <a:ext cx="484514" cy="565269"/>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kern="0">
                <a:solidFill>
                  <a:srgbClr val="0078D7"/>
                </a:solidFill>
                <a:latin typeface="Segoe UI Semilight" panose="020B0402040204020203" pitchFamily="34" charset="0"/>
                <a:ea typeface="Segoe UI" pitchFamily="34" charset="0"/>
                <a:cs typeface="Segoe UI Semilight" panose="020B0402040204020203" pitchFamily="34" charset="0"/>
              </a:rPr>
              <a:t>SQL</a:t>
            </a:r>
          </a:p>
        </p:txBody>
      </p:sp>
      <p:sp>
        <p:nvSpPr>
          <p:cNvPr id="13" name="Freeform 146">
            <a:extLst>
              <a:ext uri="{FF2B5EF4-FFF2-40B4-BE49-F238E27FC236}">
                <a16:creationId xmlns:a16="http://schemas.microsoft.com/office/drawing/2014/main" id="{615F2A7B-D0C3-4643-A9B1-6499AE15BE11}"/>
              </a:ext>
            </a:extLst>
          </p:cNvPr>
          <p:cNvSpPr>
            <a:spLocks noChangeAspect="1"/>
          </p:cNvSpPr>
          <p:nvPr/>
        </p:nvSpPr>
        <p:spPr bwMode="auto">
          <a:xfrm>
            <a:off x="8692318" y="2797326"/>
            <a:ext cx="702428" cy="39505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F987E9CB-2E66-42D3-A316-9D4EE40B1DF0}"/>
              </a:ext>
            </a:extLst>
          </p:cNvPr>
          <p:cNvGrpSpPr/>
          <p:nvPr/>
        </p:nvGrpSpPr>
        <p:grpSpPr>
          <a:xfrm>
            <a:off x="10354676" y="2048238"/>
            <a:ext cx="555751" cy="604150"/>
            <a:chOff x="3003960" y="3685414"/>
            <a:chExt cx="403310" cy="493707"/>
          </a:xfrm>
        </p:grpSpPr>
        <p:sp>
          <p:nvSpPr>
            <p:cNvPr id="15" name="Snip Single Corner Rectangle 26">
              <a:extLst>
                <a:ext uri="{FF2B5EF4-FFF2-40B4-BE49-F238E27FC236}">
                  <a16:creationId xmlns:a16="http://schemas.microsoft.com/office/drawing/2014/main" id="{8664E308-BD56-4EB4-9208-F3143CF52DAC}"/>
                </a:ext>
              </a:extLst>
            </p:cNvPr>
            <p:cNvSpPr/>
            <p:nvPr/>
          </p:nvSpPr>
          <p:spPr bwMode="auto">
            <a:xfrm flipH="1">
              <a:off x="3003960" y="3685414"/>
              <a:ext cx="403310" cy="493707"/>
            </a:xfrm>
            <a:prstGeom prst="snip1Rect">
              <a:avLst>
                <a:gd name="adj" fmla="val 28736"/>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45720" rIns="9144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kern="0">
                  <a:solidFill>
                    <a:srgbClr val="0078D7"/>
                  </a:solidFill>
                  <a:latin typeface="Segoe UI Semilight" panose="020B0402040204020203" pitchFamily="34" charset="0"/>
                  <a:cs typeface="Segoe UI Semilight" panose="020B0402040204020203" pitchFamily="34" charset="0"/>
                </a:rPr>
                <a:t>Audit log</a:t>
              </a:r>
            </a:p>
          </p:txBody>
        </p:sp>
        <p:sp>
          <p:nvSpPr>
            <p:cNvPr id="16" name="Triangle 27">
              <a:extLst>
                <a:ext uri="{FF2B5EF4-FFF2-40B4-BE49-F238E27FC236}">
                  <a16:creationId xmlns:a16="http://schemas.microsoft.com/office/drawing/2014/main" id="{19D73035-820D-40EC-A1D5-6F02C49A04B3}"/>
                </a:ext>
              </a:extLst>
            </p:cNvPr>
            <p:cNvSpPr/>
            <p:nvPr/>
          </p:nvSpPr>
          <p:spPr bwMode="auto">
            <a:xfrm rot="8100000">
              <a:off x="3012552" y="3733609"/>
              <a:ext cx="160049" cy="80930"/>
            </a:xfrm>
            <a:prstGeom prst="triangle">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grpSp>
      <p:cxnSp>
        <p:nvCxnSpPr>
          <p:cNvPr id="17" name="Connector: Elbow 16">
            <a:extLst>
              <a:ext uri="{FF2B5EF4-FFF2-40B4-BE49-F238E27FC236}">
                <a16:creationId xmlns:a16="http://schemas.microsoft.com/office/drawing/2014/main" id="{A56BEFDD-CE2C-4321-9BBE-75423C98B872}"/>
              </a:ext>
            </a:extLst>
          </p:cNvPr>
          <p:cNvCxnSpPr>
            <a:cxnSpLocks/>
            <a:stCxn id="11" idx="3"/>
            <a:endCxn id="9" idx="1"/>
          </p:cNvCxnSpPr>
          <p:nvPr/>
        </p:nvCxnSpPr>
        <p:spPr>
          <a:xfrm flipV="1">
            <a:off x="9424129" y="2914919"/>
            <a:ext cx="642428" cy="597058"/>
          </a:xfrm>
          <a:prstGeom prst="bentConnector3">
            <a:avLst>
              <a:gd name="adj1" fmla="val 50000"/>
            </a:avLst>
          </a:prstGeom>
          <a:noFill/>
          <a:ln w="12700" cap="flat" cmpd="sng" algn="ctr">
            <a:solidFill>
              <a:srgbClr val="0078D7"/>
            </a:solidFill>
            <a:prstDash val="solid"/>
            <a:headEnd type="none"/>
            <a:tailEnd type="none"/>
          </a:ln>
          <a:effectLst/>
        </p:spPr>
      </p:cxnSp>
      <p:grpSp>
        <p:nvGrpSpPr>
          <p:cNvPr id="18" name="Group 17">
            <a:extLst>
              <a:ext uri="{FF2B5EF4-FFF2-40B4-BE49-F238E27FC236}">
                <a16:creationId xmlns:a16="http://schemas.microsoft.com/office/drawing/2014/main" id="{4191FE3C-3B77-4C83-8457-D6C41D3B68F4}"/>
              </a:ext>
            </a:extLst>
          </p:cNvPr>
          <p:cNvGrpSpPr/>
          <p:nvPr/>
        </p:nvGrpSpPr>
        <p:grpSpPr>
          <a:xfrm>
            <a:off x="10374145" y="5189979"/>
            <a:ext cx="1255278" cy="676914"/>
            <a:chOff x="10065241" y="4847903"/>
            <a:chExt cx="1029282" cy="503618"/>
          </a:xfrm>
        </p:grpSpPr>
        <p:grpSp>
          <p:nvGrpSpPr>
            <p:cNvPr id="19" name="Group 18">
              <a:extLst>
                <a:ext uri="{FF2B5EF4-FFF2-40B4-BE49-F238E27FC236}">
                  <a16:creationId xmlns:a16="http://schemas.microsoft.com/office/drawing/2014/main" id="{64EBF010-F99A-4694-B069-E012DA0D08F2}"/>
                </a:ext>
              </a:extLst>
            </p:cNvPr>
            <p:cNvGrpSpPr/>
            <p:nvPr/>
          </p:nvGrpSpPr>
          <p:grpSpPr>
            <a:xfrm>
              <a:off x="10065241" y="4847903"/>
              <a:ext cx="495973" cy="503618"/>
              <a:chOff x="10065241" y="4847903"/>
              <a:chExt cx="495973" cy="503618"/>
            </a:xfrm>
          </p:grpSpPr>
          <p:sp>
            <p:nvSpPr>
              <p:cNvPr id="21" name="Trapezoid 20">
                <a:extLst>
                  <a:ext uri="{FF2B5EF4-FFF2-40B4-BE49-F238E27FC236}">
                    <a16:creationId xmlns:a16="http://schemas.microsoft.com/office/drawing/2014/main" id="{83F95486-6DAC-427D-BAA9-7EE240DC4826}"/>
                  </a:ext>
                </a:extLst>
              </p:cNvPr>
              <p:cNvSpPr/>
              <p:nvPr/>
            </p:nvSpPr>
            <p:spPr bwMode="auto">
              <a:xfrm rot="16200000">
                <a:off x="9961911" y="4951233"/>
                <a:ext cx="503618" cy="296957"/>
              </a:xfrm>
              <a:prstGeom prst="trapezoid">
                <a:avLst>
                  <a:gd name="adj" fmla="val 17348"/>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Top Corners Rounded 259">
                <a:extLst>
                  <a:ext uri="{FF2B5EF4-FFF2-40B4-BE49-F238E27FC236}">
                    <a16:creationId xmlns:a16="http://schemas.microsoft.com/office/drawing/2014/main" id="{D653E11F-CF1A-49D4-8E5E-2CB05FE96018}"/>
                  </a:ext>
                </a:extLst>
              </p:cNvPr>
              <p:cNvSpPr/>
              <p:nvPr/>
            </p:nvSpPr>
            <p:spPr bwMode="auto">
              <a:xfrm rot="5400000">
                <a:off x="10268763" y="5000203"/>
                <a:ext cx="385887" cy="199015"/>
              </a:xfrm>
              <a:prstGeom prst="round2SameRect">
                <a:avLst>
                  <a:gd name="adj1" fmla="val 5250"/>
                  <a:gd name="adj2" fmla="val 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A5F8E110-341E-4636-AAC4-9A002F2CE3F8}"/>
                  </a:ext>
                </a:extLst>
              </p:cNvPr>
              <p:cNvSpPr/>
              <p:nvPr/>
            </p:nvSpPr>
            <p:spPr bwMode="auto">
              <a:xfrm>
                <a:off x="10432044" y="4951781"/>
                <a:ext cx="7821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44BEF3C5-BA93-45C1-84FF-B54DE249BF85}"/>
                  </a:ext>
                </a:extLst>
              </p:cNvPr>
              <p:cNvSpPr/>
              <p:nvPr/>
            </p:nvSpPr>
            <p:spPr bwMode="auto">
              <a:xfrm>
                <a:off x="10432044" y="5014538"/>
                <a:ext cx="7821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C20D7894-A55E-4058-844D-3FCCBB764E05}"/>
                  </a:ext>
                </a:extLst>
              </p:cNvPr>
              <p:cNvSpPr/>
              <p:nvPr/>
            </p:nvSpPr>
            <p:spPr bwMode="auto">
              <a:xfrm>
                <a:off x="10432044" y="5077295"/>
                <a:ext cx="7821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59636277-80E2-4C78-A015-C8D5CA887465}"/>
                  </a:ext>
                </a:extLst>
              </p:cNvPr>
              <p:cNvSpPr/>
              <p:nvPr/>
            </p:nvSpPr>
            <p:spPr bwMode="auto">
              <a:xfrm>
                <a:off x="10432044" y="5140052"/>
                <a:ext cx="7821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CF2BEE42-56F6-41CC-A0DF-E38E769F480F}"/>
                  </a:ext>
                </a:extLst>
              </p:cNvPr>
              <p:cNvSpPr/>
              <p:nvPr/>
            </p:nvSpPr>
            <p:spPr bwMode="auto">
              <a:xfrm>
                <a:off x="10432044" y="5202809"/>
                <a:ext cx="7821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CB31DAC4-B7B7-4C77-BEB1-FE903FE25064}"/>
                  </a:ext>
                </a:extLst>
              </p:cNvPr>
              <p:cNvSpPr/>
              <p:nvPr/>
            </p:nvSpPr>
            <p:spPr bwMode="auto">
              <a:xfrm>
                <a:off x="10362198" y="4951781"/>
                <a:ext cx="4547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ACAAF8A7-A5D7-4B05-BC02-04B6E77CDB16}"/>
                  </a:ext>
                </a:extLst>
              </p:cNvPr>
              <p:cNvSpPr/>
              <p:nvPr/>
            </p:nvSpPr>
            <p:spPr bwMode="auto">
              <a:xfrm>
                <a:off x="10362198" y="5014538"/>
                <a:ext cx="4547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C71703AD-9A5C-478D-9F35-22FCFAF37085}"/>
                  </a:ext>
                </a:extLst>
              </p:cNvPr>
              <p:cNvSpPr/>
              <p:nvPr/>
            </p:nvSpPr>
            <p:spPr bwMode="auto">
              <a:xfrm>
                <a:off x="10362198" y="5077295"/>
                <a:ext cx="4547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E9436B59-35DA-400D-9EB9-DB273E2B1646}"/>
                  </a:ext>
                </a:extLst>
              </p:cNvPr>
              <p:cNvSpPr/>
              <p:nvPr/>
            </p:nvSpPr>
            <p:spPr bwMode="auto">
              <a:xfrm>
                <a:off x="10362198" y="5140052"/>
                <a:ext cx="4547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a16="http://schemas.microsoft.com/office/drawing/2014/main" id="{40154D71-DE0E-4DA6-A6A3-D840BA554790}"/>
                  </a:ext>
                </a:extLst>
              </p:cNvPr>
              <p:cNvSpPr/>
              <p:nvPr/>
            </p:nvSpPr>
            <p:spPr bwMode="auto">
              <a:xfrm>
                <a:off x="10362198" y="5202809"/>
                <a:ext cx="45473" cy="38561"/>
              </a:xfrm>
              <a:prstGeom prst="rect">
                <a:avLst/>
              </a:prstGeom>
              <a:no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a:extLst>
                  <a:ext uri="{FF2B5EF4-FFF2-40B4-BE49-F238E27FC236}">
                    <a16:creationId xmlns:a16="http://schemas.microsoft.com/office/drawing/2014/main" id="{777B46FD-F919-4DC5-AD8C-667DE9FA9AC8}"/>
                  </a:ext>
                </a:extLst>
              </p:cNvPr>
              <p:cNvCxnSpPr>
                <a:cxnSpLocks/>
              </p:cNvCxnSpPr>
              <p:nvPr/>
            </p:nvCxnSpPr>
            <p:spPr>
              <a:xfrm>
                <a:off x="10160531" y="5009959"/>
                <a:ext cx="90516" cy="178851"/>
              </a:xfrm>
              <a:prstGeom prst="line">
                <a:avLst/>
              </a:prstGeom>
              <a:noFill/>
              <a:ln w="12700" cap="flat" cmpd="sng" algn="ctr">
                <a:solidFill>
                  <a:srgbClr val="0078D7"/>
                </a:solidFill>
                <a:prstDash val="solid"/>
                <a:headEnd type="none"/>
                <a:tailEnd type="none"/>
              </a:ln>
              <a:effectLst/>
            </p:spPr>
          </p:cxnSp>
          <p:cxnSp>
            <p:nvCxnSpPr>
              <p:cNvPr id="34" name="Straight Connector 33">
                <a:extLst>
                  <a:ext uri="{FF2B5EF4-FFF2-40B4-BE49-F238E27FC236}">
                    <a16:creationId xmlns:a16="http://schemas.microsoft.com/office/drawing/2014/main" id="{9372669F-3DE2-4B4E-A451-EA4705191D50}"/>
                  </a:ext>
                </a:extLst>
              </p:cNvPr>
              <p:cNvCxnSpPr>
                <a:cxnSpLocks/>
              </p:cNvCxnSpPr>
              <p:nvPr/>
            </p:nvCxnSpPr>
            <p:spPr>
              <a:xfrm flipH="1">
                <a:off x="10156237" y="5004288"/>
                <a:ext cx="95096" cy="179505"/>
              </a:xfrm>
              <a:prstGeom prst="line">
                <a:avLst/>
              </a:prstGeom>
              <a:noFill/>
              <a:ln w="12700" cap="flat" cmpd="sng" algn="ctr">
                <a:solidFill>
                  <a:srgbClr val="0078D7"/>
                </a:solidFill>
                <a:prstDash val="solid"/>
                <a:headEnd type="none"/>
                <a:tailEnd type="none"/>
              </a:ln>
              <a:effectLst/>
            </p:spPr>
          </p:cxnSp>
        </p:grpSp>
        <p:sp>
          <p:nvSpPr>
            <p:cNvPr id="20" name="Freeform 5">
              <a:extLst>
                <a:ext uri="{FF2B5EF4-FFF2-40B4-BE49-F238E27FC236}">
                  <a16:creationId xmlns:a16="http://schemas.microsoft.com/office/drawing/2014/main" id="{96B08D6A-32C3-4381-93D8-96882993658C}"/>
                </a:ext>
              </a:extLst>
            </p:cNvPr>
            <p:cNvSpPr>
              <a:spLocks noEditPoints="1"/>
            </p:cNvSpPr>
            <p:nvPr/>
          </p:nvSpPr>
          <p:spPr bwMode="auto">
            <a:xfrm>
              <a:off x="10700379" y="4879522"/>
              <a:ext cx="394144" cy="44038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kern="0">
                <a:solidFill>
                  <a:srgbClr val="505050"/>
                </a:solidFill>
                <a:latin typeface="Segoe UI Semilight"/>
              </a:endParaRPr>
            </a:p>
          </p:txBody>
        </p:sp>
      </p:grpSp>
      <p:grpSp>
        <p:nvGrpSpPr>
          <p:cNvPr id="35" name="Group 34">
            <a:extLst>
              <a:ext uri="{FF2B5EF4-FFF2-40B4-BE49-F238E27FC236}">
                <a16:creationId xmlns:a16="http://schemas.microsoft.com/office/drawing/2014/main" id="{326D8480-8F29-407E-A9AA-EBF66030D080}"/>
              </a:ext>
            </a:extLst>
          </p:cNvPr>
          <p:cNvGrpSpPr/>
          <p:nvPr/>
        </p:nvGrpSpPr>
        <p:grpSpPr>
          <a:xfrm>
            <a:off x="8744483" y="4092131"/>
            <a:ext cx="598098" cy="451826"/>
            <a:chOff x="2107244" y="1575258"/>
            <a:chExt cx="310993" cy="264555"/>
          </a:xfrm>
        </p:grpSpPr>
        <p:grpSp>
          <p:nvGrpSpPr>
            <p:cNvPr id="36" name="Group 35">
              <a:extLst>
                <a:ext uri="{FF2B5EF4-FFF2-40B4-BE49-F238E27FC236}">
                  <a16:creationId xmlns:a16="http://schemas.microsoft.com/office/drawing/2014/main" id="{8753873B-56A4-4239-A322-4690FD78A717}"/>
                </a:ext>
              </a:extLst>
            </p:cNvPr>
            <p:cNvGrpSpPr/>
            <p:nvPr/>
          </p:nvGrpSpPr>
          <p:grpSpPr>
            <a:xfrm>
              <a:off x="2107244" y="1575258"/>
              <a:ext cx="310993" cy="264555"/>
              <a:chOff x="2107244" y="1575258"/>
              <a:chExt cx="310993" cy="264555"/>
            </a:xfrm>
          </p:grpSpPr>
          <p:sp>
            <p:nvSpPr>
              <p:cNvPr id="44" name="Rectangle 9">
                <a:extLst>
                  <a:ext uri="{FF2B5EF4-FFF2-40B4-BE49-F238E27FC236}">
                    <a16:creationId xmlns:a16="http://schemas.microsoft.com/office/drawing/2014/main" id="{6D1BEBBC-0AE6-4CF9-A9DC-9E3147A91033}"/>
                  </a:ext>
                </a:extLst>
              </p:cNvPr>
              <p:cNvSpPr>
                <a:spLocks noChangeArrowheads="1"/>
              </p:cNvSpPr>
              <p:nvPr/>
            </p:nvSpPr>
            <p:spPr bwMode="auto">
              <a:xfrm>
                <a:off x="2107244" y="1575258"/>
                <a:ext cx="310993"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45" name="Line 10">
                <a:extLst>
                  <a:ext uri="{FF2B5EF4-FFF2-40B4-BE49-F238E27FC236}">
                    <a16:creationId xmlns:a16="http://schemas.microsoft.com/office/drawing/2014/main" id="{ABDDC945-B561-486D-B99A-A0E512E27EDE}"/>
                  </a:ext>
                </a:extLst>
              </p:cNvPr>
              <p:cNvSpPr>
                <a:spLocks noChangeShapeType="1"/>
              </p:cNvSpPr>
              <p:nvPr/>
            </p:nvSpPr>
            <p:spPr bwMode="auto">
              <a:xfrm flipH="1">
                <a:off x="2107244" y="1647026"/>
                <a:ext cx="310993"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37" name="Group 36">
              <a:extLst>
                <a:ext uri="{FF2B5EF4-FFF2-40B4-BE49-F238E27FC236}">
                  <a16:creationId xmlns:a16="http://schemas.microsoft.com/office/drawing/2014/main" id="{51741987-7E60-4EB6-A6C5-998BB8450057}"/>
                </a:ext>
              </a:extLst>
            </p:cNvPr>
            <p:cNvGrpSpPr/>
            <p:nvPr/>
          </p:nvGrpSpPr>
          <p:grpSpPr>
            <a:xfrm>
              <a:off x="2287367" y="1599181"/>
              <a:ext cx="95690" cy="23923"/>
              <a:chOff x="2287367" y="1599181"/>
              <a:chExt cx="95690" cy="23923"/>
            </a:xfrm>
          </p:grpSpPr>
          <p:sp>
            <p:nvSpPr>
              <p:cNvPr id="41" name="Oval 11">
                <a:extLst>
                  <a:ext uri="{FF2B5EF4-FFF2-40B4-BE49-F238E27FC236}">
                    <a16:creationId xmlns:a16="http://schemas.microsoft.com/office/drawing/2014/main" id="{B46768B4-29A0-453C-9738-D06A9454DF00}"/>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42" name="Oval 12">
                <a:extLst>
                  <a:ext uri="{FF2B5EF4-FFF2-40B4-BE49-F238E27FC236}">
                    <a16:creationId xmlns:a16="http://schemas.microsoft.com/office/drawing/2014/main" id="{13BC2BA6-3742-4FDE-921D-5DEB37C2D876}"/>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43" name="Oval 13">
                <a:extLst>
                  <a:ext uri="{FF2B5EF4-FFF2-40B4-BE49-F238E27FC236}">
                    <a16:creationId xmlns:a16="http://schemas.microsoft.com/office/drawing/2014/main" id="{5E2C775E-7946-439F-BF4B-6D157BAF5712}"/>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38" name="Group 37">
              <a:extLst>
                <a:ext uri="{FF2B5EF4-FFF2-40B4-BE49-F238E27FC236}">
                  <a16:creationId xmlns:a16="http://schemas.microsoft.com/office/drawing/2014/main" id="{9BD9E8B0-4444-4C75-ACB6-E87FA2D8A2FE}"/>
                </a:ext>
              </a:extLst>
            </p:cNvPr>
            <p:cNvGrpSpPr/>
            <p:nvPr/>
          </p:nvGrpSpPr>
          <p:grpSpPr>
            <a:xfrm>
              <a:off x="2202934" y="1701907"/>
              <a:ext cx="95690" cy="90061"/>
              <a:chOff x="2202934" y="1701907"/>
              <a:chExt cx="95690" cy="90061"/>
            </a:xfrm>
          </p:grpSpPr>
          <p:sp>
            <p:nvSpPr>
              <p:cNvPr id="39" name="Freeform 14">
                <a:extLst>
                  <a:ext uri="{FF2B5EF4-FFF2-40B4-BE49-F238E27FC236}">
                    <a16:creationId xmlns:a16="http://schemas.microsoft.com/office/drawing/2014/main" id="{952A238C-E610-4508-B473-05915768DB58}"/>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40" name="Line 15">
                <a:extLst>
                  <a:ext uri="{FF2B5EF4-FFF2-40B4-BE49-F238E27FC236}">
                    <a16:creationId xmlns:a16="http://schemas.microsoft.com/office/drawing/2014/main" id="{ED0E359B-9B5F-4CA5-A39C-9F317EFF87B1}"/>
                  </a:ext>
                </a:extLst>
              </p:cNvPr>
              <p:cNvSpPr>
                <a:spLocks noChangeShapeType="1"/>
              </p:cNvSpPr>
              <p:nvPr/>
            </p:nvSpPr>
            <p:spPr bwMode="auto">
              <a:xfrm>
                <a:off x="2253117"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cxnSp>
        <p:nvCxnSpPr>
          <p:cNvPr id="46" name="Straight Connector 45">
            <a:extLst>
              <a:ext uri="{FF2B5EF4-FFF2-40B4-BE49-F238E27FC236}">
                <a16:creationId xmlns:a16="http://schemas.microsoft.com/office/drawing/2014/main" id="{74E6852B-51E7-4913-A201-6DF4D4799529}"/>
              </a:ext>
            </a:extLst>
          </p:cNvPr>
          <p:cNvCxnSpPr>
            <a:stCxn id="11" idx="2"/>
            <a:endCxn id="44" idx="0"/>
          </p:cNvCxnSpPr>
          <p:nvPr/>
        </p:nvCxnSpPr>
        <p:spPr>
          <a:xfrm flipH="1">
            <a:off x="9043532" y="3650476"/>
            <a:ext cx="1" cy="441655"/>
          </a:xfrm>
          <a:prstGeom prst="line">
            <a:avLst/>
          </a:prstGeom>
          <a:noFill/>
          <a:ln w="12700" cap="flat" cmpd="sng" algn="ctr">
            <a:solidFill>
              <a:srgbClr val="0078D7"/>
            </a:solidFill>
            <a:prstDash val="solid"/>
            <a:headEnd type="none"/>
            <a:tailEnd type="none"/>
          </a:ln>
          <a:effectLst/>
        </p:spPr>
      </p:cxnSp>
      <p:cxnSp>
        <p:nvCxnSpPr>
          <p:cNvPr id="47" name="Straight Connector 46">
            <a:extLst>
              <a:ext uri="{FF2B5EF4-FFF2-40B4-BE49-F238E27FC236}">
                <a16:creationId xmlns:a16="http://schemas.microsoft.com/office/drawing/2014/main" id="{9AD9DC6F-2825-494A-BE78-7F2D6E4BB5DA}"/>
              </a:ext>
            </a:extLst>
          </p:cNvPr>
          <p:cNvCxnSpPr>
            <a:cxnSpLocks/>
          </p:cNvCxnSpPr>
          <p:nvPr/>
        </p:nvCxnSpPr>
        <p:spPr>
          <a:xfrm>
            <a:off x="9020528" y="4933036"/>
            <a:ext cx="0" cy="462706"/>
          </a:xfrm>
          <a:prstGeom prst="line">
            <a:avLst/>
          </a:prstGeom>
          <a:noFill/>
          <a:ln w="12700" cap="flat" cmpd="sng" algn="ctr">
            <a:solidFill>
              <a:srgbClr val="0078D7"/>
            </a:solidFill>
            <a:prstDash val="solid"/>
            <a:headEnd type="none"/>
            <a:tailEnd type="none"/>
          </a:ln>
          <a:effectLst/>
        </p:spPr>
      </p:cxnSp>
      <p:cxnSp>
        <p:nvCxnSpPr>
          <p:cNvPr id="48" name="Connector: Elbow 47">
            <a:extLst>
              <a:ext uri="{FF2B5EF4-FFF2-40B4-BE49-F238E27FC236}">
                <a16:creationId xmlns:a16="http://schemas.microsoft.com/office/drawing/2014/main" id="{1EF3B213-1022-446F-9CD6-121E2446D671}"/>
              </a:ext>
            </a:extLst>
          </p:cNvPr>
          <p:cNvCxnSpPr>
            <a:cxnSpLocks/>
          </p:cNvCxnSpPr>
          <p:nvPr/>
        </p:nvCxnSpPr>
        <p:spPr>
          <a:xfrm flipV="1">
            <a:off x="8446791" y="5483347"/>
            <a:ext cx="1718593" cy="1422"/>
          </a:xfrm>
          <a:prstGeom prst="bentConnector3">
            <a:avLst>
              <a:gd name="adj1" fmla="val 50000"/>
            </a:avLst>
          </a:prstGeom>
          <a:noFill/>
          <a:ln w="12700" cap="flat" cmpd="sng" algn="ctr">
            <a:solidFill>
              <a:srgbClr val="0078D7"/>
            </a:solidFill>
            <a:prstDash val="solid"/>
            <a:headEnd type="none"/>
            <a:tailEnd type="none"/>
          </a:ln>
          <a:effectLst/>
        </p:spPr>
      </p:cxnSp>
      <p:cxnSp>
        <p:nvCxnSpPr>
          <p:cNvPr id="49" name="Straight Connector 48">
            <a:extLst>
              <a:ext uri="{FF2B5EF4-FFF2-40B4-BE49-F238E27FC236}">
                <a16:creationId xmlns:a16="http://schemas.microsoft.com/office/drawing/2014/main" id="{D803A4A9-64C7-4E24-B4CF-FC220F9BCBE6}"/>
              </a:ext>
            </a:extLst>
          </p:cNvPr>
          <p:cNvCxnSpPr>
            <a:cxnSpLocks/>
            <a:stCxn id="9" idx="2"/>
          </p:cNvCxnSpPr>
          <p:nvPr/>
        </p:nvCxnSpPr>
        <p:spPr>
          <a:xfrm flipH="1">
            <a:off x="10624881" y="3053418"/>
            <a:ext cx="0" cy="777878"/>
          </a:xfrm>
          <a:prstGeom prst="line">
            <a:avLst/>
          </a:prstGeom>
          <a:noFill/>
          <a:ln w="12700" cap="flat" cmpd="sng" algn="ctr">
            <a:solidFill>
              <a:srgbClr val="0078D7"/>
            </a:solidFill>
            <a:prstDash val="solid"/>
            <a:headEnd type="none"/>
            <a:tailEnd type="none"/>
          </a:ln>
          <a:effectLst/>
        </p:spPr>
      </p:cxnSp>
      <p:grpSp>
        <p:nvGrpSpPr>
          <p:cNvPr id="50" name="Group 49">
            <a:extLst>
              <a:ext uri="{FF2B5EF4-FFF2-40B4-BE49-F238E27FC236}">
                <a16:creationId xmlns:a16="http://schemas.microsoft.com/office/drawing/2014/main" id="{3059443D-CAF5-4520-AC6E-DF353555D592}"/>
              </a:ext>
            </a:extLst>
          </p:cNvPr>
          <p:cNvGrpSpPr/>
          <p:nvPr/>
        </p:nvGrpSpPr>
        <p:grpSpPr>
          <a:xfrm>
            <a:off x="8284406" y="5577790"/>
            <a:ext cx="1517906" cy="433096"/>
            <a:chOff x="7941682" y="5575982"/>
            <a:chExt cx="1517906" cy="487697"/>
          </a:xfrm>
        </p:grpSpPr>
        <p:sp>
          <p:nvSpPr>
            <p:cNvPr id="51" name="Freeform 218">
              <a:extLst>
                <a:ext uri="{FF2B5EF4-FFF2-40B4-BE49-F238E27FC236}">
                  <a16:creationId xmlns:a16="http://schemas.microsoft.com/office/drawing/2014/main" id="{895017D8-C760-41E8-90A6-53E48897F1FB}"/>
                </a:ext>
              </a:extLst>
            </p:cNvPr>
            <p:cNvSpPr>
              <a:spLocks/>
            </p:cNvSpPr>
            <p:nvPr/>
          </p:nvSpPr>
          <p:spPr bwMode="auto">
            <a:xfrm>
              <a:off x="9103723" y="5575982"/>
              <a:ext cx="355865" cy="439407"/>
            </a:xfrm>
            <a:custGeom>
              <a:avLst/>
              <a:gdLst>
                <a:gd name="connsiteX0" fmla="*/ 129808 w 426363"/>
                <a:gd name="connsiteY0" fmla="*/ 126536 h 526455"/>
                <a:gd name="connsiteX1" fmla="*/ 218389 w 426363"/>
                <a:gd name="connsiteY1" fmla="*/ 149608 h 526455"/>
                <a:gd name="connsiteX2" fmla="*/ 318525 w 426363"/>
                <a:gd name="connsiteY2" fmla="*/ 126536 h 526455"/>
                <a:gd name="connsiteX3" fmla="*/ 414809 w 426363"/>
                <a:gd name="connsiteY3" fmla="*/ 176526 h 526455"/>
                <a:gd name="connsiteX4" fmla="*/ 357039 w 426363"/>
                <a:gd name="connsiteY4" fmla="*/ 276505 h 526455"/>
                <a:gd name="connsiteX5" fmla="*/ 426363 w 426363"/>
                <a:gd name="connsiteY5" fmla="*/ 384176 h 526455"/>
                <a:gd name="connsiteX6" fmla="*/ 391701 w 426363"/>
                <a:gd name="connsiteY6" fmla="*/ 461084 h 526455"/>
                <a:gd name="connsiteX7" fmla="*/ 310822 w 426363"/>
                <a:gd name="connsiteY7" fmla="*/ 522610 h 526455"/>
                <a:gd name="connsiteX8" fmla="*/ 222241 w 426363"/>
                <a:gd name="connsiteY8" fmla="*/ 503383 h 526455"/>
                <a:gd name="connsiteX9" fmla="*/ 137511 w 426363"/>
                <a:gd name="connsiteY9" fmla="*/ 526455 h 526455"/>
                <a:gd name="connsiteX10" fmla="*/ 52780 w 426363"/>
                <a:gd name="connsiteY10" fmla="*/ 457238 h 526455"/>
                <a:gd name="connsiteX11" fmla="*/ 21970 w 426363"/>
                <a:gd name="connsiteY11" fmla="*/ 191907 h 526455"/>
                <a:gd name="connsiteX12" fmla="*/ 129808 w 426363"/>
                <a:gd name="connsiteY12" fmla="*/ 126536 h 526455"/>
                <a:gd name="connsiteX13" fmla="*/ 317672 w 426363"/>
                <a:gd name="connsiteY13" fmla="*/ 0 h 526455"/>
                <a:gd name="connsiteX14" fmla="*/ 290749 w 426363"/>
                <a:gd name="connsiteY14" fmla="*/ 84351 h 526455"/>
                <a:gd name="connsiteX15" fmla="*/ 213827 w 426363"/>
                <a:gd name="connsiteY15" fmla="*/ 118858 h 526455"/>
                <a:gd name="connsiteX16" fmla="*/ 240750 w 426363"/>
                <a:gd name="connsiteY16" fmla="*/ 38341 h 526455"/>
                <a:gd name="connsiteX17" fmla="*/ 317672 w 426363"/>
                <a:gd name="connsiteY17" fmla="*/ 0 h 52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363" h="526455">
                  <a:moveTo>
                    <a:pt x="129808" y="126536"/>
                  </a:moveTo>
                  <a:cubicBezTo>
                    <a:pt x="164470" y="126536"/>
                    <a:pt x="195281" y="149608"/>
                    <a:pt x="218389" y="149608"/>
                  </a:cubicBezTo>
                  <a:cubicBezTo>
                    <a:pt x="237646" y="149608"/>
                    <a:pt x="276160" y="122690"/>
                    <a:pt x="318525" y="126536"/>
                  </a:cubicBezTo>
                  <a:cubicBezTo>
                    <a:pt x="333930" y="126536"/>
                    <a:pt x="383998" y="134226"/>
                    <a:pt x="414809" y="176526"/>
                  </a:cubicBezTo>
                  <a:cubicBezTo>
                    <a:pt x="410958" y="180371"/>
                    <a:pt x="357039" y="211134"/>
                    <a:pt x="357039" y="276505"/>
                  </a:cubicBezTo>
                  <a:cubicBezTo>
                    <a:pt x="357039" y="357258"/>
                    <a:pt x="426363" y="384176"/>
                    <a:pt x="426363" y="384176"/>
                  </a:cubicBezTo>
                  <a:cubicBezTo>
                    <a:pt x="426363" y="388022"/>
                    <a:pt x="418660" y="422630"/>
                    <a:pt x="391701" y="461084"/>
                  </a:cubicBezTo>
                  <a:cubicBezTo>
                    <a:pt x="368593" y="491847"/>
                    <a:pt x="345484" y="522610"/>
                    <a:pt x="310822" y="522610"/>
                  </a:cubicBezTo>
                  <a:cubicBezTo>
                    <a:pt x="276160" y="526455"/>
                    <a:pt x="264606" y="503383"/>
                    <a:pt x="222241" y="503383"/>
                  </a:cubicBezTo>
                  <a:cubicBezTo>
                    <a:pt x="183727" y="503383"/>
                    <a:pt x="172173" y="522610"/>
                    <a:pt x="137511" y="526455"/>
                  </a:cubicBezTo>
                  <a:cubicBezTo>
                    <a:pt x="102848" y="526455"/>
                    <a:pt x="75889" y="491847"/>
                    <a:pt x="52780" y="457238"/>
                  </a:cubicBezTo>
                  <a:cubicBezTo>
                    <a:pt x="10415" y="391867"/>
                    <a:pt x="-24247" y="272660"/>
                    <a:pt x="21970" y="191907"/>
                  </a:cubicBezTo>
                  <a:cubicBezTo>
                    <a:pt x="45078" y="153453"/>
                    <a:pt x="83591" y="126536"/>
                    <a:pt x="129808" y="126536"/>
                  </a:cubicBezTo>
                  <a:close/>
                  <a:moveTo>
                    <a:pt x="317672" y="0"/>
                  </a:moveTo>
                  <a:cubicBezTo>
                    <a:pt x="321518" y="30673"/>
                    <a:pt x="309980" y="61346"/>
                    <a:pt x="290749" y="84351"/>
                  </a:cubicBezTo>
                  <a:cubicBezTo>
                    <a:pt x="271519" y="103521"/>
                    <a:pt x="240750" y="122692"/>
                    <a:pt x="213827" y="118858"/>
                  </a:cubicBezTo>
                  <a:cubicBezTo>
                    <a:pt x="209981" y="88185"/>
                    <a:pt x="221519" y="57512"/>
                    <a:pt x="240750" y="38341"/>
                  </a:cubicBezTo>
                  <a:cubicBezTo>
                    <a:pt x="259980" y="15336"/>
                    <a:pt x="290749" y="0"/>
                    <a:pt x="317672" y="0"/>
                  </a:cubicBezTo>
                  <a:close/>
                </a:path>
              </a:pathLst>
            </a:custGeom>
            <a:noFill/>
            <a:ln w="12700" cap="rnd">
              <a:solidFill>
                <a:srgbClr val="0078D7"/>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kern="0">
                <a:solidFill>
                  <a:prstClr val="black"/>
                </a:solidFill>
                <a:latin typeface="Arial" charset="0"/>
                <a:cs typeface="Arial" charset="0"/>
              </a:endParaRPr>
            </a:p>
          </p:txBody>
        </p:sp>
        <p:grpSp>
          <p:nvGrpSpPr>
            <p:cNvPr id="52" name="Group 51">
              <a:extLst>
                <a:ext uri="{FF2B5EF4-FFF2-40B4-BE49-F238E27FC236}">
                  <a16:creationId xmlns:a16="http://schemas.microsoft.com/office/drawing/2014/main" id="{A8AF5E4F-C0D4-4EBF-87B3-4C3F8A95C557}"/>
                </a:ext>
              </a:extLst>
            </p:cNvPr>
            <p:cNvGrpSpPr/>
            <p:nvPr/>
          </p:nvGrpSpPr>
          <p:grpSpPr>
            <a:xfrm>
              <a:off x="7941682" y="5635469"/>
              <a:ext cx="374267" cy="368239"/>
              <a:chOff x="796568" y="2905899"/>
              <a:chExt cx="1022332" cy="1005862"/>
            </a:xfrm>
          </p:grpSpPr>
          <p:cxnSp>
            <p:nvCxnSpPr>
              <p:cNvPr id="60" name="Straight Connector 59">
                <a:extLst>
                  <a:ext uri="{FF2B5EF4-FFF2-40B4-BE49-F238E27FC236}">
                    <a16:creationId xmlns:a16="http://schemas.microsoft.com/office/drawing/2014/main" id="{9176E2D3-C0ED-486F-829A-022638F495C6}"/>
                  </a:ext>
                </a:extLst>
              </p:cNvPr>
              <p:cNvCxnSpPr/>
              <p:nvPr/>
            </p:nvCxnSpPr>
            <p:spPr>
              <a:xfrm>
                <a:off x="1241059" y="2981273"/>
                <a:ext cx="0" cy="849564"/>
              </a:xfrm>
              <a:prstGeom prst="line">
                <a:avLst/>
              </a:prstGeom>
              <a:noFill/>
              <a:ln w="12700" cap="flat" cmpd="sng" algn="ctr">
                <a:solidFill>
                  <a:srgbClr val="0078D7"/>
                </a:solidFill>
                <a:prstDash val="solid"/>
                <a:headEnd type="none"/>
                <a:tailEnd type="none"/>
              </a:ln>
              <a:effectLst/>
            </p:spPr>
          </p:cxnSp>
          <p:cxnSp>
            <p:nvCxnSpPr>
              <p:cNvPr id="61" name="Straight Connector 60">
                <a:extLst>
                  <a:ext uri="{FF2B5EF4-FFF2-40B4-BE49-F238E27FC236}">
                    <a16:creationId xmlns:a16="http://schemas.microsoft.com/office/drawing/2014/main" id="{0A3F45AD-632D-4522-9D4F-68D4632C9BB6}"/>
                  </a:ext>
                </a:extLst>
              </p:cNvPr>
              <p:cNvCxnSpPr>
                <a:cxnSpLocks/>
              </p:cNvCxnSpPr>
              <p:nvPr/>
            </p:nvCxnSpPr>
            <p:spPr>
              <a:xfrm>
                <a:off x="800888" y="3408830"/>
                <a:ext cx="1018012" cy="0"/>
              </a:xfrm>
              <a:prstGeom prst="line">
                <a:avLst/>
              </a:prstGeom>
              <a:noFill/>
              <a:ln w="12700" cap="flat" cmpd="sng" algn="ctr">
                <a:solidFill>
                  <a:srgbClr val="0078D7"/>
                </a:solidFill>
                <a:prstDash val="solid"/>
                <a:headEnd type="none"/>
                <a:tailEnd type="none"/>
              </a:ln>
              <a:effectLst/>
            </p:spPr>
          </p:cxnSp>
          <p:sp>
            <p:nvSpPr>
              <p:cNvPr id="62" name="Freeform: Shape 61">
                <a:extLst>
                  <a:ext uri="{FF2B5EF4-FFF2-40B4-BE49-F238E27FC236}">
                    <a16:creationId xmlns:a16="http://schemas.microsoft.com/office/drawing/2014/main" id="{77916E11-C68F-49E0-8EEB-6A2A24591D01}"/>
                  </a:ext>
                </a:extLst>
              </p:cNvPr>
              <p:cNvSpPr/>
              <p:nvPr/>
            </p:nvSpPr>
            <p:spPr bwMode="auto">
              <a:xfrm>
                <a:off x="796568" y="2905899"/>
                <a:ext cx="1018011" cy="1005862"/>
              </a:xfrm>
              <a:custGeom>
                <a:avLst/>
                <a:gdLst>
                  <a:gd name="connsiteX0" fmla="*/ 1018011 w 1018011"/>
                  <a:gd name="connsiteY0" fmla="*/ 0 h 1005862"/>
                  <a:gd name="connsiteX1" fmla="*/ 1018011 w 1018011"/>
                  <a:gd name="connsiteY1" fmla="*/ 1005862 h 1005862"/>
                  <a:gd name="connsiteX2" fmla="*/ 0 w 1018011"/>
                  <a:gd name="connsiteY2" fmla="*/ 865977 h 1005862"/>
                  <a:gd name="connsiteX3" fmla="*/ 0 w 1018011"/>
                  <a:gd name="connsiteY3" fmla="*/ 139885 h 1005862"/>
                  <a:gd name="connsiteX4" fmla="*/ 1018011 w 1018011"/>
                  <a:gd name="connsiteY4" fmla="*/ 0 h 1005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011" h="1005862">
                    <a:moveTo>
                      <a:pt x="1018011" y="0"/>
                    </a:moveTo>
                    <a:lnTo>
                      <a:pt x="1018011" y="1005862"/>
                    </a:lnTo>
                    <a:lnTo>
                      <a:pt x="0" y="865977"/>
                    </a:lnTo>
                    <a:lnTo>
                      <a:pt x="0" y="139885"/>
                    </a:lnTo>
                    <a:lnTo>
                      <a:pt x="1018011" y="0"/>
                    </a:lnTo>
                    <a:close/>
                  </a:path>
                </a:pathLst>
              </a:custGeom>
              <a:noFill/>
              <a:ln w="12700" cap="rnd">
                <a:solidFill>
                  <a:srgbClr val="0078D7"/>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kern="0">
                  <a:solidFill>
                    <a:prstClr val="black"/>
                  </a:solidFill>
                  <a:latin typeface="Arial" charset="0"/>
                  <a:ea typeface="Arial" charset="0"/>
                  <a:cs typeface="Arial" charset="0"/>
                </a:endParaRPr>
              </a:p>
            </p:txBody>
          </p:sp>
        </p:grpSp>
        <p:grpSp>
          <p:nvGrpSpPr>
            <p:cNvPr id="53" name="Group 52">
              <a:extLst>
                <a:ext uri="{FF2B5EF4-FFF2-40B4-BE49-F238E27FC236}">
                  <a16:creationId xmlns:a16="http://schemas.microsoft.com/office/drawing/2014/main" id="{F237216C-714F-4A98-9A33-D7255B9BA7E1}"/>
                </a:ext>
              </a:extLst>
            </p:cNvPr>
            <p:cNvGrpSpPr/>
            <p:nvPr/>
          </p:nvGrpSpPr>
          <p:grpSpPr>
            <a:xfrm flipH="1">
              <a:off x="8510255" y="5575982"/>
              <a:ext cx="389012" cy="487697"/>
              <a:chOff x="2219828" y="2759797"/>
              <a:chExt cx="789963" cy="990359"/>
            </a:xfrm>
          </p:grpSpPr>
          <p:sp>
            <p:nvSpPr>
              <p:cNvPr id="54" name="Freeform 10">
                <a:extLst>
                  <a:ext uri="{FF2B5EF4-FFF2-40B4-BE49-F238E27FC236}">
                    <a16:creationId xmlns:a16="http://schemas.microsoft.com/office/drawing/2014/main" id="{CED6BB94-2AF0-4BCB-83EC-E4F9F87F4B15}"/>
                  </a:ext>
                </a:extLst>
              </p:cNvPr>
              <p:cNvSpPr>
                <a:spLocks/>
              </p:cNvSpPr>
              <p:nvPr/>
            </p:nvSpPr>
            <p:spPr bwMode="auto">
              <a:xfrm>
                <a:off x="2219828" y="3079722"/>
                <a:ext cx="121596" cy="374921"/>
              </a:xfrm>
              <a:prstGeom prst="roundRect">
                <a:avLst>
                  <a:gd name="adj" fmla="val 50000"/>
                </a:avLst>
              </a:prstGeom>
              <a:noFill/>
              <a:ln w="12700" cap="rnd">
                <a:solidFill>
                  <a:srgbClr val="0078D7"/>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kern="0">
                  <a:solidFill>
                    <a:prstClr val="black"/>
                  </a:solidFill>
                  <a:latin typeface="Arial" charset="0"/>
                  <a:cs typeface="Arial" charset="0"/>
                </a:endParaRPr>
              </a:p>
            </p:txBody>
          </p:sp>
          <p:sp>
            <p:nvSpPr>
              <p:cNvPr id="55" name="Freeform 11">
                <a:extLst>
                  <a:ext uri="{FF2B5EF4-FFF2-40B4-BE49-F238E27FC236}">
                    <a16:creationId xmlns:a16="http://schemas.microsoft.com/office/drawing/2014/main" id="{9034CEA1-CBB5-4E1C-BF22-509DB7CABD53}"/>
                  </a:ext>
                </a:extLst>
              </p:cNvPr>
              <p:cNvSpPr>
                <a:spLocks/>
              </p:cNvSpPr>
              <p:nvPr/>
            </p:nvSpPr>
            <p:spPr bwMode="auto">
              <a:xfrm>
                <a:off x="2889145" y="3079722"/>
                <a:ext cx="120646" cy="374921"/>
              </a:xfrm>
              <a:prstGeom prst="roundRect">
                <a:avLst>
                  <a:gd name="adj" fmla="val 50000"/>
                </a:avLst>
              </a:prstGeom>
              <a:noFill/>
              <a:ln w="12700" cap="rnd">
                <a:solidFill>
                  <a:srgbClr val="0078D7"/>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kern="0">
                  <a:solidFill>
                    <a:prstClr val="black"/>
                  </a:solidFill>
                  <a:latin typeface="Arial" charset="0"/>
                  <a:cs typeface="Arial" charset="0"/>
                </a:endParaRPr>
              </a:p>
            </p:txBody>
          </p:sp>
          <p:cxnSp>
            <p:nvCxnSpPr>
              <p:cNvPr id="56" name="Straight Connector 55">
                <a:extLst>
                  <a:ext uri="{FF2B5EF4-FFF2-40B4-BE49-F238E27FC236}">
                    <a16:creationId xmlns:a16="http://schemas.microsoft.com/office/drawing/2014/main" id="{083A412F-F211-4D13-945F-D57FC8B2D239}"/>
                  </a:ext>
                </a:extLst>
              </p:cNvPr>
              <p:cNvCxnSpPr>
                <a:cxnSpLocks/>
              </p:cNvCxnSpPr>
              <p:nvPr/>
            </p:nvCxnSpPr>
            <p:spPr>
              <a:xfrm>
                <a:off x="2343316" y="3077044"/>
                <a:ext cx="544574" cy="0"/>
              </a:xfrm>
              <a:prstGeom prst="line">
                <a:avLst/>
              </a:prstGeom>
              <a:noFill/>
              <a:ln w="12700" cap="flat" cmpd="sng" algn="ctr">
                <a:solidFill>
                  <a:srgbClr val="0078D7"/>
                </a:solidFill>
                <a:prstDash val="solid"/>
                <a:headEnd type="none"/>
                <a:tailEnd type="none"/>
              </a:ln>
              <a:effectLst/>
            </p:spPr>
          </p:cxnSp>
          <p:cxnSp>
            <p:nvCxnSpPr>
              <p:cNvPr id="57" name="Straight Connector 56">
                <a:extLst>
                  <a:ext uri="{FF2B5EF4-FFF2-40B4-BE49-F238E27FC236}">
                    <a16:creationId xmlns:a16="http://schemas.microsoft.com/office/drawing/2014/main" id="{9BC1DAC7-3D9E-4747-A6A1-8C4BD7D893F8}"/>
                  </a:ext>
                </a:extLst>
              </p:cNvPr>
              <p:cNvCxnSpPr>
                <a:cxnSpLocks/>
              </p:cNvCxnSpPr>
              <p:nvPr/>
            </p:nvCxnSpPr>
            <p:spPr>
              <a:xfrm>
                <a:off x="2440438" y="2759797"/>
                <a:ext cx="52818" cy="92978"/>
              </a:xfrm>
              <a:prstGeom prst="line">
                <a:avLst/>
              </a:prstGeom>
              <a:noFill/>
              <a:ln w="12700" cap="rnd" cmpd="sng" algn="ctr">
                <a:solidFill>
                  <a:srgbClr val="0078D7"/>
                </a:solidFill>
                <a:prstDash val="solid"/>
                <a:headEnd type="none"/>
                <a:tailEnd type="none"/>
              </a:ln>
              <a:effectLst/>
            </p:spPr>
          </p:cxnSp>
          <p:cxnSp>
            <p:nvCxnSpPr>
              <p:cNvPr id="58" name="Straight Connector 57">
                <a:extLst>
                  <a:ext uri="{FF2B5EF4-FFF2-40B4-BE49-F238E27FC236}">
                    <a16:creationId xmlns:a16="http://schemas.microsoft.com/office/drawing/2014/main" id="{BC0314FF-F042-4A86-ADE5-42D3AA02AA1F}"/>
                  </a:ext>
                </a:extLst>
              </p:cNvPr>
              <p:cNvCxnSpPr>
                <a:cxnSpLocks/>
              </p:cNvCxnSpPr>
              <p:nvPr/>
            </p:nvCxnSpPr>
            <p:spPr>
              <a:xfrm flipH="1">
                <a:off x="2738363" y="2759797"/>
                <a:ext cx="52818" cy="92978"/>
              </a:xfrm>
              <a:prstGeom prst="line">
                <a:avLst/>
              </a:prstGeom>
              <a:noFill/>
              <a:ln w="12700" cap="rnd" cmpd="sng" algn="ctr">
                <a:solidFill>
                  <a:srgbClr val="0078D7"/>
                </a:solidFill>
                <a:prstDash val="solid"/>
                <a:headEnd type="none"/>
                <a:tailEnd type="none"/>
              </a:ln>
              <a:effectLst/>
            </p:spPr>
          </p:cxnSp>
          <p:sp>
            <p:nvSpPr>
              <p:cNvPr id="59" name="Freeform: Shape 58">
                <a:extLst>
                  <a:ext uri="{FF2B5EF4-FFF2-40B4-BE49-F238E27FC236}">
                    <a16:creationId xmlns:a16="http://schemas.microsoft.com/office/drawing/2014/main" id="{B9B4F337-A176-4746-8FC5-212925CD0B0F}"/>
                  </a:ext>
                </a:extLst>
              </p:cNvPr>
              <p:cNvSpPr/>
              <p:nvPr/>
            </p:nvSpPr>
            <p:spPr bwMode="auto">
              <a:xfrm>
                <a:off x="2343316" y="2824134"/>
                <a:ext cx="545596" cy="926022"/>
              </a:xfrm>
              <a:custGeom>
                <a:avLst/>
                <a:gdLst>
                  <a:gd name="connsiteX0" fmla="*/ 395046 w 545596"/>
                  <a:gd name="connsiteY0" fmla="*/ 98598 h 926022"/>
                  <a:gd name="connsiteX1" fmla="*/ 372186 w 545596"/>
                  <a:gd name="connsiteY1" fmla="*/ 121458 h 926022"/>
                  <a:gd name="connsiteX2" fmla="*/ 395046 w 545596"/>
                  <a:gd name="connsiteY2" fmla="*/ 144318 h 926022"/>
                  <a:gd name="connsiteX3" fmla="*/ 417906 w 545596"/>
                  <a:gd name="connsiteY3" fmla="*/ 121458 h 926022"/>
                  <a:gd name="connsiteX4" fmla="*/ 395046 w 545596"/>
                  <a:gd name="connsiteY4" fmla="*/ 98598 h 926022"/>
                  <a:gd name="connsiteX5" fmla="*/ 146390 w 545596"/>
                  <a:gd name="connsiteY5" fmla="*/ 98598 h 926022"/>
                  <a:gd name="connsiteX6" fmla="*/ 123530 w 545596"/>
                  <a:gd name="connsiteY6" fmla="*/ 121458 h 926022"/>
                  <a:gd name="connsiteX7" fmla="*/ 146390 w 545596"/>
                  <a:gd name="connsiteY7" fmla="*/ 144318 h 926022"/>
                  <a:gd name="connsiteX8" fmla="*/ 169250 w 545596"/>
                  <a:gd name="connsiteY8" fmla="*/ 121458 h 926022"/>
                  <a:gd name="connsiteX9" fmla="*/ 146390 w 545596"/>
                  <a:gd name="connsiteY9" fmla="*/ 98598 h 926022"/>
                  <a:gd name="connsiteX10" fmla="*/ 272798 w 545596"/>
                  <a:gd name="connsiteY10" fmla="*/ 0 h 926022"/>
                  <a:gd name="connsiteX11" fmla="*/ 545596 w 545596"/>
                  <a:gd name="connsiteY11" fmla="*/ 243787 h 926022"/>
                  <a:gd name="connsiteX12" fmla="*/ 545596 w 545596"/>
                  <a:gd name="connsiteY12" fmla="*/ 659975 h 926022"/>
                  <a:gd name="connsiteX13" fmla="*/ 481643 w 545596"/>
                  <a:gd name="connsiteY13" fmla="*/ 723928 h 926022"/>
                  <a:gd name="connsiteX14" fmla="*/ 432485 w 545596"/>
                  <a:gd name="connsiteY14" fmla="*/ 723928 h 926022"/>
                  <a:gd name="connsiteX15" fmla="*/ 432485 w 545596"/>
                  <a:gd name="connsiteY15" fmla="*/ 870346 h 926022"/>
                  <a:gd name="connsiteX16" fmla="*/ 376809 w 545596"/>
                  <a:gd name="connsiteY16" fmla="*/ 926022 h 926022"/>
                  <a:gd name="connsiteX17" fmla="*/ 376810 w 545596"/>
                  <a:gd name="connsiteY17" fmla="*/ 926021 h 926022"/>
                  <a:gd name="connsiteX18" fmla="*/ 321134 w 545596"/>
                  <a:gd name="connsiteY18" fmla="*/ 870345 h 926022"/>
                  <a:gd name="connsiteX19" fmla="*/ 321134 w 545596"/>
                  <a:gd name="connsiteY19" fmla="*/ 723928 h 926022"/>
                  <a:gd name="connsiteX20" fmla="*/ 224462 w 545596"/>
                  <a:gd name="connsiteY20" fmla="*/ 723928 h 926022"/>
                  <a:gd name="connsiteX21" fmla="*/ 224462 w 545596"/>
                  <a:gd name="connsiteY21" fmla="*/ 870346 h 926022"/>
                  <a:gd name="connsiteX22" fmla="*/ 168786 w 545596"/>
                  <a:gd name="connsiteY22" fmla="*/ 926022 h 926022"/>
                  <a:gd name="connsiteX23" fmla="*/ 168787 w 545596"/>
                  <a:gd name="connsiteY23" fmla="*/ 926021 h 926022"/>
                  <a:gd name="connsiteX24" fmla="*/ 113111 w 545596"/>
                  <a:gd name="connsiteY24" fmla="*/ 870345 h 926022"/>
                  <a:gd name="connsiteX25" fmla="*/ 113111 w 545596"/>
                  <a:gd name="connsiteY25" fmla="*/ 723928 h 926022"/>
                  <a:gd name="connsiteX26" fmla="*/ 63953 w 545596"/>
                  <a:gd name="connsiteY26" fmla="*/ 723928 h 926022"/>
                  <a:gd name="connsiteX27" fmla="*/ 0 w 545596"/>
                  <a:gd name="connsiteY27" fmla="*/ 659975 h 926022"/>
                  <a:gd name="connsiteX28" fmla="*/ 0 w 545596"/>
                  <a:gd name="connsiteY28" fmla="*/ 243787 h 926022"/>
                  <a:gd name="connsiteX29" fmla="*/ 272798 w 545596"/>
                  <a:gd name="connsiteY29" fmla="*/ 0 h 92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5596" h="926022">
                    <a:moveTo>
                      <a:pt x="395046" y="98598"/>
                    </a:moveTo>
                    <a:cubicBezTo>
                      <a:pt x="382421" y="98598"/>
                      <a:pt x="372186" y="108833"/>
                      <a:pt x="372186" y="121458"/>
                    </a:cubicBezTo>
                    <a:cubicBezTo>
                      <a:pt x="372186" y="134083"/>
                      <a:pt x="382421" y="144318"/>
                      <a:pt x="395046" y="144318"/>
                    </a:cubicBezTo>
                    <a:cubicBezTo>
                      <a:pt x="407671" y="144318"/>
                      <a:pt x="417906" y="134083"/>
                      <a:pt x="417906" y="121458"/>
                    </a:cubicBezTo>
                    <a:cubicBezTo>
                      <a:pt x="417906" y="108833"/>
                      <a:pt x="407671" y="98598"/>
                      <a:pt x="395046" y="98598"/>
                    </a:cubicBezTo>
                    <a:close/>
                    <a:moveTo>
                      <a:pt x="146390" y="98598"/>
                    </a:moveTo>
                    <a:cubicBezTo>
                      <a:pt x="133765" y="98598"/>
                      <a:pt x="123530" y="108833"/>
                      <a:pt x="123530" y="121458"/>
                    </a:cubicBezTo>
                    <a:cubicBezTo>
                      <a:pt x="123530" y="134083"/>
                      <a:pt x="133765" y="144318"/>
                      <a:pt x="146390" y="144318"/>
                    </a:cubicBezTo>
                    <a:cubicBezTo>
                      <a:pt x="159015" y="144318"/>
                      <a:pt x="169250" y="134083"/>
                      <a:pt x="169250" y="121458"/>
                    </a:cubicBezTo>
                    <a:cubicBezTo>
                      <a:pt x="169250" y="108833"/>
                      <a:pt x="159015" y="98598"/>
                      <a:pt x="146390" y="98598"/>
                    </a:cubicBezTo>
                    <a:close/>
                    <a:moveTo>
                      <a:pt x="272798" y="0"/>
                    </a:moveTo>
                    <a:cubicBezTo>
                      <a:pt x="423460" y="0"/>
                      <a:pt x="545596" y="109147"/>
                      <a:pt x="545596" y="243787"/>
                    </a:cubicBezTo>
                    <a:lnTo>
                      <a:pt x="545596" y="659975"/>
                    </a:lnTo>
                    <a:cubicBezTo>
                      <a:pt x="545596" y="695295"/>
                      <a:pt x="516963" y="723928"/>
                      <a:pt x="481643" y="723928"/>
                    </a:cubicBezTo>
                    <a:lnTo>
                      <a:pt x="432485" y="723928"/>
                    </a:lnTo>
                    <a:lnTo>
                      <a:pt x="432485" y="870346"/>
                    </a:lnTo>
                    <a:cubicBezTo>
                      <a:pt x="432485" y="901095"/>
                      <a:pt x="407558" y="926022"/>
                      <a:pt x="376809" y="926022"/>
                    </a:cubicBezTo>
                    <a:lnTo>
                      <a:pt x="376810" y="926021"/>
                    </a:lnTo>
                    <a:cubicBezTo>
                      <a:pt x="346061" y="926021"/>
                      <a:pt x="321134" y="901094"/>
                      <a:pt x="321134" y="870345"/>
                    </a:cubicBezTo>
                    <a:lnTo>
                      <a:pt x="321134" y="723928"/>
                    </a:lnTo>
                    <a:lnTo>
                      <a:pt x="224462" y="723928"/>
                    </a:lnTo>
                    <a:lnTo>
                      <a:pt x="224462" y="870346"/>
                    </a:lnTo>
                    <a:cubicBezTo>
                      <a:pt x="224462" y="901095"/>
                      <a:pt x="199535" y="926022"/>
                      <a:pt x="168786" y="926022"/>
                    </a:cubicBezTo>
                    <a:lnTo>
                      <a:pt x="168787" y="926021"/>
                    </a:lnTo>
                    <a:cubicBezTo>
                      <a:pt x="138038" y="926021"/>
                      <a:pt x="113111" y="901094"/>
                      <a:pt x="113111" y="870345"/>
                    </a:cubicBezTo>
                    <a:lnTo>
                      <a:pt x="113111" y="723928"/>
                    </a:lnTo>
                    <a:lnTo>
                      <a:pt x="63953" y="723928"/>
                    </a:lnTo>
                    <a:cubicBezTo>
                      <a:pt x="28633" y="723928"/>
                      <a:pt x="0" y="695295"/>
                      <a:pt x="0" y="659975"/>
                    </a:cubicBezTo>
                    <a:lnTo>
                      <a:pt x="0" y="243787"/>
                    </a:lnTo>
                    <a:cubicBezTo>
                      <a:pt x="0" y="109147"/>
                      <a:pt x="122136" y="0"/>
                      <a:pt x="272798" y="0"/>
                    </a:cubicBezTo>
                    <a:close/>
                  </a:path>
                </a:pathLst>
              </a:custGeom>
              <a:noFill/>
              <a:ln w="12700" cap="rnd">
                <a:solidFill>
                  <a:srgbClr val="0078D7"/>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endParaRPr lang="en-US" kern="0">
                  <a:solidFill>
                    <a:prstClr val="black"/>
                  </a:solidFill>
                  <a:latin typeface="Arial" charset="0"/>
                  <a:ea typeface="Arial" charset="0"/>
                  <a:cs typeface="Arial" charset="0"/>
                </a:endParaRPr>
              </a:p>
            </p:txBody>
          </p:sp>
        </p:grpSp>
      </p:grpSp>
      <p:graphicFrame>
        <p:nvGraphicFramePr>
          <p:cNvPr id="63" name="Diagram 62">
            <a:extLst>
              <a:ext uri="{FF2B5EF4-FFF2-40B4-BE49-F238E27FC236}">
                <a16:creationId xmlns:a16="http://schemas.microsoft.com/office/drawing/2014/main" id="{68B29237-EA36-4C5C-B7F7-795F0B6E15F6}"/>
              </a:ext>
            </a:extLst>
          </p:cNvPr>
          <p:cNvGraphicFramePr/>
          <p:nvPr>
            <p:extLst>
              <p:ext uri="{D42A27DB-BD31-4B8C-83A1-F6EECF244321}">
                <p14:modId xmlns:p14="http://schemas.microsoft.com/office/powerpoint/2010/main" val="938481287"/>
              </p:ext>
            </p:extLst>
          </p:nvPr>
        </p:nvGraphicFramePr>
        <p:xfrm>
          <a:off x="664345" y="1228724"/>
          <a:ext cx="5817225" cy="49990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59332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graphicEl>
                                              <a:dgm id="{C3E3CCFF-C5C6-483C-9F7E-8BF07742EC0C}"/>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graphicEl>
                                              <a:dgm id="{805C92F6-58CF-4500-A9B2-F5CFD21F56E5}"/>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3">
                                            <p:graphicEl>
                                              <a:dgm id="{1CC27B5B-B892-4017-A72A-BD4D64F3651B}"/>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3">
                                            <p:graphicEl>
                                              <a:dgm id="{0DBB5B29-DEA1-4361-B0A9-892B87661E5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
                                            <p:graphicEl>
                                              <a:dgm id="{60EB1B66-CC24-4A09-AD93-9F934B738976}"/>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3">
                                            <p:graphicEl>
                                              <a:dgm id="{DE14FD35-F502-4795-A370-682505109CDB}"/>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3">
                                            <p:graphicEl>
                                              <a:dgm id="{6AAB1AD2-911D-47B5-9E4F-2BFB9A4CB9F1}"/>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3">
                                            <p:graphicEl>
                                              <a:dgm id="{886D4DBB-F5E2-45D7-BEDB-C6AD57E356E6}"/>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
                                            <p:graphicEl>
                                              <a:dgm id="{4B0339A8-DFFB-43E4-9368-DF7645AD808E}"/>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3">
                                            <p:graphicEl>
                                              <a:dgm id="{F7EDB615-C14F-495F-B4E0-B19299C5BB3A}"/>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3">
                                            <p:graphicEl>
                                              <a:dgm id="{81495C1D-FD76-47FB-A523-FAFB98DB7852}"/>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
                                            <p:graphicEl>
                                              <a:dgm id="{399C60C7-F801-4906-A7F2-E42FE4063A6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3" grpId="0" uiExpand="1">
        <p:bldSub>
          <a:bldDgm bld="one"/>
        </p:bldSub>
      </p:bldGraphic>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AAB2-9EFA-4510-9A3E-40C95A91E02E}"/>
              </a:ext>
            </a:extLst>
          </p:cNvPr>
          <p:cNvSpPr>
            <a:spLocks noGrp="1"/>
          </p:cNvSpPr>
          <p:nvPr>
            <p:ph type="title"/>
          </p:nvPr>
        </p:nvSpPr>
        <p:spPr/>
        <p:txBody>
          <a:bodyPr/>
          <a:lstStyle/>
          <a:p>
            <a:r>
              <a:rPr lang="en-US"/>
              <a:t>Analyze audit logs and reports</a:t>
            </a:r>
          </a:p>
        </p:txBody>
      </p:sp>
      <p:graphicFrame>
        <p:nvGraphicFramePr>
          <p:cNvPr id="8" name="Diagram 7">
            <a:extLst>
              <a:ext uri="{FF2B5EF4-FFF2-40B4-BE49-F238E27FC236}">
                <a16:creationId xmlns:a16="http://schemas.microsoft.com/office/drawing/2014/main" id="{B3FE8885-35C4-4AFD-989A-40D9C461D9F5}"/>
              </a:ext>
            </a:extLst>
          </p:cNvPr>
          <p:cNvGraphicFramePr/>
          <p:nvPr>
            <p:extLst>
              <p:ext uri="{D42A27DB-BD31-4B8C-83A1-F6EECF244321}">
                <p14:modId xmlns:p14="http://schemas.microsoft.com/office/powerpoint/2010/main" val="2348981341"/>
              </p:ext>
            </p:extLst>
          </p:nvPr>
        </p:nvGraphicFramePr>
        <p:xfrm>
          <a:off x="655636" y="1408114"/>
          <a:ext cx="10880725" cy="48557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66392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dgm id="{4DD7C95C-C098-412D-B906-033164EFCEF7}"/>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graphicEl>
                                              <a:dgm id="{F9822D8B-BDF8-4FC0-AB1F-8F2C6B43AB9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dgm id="{D1E81132-7F06-4C5C-B7B1-CC6C01C5C269}"/>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graphicEl>
                                              <a:dgm id="{0531F294-9F7B-4F7C-978B-B6EE06139032}"/>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graphicEl>
                                              <a:dgm id="{F8E14435-6CDD-4CF9-9937-090146E2FE24}"/>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graphicEl>
                                              <a:dgm id="{26AAA9CC-1277-4E24-BEB6-173CCB3E53D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br>
              <a:rPr lang="en-US"/>
            </a:br>
            <a:endParaRPr lang="en-US"/>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Implement Auditing for Azure SQL Database</a:t>
            </a:r>
          </a:p>
          <a:p>
            <a:pPr marL="571500" lvl="1" indent="-342900">
              <a:buFont typeface="Arial" panose="020B0604020202020204" pitchFamily="34" charset="0"/>
              <a:buChar char="•"/>
            </a:pPr>
            <a:r>
              <a:rPr lang="en-US"/>
              <a:t>Enable auditing for Azure SQL Database using Azure portal.</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22286986"/>
      </p:ext>
    </p:extLst>
  </p:cSld>
  <p:clrMapOvr>
    <a:masterClrMapping/>
  </p:clrMapOvr>
  <p:transition spd="slow"/>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885323706"/>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733686838"/>
              </p:ext>
            </p:extLst>
          </p:nvPr>
        </p:nvGraphicFramePr>
        <p:xfrm>
          <a:off x="655638" y="1408113"/>
          <a:ext cx="10880725" cy="3392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1773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6989247-99F6-4AF2-B76D-35A7CDAFD37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graphicEl>
                                              <a:dgm id="{E922B38C-D007-46D8-9A79-C8E951BC838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5C29BE52-B903-4E71-A37C-F053B49277A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545762" cy="604798"/>
          </a:xfrm>
        </p:spPr>
        <p:txBody>
          <a:bodyPr/>
          <a:lstStyle/>
          <a:p>
            <a:r>
              <a:rPr lang="en-US"/>
              <a:t>Lesson 10: Implement Advanced Data Security</a:t>
            </a:r>
          </a:p>
        </p:txBody>
      </p:sp>
    </p:spTree>
    <p:extLst>
      <p:ext uri="{BB962C8B-B14F-4D97-AF65-F5344CB8AC3E}">
        <p14:creationId xmlns:p14="http://schemas.microsoft.com/office/powerpoint/2010/main" val="10343068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Know how to proactively identify security threats like SQL Injection or anomalous SQL login by enabling threat detection</a:t>
            </a:r>
          </a:p>
          <a:p>
            <a:r>
              <a:rPr lang="en-US"/>
              <a:t>Know how to discover, classify, label &amp; protect the sensitive data in your databases</a:t>
            </a:r>
          </a:p>
          <a:p>
            <a:r>
              <a:rPr lang="en-US"/>
              <a:t>Know how to discover, track, and help you remediate potential database vulnerabiliti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104720035"/>
      </p:ext>
    </p:extLst>
  </p:cSld>
  <p:clrMapOvr>
    <a:masterClrMapping/>
  </p:clrMapOvr>
  <p:transition spd="slow"/>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FA922-CABC-4EFD-BBCF-A80F543A1240}"/>
              </a:ext>
            </a:extLst>
          </p:cNvPr>
          <p:cNvSpPr>
            <a:spLocks noGrp="1"/>
          </p:cNvSpPr>
          <p:nvPr>
            <p:ph type="title"/>
          </p:nvPr>
        </p:nvSpPr>
        <p:spPr/>
        <p:txBody>
          <a:bodyPr/>
          <a:lstStyle/>
          <a:p>
            <a:r>
              <a:rPr lang="en-US"/>
              <a:t>Advanced Data Security (ADS) </a:t>
            </a:r>
          </a:p>
        </p:txBody>
      </p:sp>
      <p:graphicFrame>
        <p:nvGraphicFramePr>
          <p:cNvPr id="4" name="Diagram 3">
            <a:extLst>
              <a:ext uri="{FF2B5EF4-FFF2-40B4-BE49-F238E27FC236}">
                <a16:creationId xmlns:a16="http://schemas.microsoft.com/office/drawing/2014/main" id="{CEB83125-D7BB-46F3-A727-E480DA74AE24}"/>
              </a:ext>
            </a:extLst>
          </p:cNvPr>
          <p:cNvGraphicFramePr/>
          <p:nvPr>
            <p:extLst>
              <p:ext uri="{D42A27DB-BD31-4B8C-83A1-F6EECF244321}">
                <p14:modId xmlns:p14="http://schemas.microsoft.com/office/powerpoint/2010/main" val="2436297781"/>
              </p:ext>
            </p:extLst>
          </p:nvPr>
        </p:nvGraphicFramePr>
        <p:xfrm>
          <a:off x="673053" y="1429885"/>
          <a:ext cx="10863309" cy="47978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44398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FA922-CABC-4EFD-BBCF-A80F543A1240}"/>
              </a:ext>
            </a:extLst>
          </p:cNvPr>
          <p:cNvSpPr>
            <a:spLocks noGrp="1"/>
          </p:cNvSpPr>
          <p:nvPr>
            <p:ph type="title"/>
          </p:nvPr>
        </p:nvSpPr>
        <p:spPr/>
        <p:txBody>
          <a:bodyPr/>
          <a:lstStyle/>
          <a:p>
            <a:r>
              <a:rPr lang="en-US"/>
              <a:t>Advanced Threat Detection</a:t>
            </a:r>
          </a:p>
        </p:txBody>
      </p:sp>
      <p:sp>
        <p:nvSpPr>
          <p:cNvPr id="5" name="Content Placeholder 4">
            <a:extLst>
              <a:ext uri="{FF2B5EF4-FFF2-40B4-BE49-F238E27FC236}">
                <a16:creationId xmlns:a16="http://schemas.microsoft.com/office/drawing/2014/main" id="{F12D2148-B21B-48C8-95D8-B0F7BE1D4755}"/>
              </a:ext>
            </a:extLst>
          </p:cNvPr>
          <p:cNvSpPr>
            <a:spLocks noGrp="1"/>
          </p:cNvSpPr>
          <p:nvPr>
            <p:ph sz="quarter" idx="13"/>
          </p:nvPr>
        </p:nvSpPr>
        <p:spPr/>
        <p:txBody>
          <a:bodyPr/>
          <a:lstStyle/>
          <a:p>
            <a:endParaRPr lang="en-US"/>
          </a:p>
        </p:txBody>
      </p:sp>
      <p:graphicFrame>
        <p:nvGraphicFramePr>
          <p:cNvPr id="4" name="Diagram 3">
            <a:extLst>
              <a:ext uri="{FF2B5EF4-FFF2-40B4-BE49-F238E27FC236}">
                <a16:creationId xmlns:a16="http://schemas.microsoft.com/office/drawing/2014/main" id="{BE7EB58D-AABB-4937-BDA3-037809D5FEA2}"/>
              </a:ext>
            </a:extLst>
          </p:cNvPr>
          <p:cNvGraphicFramePr/>
          <p:nvPr>
            <p:extLst>
              <p:ext uri="{D42A27DB-BD31-4B8C-83A1-F6EECF244321}">
                <p14:modId xmlns:p14="http://schemas.microsoft.com/office/powerpoint/2010/main" val="288422142"/>
              </p:ext>
            </p:extLst>
          </p:nvPr>
        </p:nvGraphicFramePr>
        <p:xfrm>
          <a:off x="655637" y="1143000"/>
          <a:ext cx="10880725" cy="4830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226252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FA922-CABC-4EFD-BBCF-A80F543A1240}"/>
              </a:ext>
            </a:extLst>
          </p:cNvPr>
          <p:cNvSpPr>
            <a:spLocks noGrp="1"/>
          </p:cNvSpPr>
          <p:nvPr>
            <p:ph type="title"/>
          </p:nvPr>
        </p:nvSpPr>
        <p:spPr/>
        <p:txBody>
          <a:bodyPr/>
          <a:lstStyle/>
          <a:p>
            <a:r>
              <a:rPr lang="en-US"/>
              <a:t>Advanced Threat Detection (continued)</a:t>
            </a:r>
          </a:p>
        </p:txBody>
      </p:sp>
      <p:grpSp>
        <p:nvGrpSpPr>
          <p:cNvPr id="3" name="Group 2">
            <a:extLst>
              <a:ext uri="{FF2B5EF4-FFF2-40B4-BE49-F238E27FC236}">
                <a16:creationId xmlns:a16="http://schemas.microsoft.com/office/drawing/2014/main" id="{2F75F35B-717C-499A-9F28-4853BEE013D5}"/>
              </a:ext>
            </a:extLst>
          </p:cNvPr>
          <p:cNvGrpSpPr/>
          <p:nvPr/>
        </p:nvGrpSpPr>
        <p:grpSpPr>
          <a:xfrm>
            <a:off x="6096000" y="1731144"/>
            <a:ext cx="5750511" cy="3578441"/>
            <a:chOff x="5751890" y="2100160"/>
            <a:chExt cx="6363910" cy="3919640"/>
          </a:xfrm>
        </p:grpSpPr>
        <p:sp>
          <p:nvSpPr>
            <p:cNvPr id="4" name="Freeform 146">
              <a:extLst>
                <a:ext uri="{FF2B5EF4-FFF2-40B4-BE49-F238E27FC236}">
                  <a16:creationId xmlns:a16="http://schemas.microsoft.com/office/drawing/2014/main" id="{8F221B38-5A31-48EE-9B01-653FEF04C405}"/>
                </a:ext>
              </a:extLst>
            </p:cNvPr>
            <p:cNvSpPr>
              <a:spLocks noChangeAspect="1"/>
            </p:cNvSpPr>
            <p:nvPr/>
          </p:nvSpPr>
          <p:spPr bwMode="auto">
            <a:xfrm>
              <a:off x="9750661" y="2158511"/>
              <a:ext cx="2365139" cy="1497862"/>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FFFFFF">
                <a:lumMod val="95000"/>
              </a:srgbClr>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sp>
          <p:nvSpPr>
            <p:cNvPr id="5" name="Freeform: Shape 4">
              <a:extLst>
                <a:ext uri="{FF2B5EF4-FFF2-40B4-BE49-F238E27FC236}">
                  <a16:creationId xmlns:a16="http://schemas.microsoft.com/office/drawing/2014/main" id="{AB3E10EE-E69D-42A4-956E-4F713F64297D}"/>
                </a:ext>
              </a:extLst>
            </p:cNvPr>
            <p:cNvSpPr>
              <a:spLocks noChangeAspect="1"/>
            </p:cNvSpPr>
            <p:nvPr/>
          </p:nvSpPr>
          <p:spPr bwMode="auto">
            <a:xfrm>
              <a:off x="7648084" y="2598796"/>
              <a:ext cx="3217102" cy="1718022"/>
            </a:xfrm>
            <a:custGeom>
              <a:avLst/>
              <a:gdLst>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2606746 w 3631577"/>
                <a:gd name="connsiteY9" fmla="*/ 1939359 h 1939363"/>
                <a:gd name="connsiteX10" fmla="*/ 2606742 w 3631577"/>
                <a:gd name="connsiteY10" fmla="*/ 1939360 h 1939363"/>
                <a:gd name="connsiteX11" fmla="*/ 664172 w 3631577"/>
                <a:gd name="connsiteY11" fmla="*/ 1939360 h 1939363"/>
                <a:gd name="connsiteX12" fmla="*/ 146 w 3631577"/>
                <a:gd name="connsiteY12" fmla="*/ 1262384 h 1939363"/>
                <a:gd name="connsiteX13" fmla="*/ 851902 w 3631577"/>
                <a:gd name="connsiteY13" fmla="*/ 616223 h 1939363"/>
                <a:gd name="connsiteX14" fmla="*/ 1663949 w 3631577"/>
                <a:gd name="connsiteY14" fmla="*/ 1055 h 1939363"/>
                <a:gd name="connsiteX0" fmla="*/ 1663949 w 3631577"/>
                <a:gd name="connsiteY0" fmla="*/ 1055 h 1989505"/>
                <a:gd name="connsiteX1" fmla="*/ 1834615 w 3631577"/>
                <a:gd name="connsiteY1" fmla="*/ 10033 h 1989505"/>
                <a:gd name="connsiteX2" fmla="*/ 2313390 w 3631577"/>
                <a:gd name="connsiteY2" fmla="*/ 236394 h 1989505"/>
                <a:gd name="connsiteX3" fmla="*/ 2335490 w 3631577"/>
                <a:gd name="connsiteY3" fmla="*/ 259441 h 1989505"/>
                <a:gd name="connsiteX4" fmla="*/ 2411520 w 3631577"/>
                <a:gd name="connsiteY4" fmla="*/ 248167 h 1989505"/>
                <a:gd name="connsiteX5" fmla="*/ 2560428 w 3631577"/>
                <a:gd name="connsiteY5" fmla="*/ 256000 h 1989505"/>
                <a:gd name="connsiteX6" fmla="*/ 3250416 w 3631577"/>
                <a:gd name="connsiteY6" fmla="*/ 1132298 h 1989505"/>
                <a:gd name="connsiteX7" fmla="*/ 3631575 w 3631577"/>
                <a:gd name="connsiteY7" fmla="*/ 1534151 h 1989505"/>
                <a:gd name="connsiteX8" fmla="*/ 3234118 w 3631577"/>
                <a:gd name="connsiteY8" fmla="*/ 1939359 h 1989505"/>
                <a:gd name="connsiteX9" fmla="*/ 2606746 w 3631577"/>
                <a:gd name="connsiteY9" fmla="*/ 1939359 h 1989505"/>
                <a:gd name="connsiteX10" fmla="*/ 664172 w 3631577"/>
                <a:gd name="connsiteY10" fmla="*/ 1939360 h 1989505"/>
                <a:gd name="connsiteX11" fmla="*/ 146 w 3631577"/>
                <a:gd name="connsiteY11" fmla="*/ 1262384 h 1989505"/>
                <a:gd name="connsiteX12" fmla="*/ 851902 w 3631577"/>
                <a:gd name="connsiteY12" fmla="*/ 616223 h 1989505"/>
                <a:gd name="connsiteX13" fmla="*/ 1663949 w 3631577"/>
                <a:gd name="connsiteY13" fmla="*/ 1055 h 1989505"/>
                <a:gd name="connsiteX0" fmla="*/ 1663949 w 3631577"/>
                <a:gd name="connsiteY0" fmla="*/ 1055 h 1939363"/>
                <a:gd name="connsiteX1" fmla="*/ 1834615 w 3631577"/>
                <a:gd name="connsiteY1" fmla="*/ 10033 h 1939363"/>
                <a:gd name="connsiteX2" fmla="*/ 2313390 w 3631577"/>
                <a:gd name="connsiteY2" fmla="*/ 236394 h 1939363"/>
                <a:gd name="connsiteX3" fmla="*/ 2335490 w 3631577"/>
                <a:gd name="connsiteY3" fmla="*/ 259441 h 1939363"/>
                <a:gd name="connsiteX4" fmla="*/ 2411520 w 3631577"/>
                <a:gd name="connsiteY4" fmla="*/ 248167 h 1939363"/>
                <a:gd name="connsiteX5" fmla="*/ 2560428 w 3631577"/>
                <a:gd name="connsiteY5" fmla="*/ 256000 h 1939363"/>
                <a:gd name="connsiteX6" fmla="*/ 3250416 w 3631577"/>
                <a:gd name="connsiteY6" fmla="*/ 1132298 h 1939363"/>
                <a:gd name="connsiteX7" fmla="*/ 3631575 w 3631577"/>
                <a:gd name="connsiteY7" fmla="*/ 1534151 h 1939363"/>
                <a:gd name="connsiteX8" fmla="*/ 3234118 w 3631577"/>
                <a:gd name="connsiteY8" fmla="*/ 1939359 h 1939363"/>
                <a:gd name="connsiteX9" fmla="*/ 664172 w 3631577"/>
                <a:gd name="connsiteY9" fmla="*/ 1939360 h 1939363"/>
                <a:gd name="connsiteX10" fmla="*/ 146 w 3631577"/>
                <a:gd name="connsiteY10" fmla="*/ 1262384 h 1939363"/>
                <a:gd name="connsiteX11" fmla="*/ 851902 w 3631577"/>
                <a:gd name="connsiteY11" fmla="*/ 616223 h 1939363"/>
                <a:gd name="connsiteX12" fmla="*/ 1663949 w 3631577"/>
                <a:gd name="connsiteY12" fmla="*/ 1055 h 193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1577" h="1939363">
                  <a:moveTo>
                    <a:pt x="1663949" y="1055"/>
                  </a:moveTo>
                  <a:cubicBezTo>
                    <a:pt x="1719922" y="-1755"/>
                    <a:pt x="1777005" y="986"/>
                    <a:pt x="1834615" y="10033"/>
                  </a:cubicBezTo>
                  <a:cubicBezTo>
                    <a:pt x="2014550" y="38289"/>
                    <a:pt x="2180180" y="120172"/>
                    <a:pt x="2313390" y="236394"/>
                  </a:cubicBezTo>
                  <a:lnTo>
                    <a:pt x="2335490" y="259441"/>
                  </a:lnTo>
                  <a:lnTo>
                    <a:pt x="2411520" y="248167"/>
                  </a:lnTo>
                  <a:cubicBezTo>
                    <a:pt x="2460357" y="245715"/>
                    <a:pt x="2510162" y="248106"/>
                    <a:pt x="2560428" y="256000"/>
                  </a:cubicBezTo>
                  <a:cubicBezTo>
                    <a:pt x="2979083" y="321743"/>
                    <a:pt x="3308979" y="720215"/>
                    <a:pt x="3250416" y="1132298"/>
                  </a:cubicBezTo>
                  <a:cubicBezTo>
                    <a:pt x="3551932" y="1174749"/>
                    <a:pt x="3631030" y="1412458"/>
                    <a:pt x="3631575" y="1534151"/>
                  </a:cubicBezTo>
                  <a:cubicBezTo>
                    <a:pt x="3632293" y="1694245"/>
                    <a:pt x="3496359" y="1940578"/>
                    <a:pt x="3234118" y="1939359"/>
                  </a:cubicBezTo>
                  <a:lnTo>
                    <a:pt x="664172" y="1939360"/>
                  </a:lnTo>
                  <a:cubicBezTo>
                    <a:pt x="268892" y="1936996"/>
                    <a:pt x="7906" y="1583998"/>
                    <a:pt x="146" y="1262384"/>
                  </a:cubicBezTo>
                  <a:cubicBezTo>
                    <a:pt x="-7615" y="940769"/>
                    <a:pt x="294464" y="439020"/>
                    <a:pt x="851902" y="616223"/>
                  </a:cubicBezTo>
                  <a:cubicBezTo>
                    <a:pt x="934764" y="312319"/>
                    <a:pt x="1272144" y="20721"/>
                    <a:pt x="1663949" y="1055"/>
                  </a:cubicBezTo>
                  <a:close/>
                </a:path>
              </a:pathLst>
            </a:custGeom>
            <a:solidFill>
              <a:srgbClr val="FFFFFF">
                <a:lumMod val="95000"/>
              </a:srgbClr>
            </a:solidFill>
            <a:ln w="127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IN" sz="1961" b="1" kern="0">
                <a:solidFill>
                  <a:srgbClr val="FFFFFF"/>
                </a:solidFill>
                <a:latin typeface="Segoe UI Light"/>
                <a:ea typeface="Segoe UI" pitchFamily="34" charset="0"/>
                <a:cs typeface="Segoe UI" pitchFamily="34" charset="0"/>
              </a:endParaRPr>
            </a:p>
          </p:txBody>
        </p:sp>
        <p:sp>
          <p:nvSpPr>
            <p:cNvPr id="6" name="TextBox 5">
              <a:extLst>
                <a:ext uri="{FF2B5EF4-FFF2-40B4-BE49-F238E27FC236}">
                  <a16:creationId xmlns:a16="http://schemas.microsoft.com/office/drawing/2014/main" id="{04478ED7-1B49-4270-9067-4E8DE6093D55}"/>
                </a:ext>
              </a:extLst>
            </p:cNvPr>
            <p:cNvSpPr txBox="1"/>
            <p:nvPr/>
          </p:nvSpPr>
          <p:spPr>
            <a:xfrm>
              <a:off x="9084943" y="3901511"/>
              <a:ext cx="1603638" cy="276999"/>
            </a:xfrm>
            <a:prstGeom prst="rect">
              <a:avLst/>
            </a:prstGeom>
            <a:noFill/>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Azure SQL Database </a:t>
              </a:r>
            </a:p>
          </p:txBody>
        </p:sp>
        <p:sp>
          <p:nvSpPr>
            <p:cNvPr id="7" name="TextBox 6">
              <a:extLst>
                <a:ext uri="{FF2B5EF4-FFF2-40B4-BE49-F238E27FC236}">
                  <a16:creationId xmlns:a16="http://schemas.microsoft.com/office/drawing/2014/main" id="{2ABA178E-F6DB-4C14-BCA3-AC1ED49A7961}"/>
                </a:ext>
              </a:extLst>
            </p:cNvPr>
            <p:cNvSpPr txBox="1"/>
            <p:nvPr/>
          </p:nvSpPr>
          <p:spPr>
            <a:xfrm>
              <a:off x="10563784" y="3180992"/>
              <a:ext cx="1366585"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Threat detection  </a:t>
              </a:r>
            </a:p>
          </p:txBody>
        </p:sp>
        <p:cxnSp>
          <p:nvCxnSpPr>
            <p:cNvPr id="8" name="Straight Connector 7">
              <a:extLst>
                <a:ext uri="{FF2B5EF4-FFF2-40B4-BE49-F238E27FC236}">
                  <a16:creationId xmlns:a16="http://schemas.microsoft.com/office/drawing/2014/main" id="{055E8F91-4F55-4D7E-B423-68693568C4F2}"/>
                </a:ext>
              </a:extLst>
            </p:cNvPr>
            <p:cNvCxnSpPr>
              <a:cxnSpLocks/>
            </p:cNvCxnSpPr>
            <p:nvPr/>
          </p:nvCxnSpPr>
          <p:spPr>
            <a:xfrm>
              <a:off x="8914117" y="3607839"/>
              <a:ext cx="625546" cy="0"/>
            </a:xfrm>
            <a:prstGeom prst="line">
              <a:avLst/>
            </a:prstGeom>
            <a:noFill/>
            <a:ln w="12700" cap="flat" cmpd="sng" algn="ctr">
              <a:solidFill>
                <a:srgbClr val="0078D7"/>
              </a:solidFill>
              <a:prstDash val="solid"/>
              <a:headEnd type="none"/>
              <a:tailEnd type="none"/>
            </a:ln>
            <a:effectLst/>
          </p:spPr>
        </p:cxnSp>
        <p:sp>
          <p:nvSpPr>
            <p:cNvPr id="9" name="TextBox 8">
              <a:extLst>
                <a:ext uri="{FF2B5EF4-FFF2-40B4-BE49-F238E27FC236}">
                  <a16:creationId xmlns:a16="http://schemas.microsoft.com/office/drawing/2014/main" id="{AC5EDFEE-DB31-41E9-8499-5B2DE4ED56BD}"/>
                </a:ext>
              </a:extLst>
            </p:cNvPr>
            <p:cNvSpPr txBox="1"/>
            <p:nvPr/>
          </p:nvSpPr>
          <p:spPr>
            <a:xfrm>
              <a:off x="5751890" y="4277684"/>
              <a:ext cx="1344263" cy="276999"/>
            </a:xfrm>
            <a:prstGeom prst="rect">
              <a:avLst/>
            </a:prstGeom>
            <a:noFill/>
            <a:ln>
              <a:noFill/>
            </a:ln>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Malicious insider</a:t>
              </a:r>
            </a:p>
          </p:txBody>
        </p:sp>
        <p:sp>
          <p:nvSpPr>
            <p:cNvPr id="10" name="TextBox 9">
              <a:extLst>
                <a:ext uri="{FF2B5EF4-FFF2-40B4-BE49-F238E27FC236}">
                  <a16:creationId xmlns:a16="http://schemas.microsoft.com/office/drawing/2014/main" id="{FA1F67CE-A964-45C3-8FE8-52A858741AA2}"/>
                </a:ext>
              </a:extLst>
            </p:cNvPr>
            <p:cNvSpPr txBox="1"/>
            <p:nvPr/>
          </p:nvSpPr>
          <p:spPr>
            <a:xfrm>
              <a:off x="5751890" y="2790005"/>
              <a:ext cx="1344263" cy="276999"/>
            </a:xfrm>
            <a:prstGeom prst="rect">
              <a:avLst/>
            </a:prstGeom>
            <a:noFill/>
            <a:ln>
              <a:noFill/>
            </a:ln>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External attacker </a:t>
              </a:r>
            </a:p>
          </p:txBody>
        </p:sp>
        <p:sp>
          <p:nvSpPr>
            <p:cNvPr id="11" name="TextBox 10">
              <a:extLst>
                <a:ext uri="{FF2B5EF4-FFF2-40B4-BE49-F238E27FC236}">
                  <a16:creationId xmlns:a16="http://schemas.microsoft.com/office/drawing/2014/main" id="{5203201D-13B9-4AF8-8F1A-2DB8D2D87355}"/>
                </a:ext>
              </a:extLst>
            </p:cNvPr>
            <p:cNvSpPr txBox="1"/>
            <p:nvPr/>
          </p:nvSpPr>
          <p:spPr>
            <a:xfrm>
              <a:off x="8026025" y="3901511"/>
              <a:ext cx="1013147" cy="276999"/>
            </a:xfrm>
            <a:prstGeom prst="rect">
              <a:avLst/>
            </a:prstGeom>
            <a:noFill/>
          </p:spPr>
          <p:txBody>
            <a:bodyPr wrap="square" rtlCol="0">
              <a:spAutoFit/>
            </a:bodyPr>
            <a:lstStyle/>
            <a:p>
              <a:pPr algn="ctr">
                <a:defRPr/>
              </a:pPr>
              <a:r>
                <a:rPr lang="en-US" sz="1200" kern="0">
                  <a:solidFill>
                    <a:srgbClr val="0078D7"/>
                  </a:solidFill>
                  <a:latin typeface="Segoe UI Semilight" panose="020B0402040204020203" pitchFamily="34" charset="0"/>
                  <a:cs typeface="Segoe UI Semilight" panose="020B0402040204020203" pitchFamily="34" charset="0"/>
                </a:rPr>
                <a:t>Web app</a:t>
              </a:r>
            </a:p>
          </p:txBody>
        </p:sp>
        <p:sp>
          <p:nvSpPr>
            <p:cNvPr id="12" name="TextBox 11">
              <a:extLst>
                <a:ext uri="{FF2B5EF4-FFF2-40B4-BE49-F238E27FC236}">
                  <a16:creationId xmlns:a16="http://schemas.microsoft.com/office/drawing/2014/main" id="{A9675AF2-D4E5-4566-9A09-4DC1F2E78E28}"/>
                </a:ext>
              </a:extLst>
            </p:cNvPr>
            <p:cNvSpPr txBox="1"/>
            <p:nvPr/>
          </p:nvSpPr>
          <p:spPr>
            <a:xfrm>
              <a:off x="10631115" y="5331874"/>
              <a:ext cx="1225908" cy="276999"/>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solidFill>
                    <a:schemeClr val="tx2"/>
                  </a:solidFill>
                  <a:effectLst/>
                  <a:uLnTx/>
                  <a:uFillTx/>
                  <a:latin typeface="Segoe UI Semilight" panose="020B0402040204020203" pitchFamily="34" charset="0"/>
                  <a:cs typeface="Segoe UI Semilight" panose="020B0402040204020203"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78D7"/>
                  </a:solidFill>
                  <a:effectLst/>
                  <a:uLnTx/>
                  <a:uFillTx/>
                  <a:latin typeface="Segoe UI Semilight" panose="020B0402040204020203" pitchFamily="34" charset="0"/>
                  <a:cs typeface="Segoe UI Semilight" panose="020B0402040204020203" pitchFamily="34" charset="0"/>
                </a:rPr>
                <a:t>Alert</a:t>
              </a:r>
            </a:p>
          </p:txBody>
        </p:sp>
        <p:grpSp>
          <p:nvGrpSpPr>
            <p:cNvPr id="13" name="Group 12">
              <a:extLst>
                <a:ext uri="{FF2B5EF4-FFF2-40B4-BE49-F238E27FC236}">
                  <a16:creationId xmlns:a16="http://schemas.microsoft.com/office/drawing/2014/main" id="{A4D887AD-3337-4754-A509-22D1EE81F4FA}"/>
                </a:ext>
              </a:extLst>
            </p:cNvPr>
            <p:cNvGrpSpPr/>
            <p:nvPr/>
          </p:nvGrpSpPr>
          <p:grpSpPr>
            <a:xfrm>
              <a:off x="6478376" y="3561804"/>
              <a:ext cx="622818" cy="695879"/>
              <a:chOff x="709535" y="3658063"/>
              <a:chExt cx="1430415" cy="1598222"/>
            </a:xfrm>
          </p:grpSpPr>
          <p:sp>
            <p:nvSpPr>
              <p:cNvPr id="14" name="Freeform 5">
                <a:extLst>
                  <a:ext uri="{FF2B5EF4-FFF2-40B4-BE49-F238E27FC236}">
                    <a16:creationId xmlns:a16="http://schemas.microsoft.com/office/drawing/2014/main" id="{14F42F8E-EB83-407D-AD57-FD676DF0C4C2}"/>
                  </a:ext>
                </a:extLst>
              </p:cNvPr>
              <p:cNvSpPr>
                <a:spLocks noEditPoints="1"/>
              </p:cNvSpPr>
              <p:nvPr/>
            </p:nvSpPr>
            <p:spPr bwMode="auto">
              <a:xfrm>
                <a:off x="709535" y="3658063"/>
                <a:ext cx="1430415" cy="15982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kern="0">
                  <a:solidFill>
                    <a:srgbClr val="505050"/>
                  </a:solidFill>
                  <a:latin typeface="Segoe UI Semilight"/>
                </a:endParaRPr>
              </a:p>
            </p:txBody>
          </p:sp>
          <p:sp>
            <p:nvSpPr>
              <p:cNvPr id="15" name="Trapezoid 22">
                <a:extLst>
                  <a:ext uri="{FF2B5EF4-FFF2-40B4-BE49-F238E27FC236}">
                    <a16:creationId xmlns:a16="http://schemas.microsoft.com/office/drawing/2014/main" id="{19C31541-B310-4850-94EC-7C59A167F18E}"/>
                  </a:ext>
                </a:extLst>
              </p:cNvPr>
              <p:cNvSpPr/>
              <p:nvPr/>
            </p:nvSpPr>
            <p:spPr bwMode="auto">
              <a:xfrm rot="10800000">
                <a:off x="1301684" y="4559298"/>
                <a:ext cx="246124" cy="193607"/>
              </a:xfrm>
              <a:custGeom>
                <a:avLst/>
                <a:gdLst>
                  <a:gd name="connsiteX0" fmla="*/ 0 w 240408"/>
                  <a:gd name="connsiteY0" fmla="*/ 199956 h 199956"/>
                  <a:gd name="connsiteX1" fmla="*/ 75981 w 240408"/>
                  <a:gd name="connsiteY1" fmla="*/ 0 h 199956"/>
                  <a:gd name="connsiteX2" fmla="*/ 164427 w 240408"/>
                  <a:gd name="connsiteY2" fmla="*/ 0 h 199956"/>
                  <a:gd name="connsiteX3" fmla="*/ 240408 w 240408"/>
                  <a:gd name="connsiteY3" fmla="*/ 199956 h 199956"/>
                  <a:gd name="connsiteX4" fmla="*/ 0 w 240408"/>
                  <a:gd name="connsiteY4" fmla="*/ 199956 h 199956"/>
                  <a:gd name="connsiteX0" fmla="*/ 240408 w 331848"/>
                  <a:gd name="connsiteY0" fmla="*/ 199956 h 291396"/>
                  <a:gd name="connsiteX1" fmla="*/ 0 w 331848"/>
                  <a:gd name="connsiteY1" fmla="*/ 199956 h 291396"/>
                  <a:gd name="connsiteX2" fmla="*/ 75981 w 331848"/>
                  <a:gd name="connsiteY2" fmla="*/ 0 h 291396"/>
                  <a:gd name="connsiteX3" fmla="*/ 164427 w 331848"/>
                  <a:gd name="connsiteY3" fmla="*/ 0 h 291396"/>
                  <a:gd name="connsiteX4" fmla="*/ 331848 w 331848"/>
                  <a:gd name="connsiteY4" fmla="*/ 291396 h 291396"/>
                  <a:gd name="connsiteX0" fmla="*/ 240408 w 258823"/>
                  <a:gd name="connsiteY0" fmla="*/ 199956 h 199956"/>
                  <a:gd name="connsiteX1" fmla="*/ 0 w 258823"/>
                  <a:gd name="connsiteY1" fmla="*/ 199956 h 199956"/>
                  <a:gd name="connsiteX2" fmla="*/ 75981 w 258823"/>
                  <a:gd name="connsiteY2" fmla="*/ 0 h 199956"/>
                  <a:gd name="connsiteX3" fmla="*/ 164427 w 258823"/>
                  <a:gd name="connsiteY3" fmla="*/ 0 h 199956"/>
                  <a:gd name="connsiteX4" fmla="*/ 258823 w 258823"/>
                  <a:gd name="connsiteY4" fmla="*/ 196146 h 199956"/>
                  <a:gd name="connsiteX0" fmla="*/ 161033 w 258823"/>
                  <a:gd name="connsiteY0" fmla="*/ 292031 h 292031"/>
                  <a:gd name="connsiteX1" fmla="*/ 0 w 258823"/>
                  <a:gd name="connsiteY1" fmla="*/ 199956 h 292031"/>
                  <a:gd name="connsiteX2" fmla="*/ 75981 w 258823"/>
                  <a:gd name="connsiteY2" fmla="*/ 0 h 292031"/>
                  <a:gd name="connsiteX3" fmla="*/ 164427 w 258823"/>
                  <a:gd name="connsiteY3" fmla="*/ 0 h 292031"/>
                  <a:gd name="connsiteX4" fmla="*/ 258823 w 258823"/>
                  <a:gd name="connsiteY4" fmla="*/ 196146 h 292031"/>
                  <a:gd name="connsiteX0" fmla="*/ 0 w 258823"/>
                  <a:gd name="connsiteY0" fmla="*/ 199956 h 199956"/>
                  <a:gd name="connsiteX1" fmla="*/ 75981 w 258823"/>
                  <a:gd name="connsiteY1" fmla="*/ 0 h 199956"/>
                  <a:gd name="connsiteX2" fmla="*/ 164427 w 258823"/>
                  <a:gd name="connsiteY2" fmla="*/ 0 h 199956"/>
                  <a:gd name="connsiteX3" fmla="*/ 258823 w 258823"/>
                  <a:gd name="connsiteY3" fmla="*/ 196146 h 199956"/>
                  <a:gd name="connsiteX0" fmla="*/ 0 w 249298"/>
                  <a:gd name="connsiteY0" fmla="*/ 199956 h 199956"/>
                  <a:gd name="connsiteX1" fmla="*/ 75981 w 249298"/>
                  <a:gd name="connsiteY1" fmla="*/ 0 h 199956"/>
                  <a:gd name="connsiteX2" fmla="*/ 164427 w 249298"/>
                  <a:gd name="connsiteY2" fmla="*/ 0 h 199956"/>
                  <a:gd name="connsiteX3" fmla="*/ 249298 w 249298"/>
                  <a:gd name="connsiteY3" fmla="*/ 192971 h 199956"/>
                  <a:gd name="connsiteX0" fmla="*/ 0 w 246123"/>
                  <a:gd name="connsiteY0" fmla="*/ 193606 h 193606"/>
                  <a:gd name="connsiteX1" fmla="*/ 72806 w 246123"/>
                  <a:gd name="connsiteY1" fmla="*/ 0 h 193606"/>
                  <a:gd name="connsiteX2" fmla="*/ 161252 w 246123"/>
                  <a:gd name="connsiteY2" fmla="*/ 0 h 193606"/>
                  <a:gd name="connsiteX3" fmla="*/ 246123 w 246123"/>
                  <a:gd name="connsiteY3" fmla="*/ 192971 h 193606"/>
                </a:gdLst>
                <a:ahLst/>
                <a:cxnLst>
                  <a:cxn ang="0">
                    <a:pos x="connsiteX0" y="connsiteY0"/>
                  </a:cxn>
                  <a:cxn ang="0">
                    <a:pos x="connsiteX1" y="connsiteY1"/>
                  </a:cxn>
                  <a:cxn ang="0">
                    <a:pos x="connsiteX2" y="connsiteY2"/>
                  </a:cxn>
                  <a:cxn ang="0">
                    <a:pos x="connsiteX3" y="connsiteY3"/>
                  </a:cxn>
                </a:cxnLst>
                <a:rect l="l" t="t" r="r" b="b"/>
                <a:pathLst>
                  <a:path w="246123" h="193606">
                    <a:moveTo>
                      <a:pt x="0" y="193606"/>
                    </a:moveTo>
                    <a:lnTo>
                      <a:pt x="72806" y="0"/>
                    </a:lnTo>
                    <a:lnTo>
                      <a:pt x="161252" y="0"/>
                    </a:lnTo>
                    <a:cubicBezTo>
                      <a:pt x="186579" y="66652"/>
                      <a:pt x="246123" y="192971"/>
                      <a:pt x="246123" y="192971"/>
                    </a:cubicBezTo>
                  </a:path>
                </a:pathLst>
              </a:cu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sp>
            <p:nvSpPr>
              <p:cNvPr id="16" name="Trapezoid 15">
                <a:extLst>
                  <a:ext uri="{FF2B5EF4-FFF2-40B4-BE49-F238E27FC236}">
                    <a16:creationId xmlns:a16="http://schemas.microsoft.com/office/drawing/2014/main" id="{41D9874E-8C34-4D51-8D2F-8F8EF35B47C1}"/>
                  </a:ext>
                </a:extLst>
              </p:cNvPr>
              <p:cNvSpPr/>
              <p:nvPr/>
            </p:nvSpPr>
            <p:spPr bwMode="auto">
              <a:xfrm>
                <a:off x="1304539" y="4754251"/>
                <a:ext cx="240408" cy="498695"/>
              </a:xfrm>
              <a:prstGeom prst="trapezoid">
                <a:avLst>
                  <a:gd name="adj" fmla="val 31603"/>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5B580206-6AF8-40CF-8ACC-9678AF02BFC6}"/>
                </a:ext>
              </a:extLst>
            </p:cNvPr>
            <p:cNvGrpSpPr/>
            <p:nvPr/>
          </p:nvGrpSpPr>
          <p:grpSpPr>
            <a:xfrm>
              <a:off x="6478376" y="2100160"/>
              <a:ext cx="622818" cy="695879"/>
              <a:chOff x="4786993" y="5105923"/>
              <a:chExt cx="2618014" cy="2925130"/>
            </a:xfrm>
          </p:grpSpPr>
          <p:sp>
            <p:nvSpPr>
              <p:cNvPr id="18" name="Freeform 5">
                <a:extLst>
                  <a:ext uri="{FF2B5EF4-FFF2-40B4-BE49-F238E27FC236}">
                    <a16:creationId xmlns:a16="http://schemas.microsoft.com/office/drawing/2014/main" id="{B2379AB4-C4F9-4606-927A-1F69DCEC0D21}"/>
                  </a:ext>
                </a:extLst>
              </p:cNvPr>
              <p:cNvSpPr>
                <a:spLocks noEditPoints="1"/>
              </p:cNvSpPr>
              <p:nvPr/>
            </p:nvSpPr>
            <p:spPr bwMode="auto">
              <a:xfrm>
                <a:off x="4786993" y="5105923"/>
                <a:ext cx="2618014" cy="292513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19" name="Oval 16">
                <a:extLst>
                  <a:ext uri="{FF2B5EF4-FFF2-40B4-BE49-F238E27FC236}">
                    <a16:creationId xmlns:a16="http://schemas.microsoft.com/office/drawing/2014/main" id="{CDBEF887-9A97-43AE-925B-35F0A407DE23}"/>
                  </a:ext>
                </a:extLst>
              </p:cNvPr>
              <p:cNvSpPr/>
              <p:nvPr/>
            </p:nvSpPr>
            <p:spPr bwMode="auto">
              <a:xfrm>
                <a:off x="5359853" y="5607565"/>
                <a:ext cx="1499507" cy="76301"/>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914400 w 914400"/>
                  <a:gd name="connsiteY0" fmla="*/ 0 h 457200"/>
                  <a:gd name="connsiteX1" fmla="*/ 457200 w 914400"/>
                  <a:gd name="connsiteY1" fmla="*/ 457200 h 457200"/>
                  <a:gd name="connsiteX2" fmla="*/ 0 w 914400"/>
                  <a:gd name="connsiteY2" fmla="*/ 0 h 457200"/>
                </a:gdLst>
                <a:ahLst/>
                <a:cxnLst>
                  <a:cxn ang="0">
                    <a:pos x="connsiteX0" y="connsiteY0"/>
                  </a:cxn>
                  <a:cxn ang="0">
                    <a:pos x="connsiteX1" y="connsiteY1"/>
                  </a:cxn>
                  <a:cxn ang="0">
                    <a:pos x="connsiteX2" y="connsiteY2"/>
                  </a:cxn>
                </a:cxnLst>
                <a:rect l="l" t="t" r="r" b="b"/>
                <a:pathLst>
                  <a:path w="914400" h="457200">
                    <a:moveTo>
                      <a:pt x="914400" y="0"/>
                    </a:moveTo>
                    <a:cubicBezTo>
                      <a:pt x="914400" y="252505"/>
                      <a:pt x="709705" y="457200"/>
                      <a:pt x="457200" y="457200"/>
                    </a:cubicBezTo>
                    <a:cubicBezTo>
                      <a:pt x="204695" y="457200"/>
                      <a:pt x="0" y="252505"/>
                      <a:pt x="0" y="0"/>
                    </a:cubicBezTo>
                  </a:path>
                </a:pathLst>
              </a:custGeom>
              <a:noFill/>
              <a:ln w="12700"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20" name="Oval 16">
                <a:extLst>
                  <a:ext uri="{FF2B5EF4-FFF2-40B4-BE49-F238E27FC236}">
                    <a16:creationId xmlns:a16="http://schemas.microsoft.com/office/drawing/2014/main" id="{3D77CDB1-73C0-4556-87A5-B2EA5E2BC7BB}"/>
                  </a:ext>
                </a:extLst>
              </p:cNvPr>
              <p:cNvSpPr/>
              <p:nvPr/>
            </p:nvSpPr>
            <p:spPr bwMode="auto">
              <a:xfrm>
                <a:off x="5305325" y="6018656"/>
                <a:ext cx="1612546" cy="181508"/>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914400 w 914400"/>
                  <a:gd name="connsiteY0" fmla="*/ 0 h 457200"/>
                  <a:gd name="connsiteX1" fmla="*/ 457200 w 914400"/>
                  <a:gd name="connsiteY1" fmla="*/ 457200 h 457200"/>
                  <a:gd name="connsiteX2" fmla="*/ 0 w 914400"/>
                  <a:gd name="connsiteY2" fmla="*/ 0 h 457200"/>
                </a:gdLst>
                <a:ahLst/>
                <a:cxnLst>
                  <a:cxn ang="0">
                    <a:pos x="connsiteX0" y="connsiteY0"/>
                  </a:cxn>
                  <a:cxn ang="0">
                    <a:pos x="connsiteX1" y="connsiteY1"/>
                  </a:cxn>
                  <a:cxn ang="0">
                    <a:pos x="connsiteX2" y="connsiteY2"/>
                  </a:cxn>
                </a:cxnLst>
                <a:rect l="l" t="t" r="r" b="b"/>
                <a:pathLst>
                  <a:path w="914400" h="457200">
                    <a:moveTo>
                      <a:pt x="914400" y="0"/>
                    </a:moveTo>
                    <a:cubicBezTo>
                      <a:pt x="914400" y="252505"/>
                      <a:pt x="709705" y="457200"/>
                      <a:pt x="457200" y="457200"/>
                    </a:cubicBezTo>
                    <a:cubicBezTo>
                      <a:pt x="204695" y="457200"/>
                      <a:pt x="0" y="252505"/>
                      <a:pt x="0" y="0"/>
                    </a:cubicBezTo>
                  </a:path>
                </a:pathLst>
              </a:custGeom>
              <a:noFill/>
              <a:ln w="12700" cap="rnd">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nvGrpSpPr>
              <p:cNvPr id="21" name="Group 20">
                <a:extLst>
                  <a:ext uri="{FF2B5EF4-FFF2-40B4-BE49-F238E27FC236}">
                    <a16:creationId xmlns:a16="http://schemas.microsoft.com/office/drawing/2014/main" id="{B31B28E5-B9E8-464F-8A02-0255DCA87578}"/>
                  </a:ext>
                </a:extLst>
              </p:cNvPr>
              <p:cNvGrpSpPr/>
              <p:nvPr/>
            </p:nvGrpSpPr>
            <p:grpSpPr>
              <a:xfrm>
                <a:off x="5599326" y="5730431"/>
                <a:ext cx="993348" cy="359576"/>
                <a:chOff x="5617702" y="5730431"/>
                <a:chExt cx="993348" cy="359576"/>
              </a:xfrm>
            </p:grpSpPr>
            <p:sp>
              <p:nvSpPr>
                <p:cNvPr id="22" name="Chord 21">
                  <a:extLst>
                    <a:ext uri="{FF2B5EF4-FFF2-40B4-BE49-F238E27FC236}">
                      <a16:creationId xmlns:a16="http://schemas.microsoft.com/office/drawing/2014/main" id="{644F76E2-51E2-409C-9135-2223EA6D34A3}"/>
                    </a:ext>
                  </a:extLst>
                </p:cNvPr>
                <p:cNvSpPr/>
                <p:nvPr/>
              </p:nvSpPr>
              <p:spPr bwMode="auto">
                <a:xfrm>
                  <a:off x="5617702" y="5730431"/>
                  <a:ext cx="359575" cy="359576"/>
                </a:xfrm>
                <a:prstGeom prst="chord">
                  <a:avLst>
                    <a:gd name="adj1" fmla="val 21171708"/>
                    <a:gd name="adj2" fmla="val 13843067"/>
                  </a:avLst>
                </a:prstGeom>
                <a:noFill/>
                <a:ln w="1270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23" name="Chord 22">
                  <a:extLst>
                    <a:ext uri="{FF2B5EF4-FFF2-40B4-BE49-F238E27FC236}">
                      <a16:creationId xmlns:a16="http://schemas.microsoft.com/office/drawing/2014/main" id="{C27FD3B1-48DC-4159-9BB0-FEF8B9D95719}"/>
                    </a:ext>
                  </a:extLst>
                </p:cNvPr>
                <p:cNvSpPr/>
                <p:nvPr/>
              </p:nvSpPr>
              <p:spPr bwMode="auto">
                <a:xfrm flipH="1">
                  <a:off x="6251475" y="5730431"/>
                  <a:ext cx="359575" cy="359576"/>
                </a:xfrm>
                <a:prstGeom prst="chord">
                  <a:avLst>
                    <a:gd name="adj1" fmla="val 21171708"/>
                    <a:gd name="adj2" fmla="val 13843067"/>
                  </a:avLst>
                </a:prstGeom>
                <a:noFill/>
                <a:ln w="12700" cap="flat" cmpd="sng" algn="ctr">
                  <a:solidFill>
                    <a:srgbClr val="0078D7"/>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grpSp>
          <p:nvGrpSpPr>
            <p:cNvPr id="24" name="Group 23">
              <a:extLst>
                <a:ext uri="{FF2B5EF4-FFF2-40B4-BE49-F238E27FC236}">
                  <a16:creationId xmlns:a16="http://schemas.microsoft.com/office/drawing/2014/main" id="{00A5D6D8-07D0-4CF6-A5BA-93661BC0D7B3}"/>
                </a:ext>
              </a:extLst>
            </p:cNvPr>
            <p:cNvGrpSpPr/>
            <p:nvPr/>
          </p:nvGrpSpPr>
          <p:grpSpPr>
            <a:xfrm>
              <a:off x="8232611" y="3346039"/>
              <a:ext cx="598098" cy="508788"/>
              <a:chOff x="2107244" y="1575258"/>
              <a:chExt cx="310993" cy="264555"/>
            </a:xfrm>
          </p:grpSpPr>
          <p:grpSp>
            <p:nvGrpSpPr>
              <p:cNvPr id="25" name="Group 24">
                <a:extLst>
                  <a:ext uri="{FF2B5EF4-FFF2-40B4-BE49-F238E27FC236}">
                    <a16:creationId xmlns:a16="http://schemas.microsoft.com/office/drawing/2014/main" id="{43F6BE95-2A16-45A6-BC7A-DE524E45F08E}"/>
                  </a:ext>
                </a:extLst>
              </p:cNvPr>
              <p:cNvGrpSpPr/>
              <p:nvPr/>
            </p:nvGrpSpPr>
            <p:grpSpPr>
              <a:xfrm>
                <a:off x="2107244" y="1575258"/>
                <a:ext cx="310993" cy="264555"/>
                <a:chOff x="2107244" y="1575258"/>
                <a:chExt cx="310993" cy="264555"/>
              </a:xfrm>
            </p:grpSpPr>
            <p:sp>
              <p:nvSpPr>
                <p:cNvPr id="33" name="Rectangle 9">
                  <a:extLst>
                    <a:ext uri="{FF2B5EF4-FFF2-40B4-BE49-F238E27FC236}">
                      <a16:creationId xmlns:a16="http://schemas.microsoft.com/office/drawing/2014/main" id="{7DFC3210-5274-4382-A22B-D9FECF4BF30D}"/>
                    </a:ext>
                  </a:extLst>
                </p:cNvPr>
                <p:cNvSpPr>
                  <a:spLocks noChangeArrowheads="1"/>
                </p:cNvSpPr>
                <p:nvPr/>
              </p:nvSpPr>
              <p:spPr bwMode="auto">
                <a:xfrm>
                  <a:off x="2107244" y="1575258"/>
                  <a:ext cx="310993" cy="264555"/>
                </a:xfrm>
                <a:prstGeom prst="rect">
                  <a:avLst/>
                </a:pr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4" name="Line 10">
                  <a:extLst>
                    <a:ext uri="{FF2B5EF4-FFF2-40B4-BE49-F238E27FC236}">
                      <a16:creationId xmlns:a16="http://schemas.microsoft.com/office/drawing/2014/main" id="{744E86EA-5FE3-4975-A106-893B04A5D1E2}"/>
                    </a:ext>
                  </a:extLst>
                </p:cNvPr>
                <p:cNvSpPr>
                  <a:spLocks noChangeShapeType="1"/>
                </p:cNvSpPr>
                <p:nvPr/>
              </p:nvSpPr>
              <p:spPr bwMode="auto">
                <a:xfrm flipH="1">
                  <a:off x="2107244" y="1647026"/>
                  <a:ext cx="310993" cy="0"/>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6" name="Group 25">
                <a:extLst>
                  <a:ext uri="{FF2B5EF4-FFF2-40B4-BE49-F238E27FC236}">
                    <a16:creationId xmlns:a16="http://schemas.microsoft.com/office/drawing/2014/main" id="{70BBF900-1B04-4589-804C-433D52A25332}"/>
                  </a:ext>
                </a:extLst>
              </p:cNvPr>
              <p:cNvGrpSpPr/>
              <p:nvPr/>
            </p:nvGrpSpPr>
            <p:grpSpPr>
              <a:xfrm>
                <a:off x="2287367" y="1599181"/>
                <a:ext cx="95690" cy="23923"/>
                <a:chOff x="2287367" y="1599181"/>
                <a:chExt cx="95690" cy="23923"/>
              </a:xfrm>
            </p:grpSpPr>
            <p:sp>
              <p:nvSpPr>
                <p:cNvPr id="30" name="Oval 11">
                  <a:extLst>
                    <a:ext uri="{FF2B5EF4-FFF2-40B4-BE49-F238E27FC236}">
                      <a16:creationId xmlns:a16="http://schemas.microsoft.com/office/drawing/2014/main" id="{90A31EF9-4C8E-4DA2-B4AD-46BC989098AA}"/>
                    </a:ext>
                  </a:extLst>
                </p:cNvPr>
                <p:cNvSpPr>
                  <a:spLocks noChangeArrowheads="1"/>
                </p:cNvSpPr>
                <p:nvPr/>
              </p:nvSpPr>
              <p:spPr bwMode="auto">
                <a:xfrm>
                  <a:off x="228736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1" name="Oval 12">
                  <a:extLst>
                    <a:ext uri="{FF2B5EF4-FFF2-40B4-BE49-F238E27FC236}">
                      <a16:creationId xmlns:a16="http://schemas.microsoft.com/office/drawing/2014/main" id="{5293F845-0DD8-4AF7-B4A8-592B0B6C4545}"/>
                    </a:ext>
                  </a:extLst>
                </p:cNvPr>
                <p:cNvSpPr>
                  <a:spLocks noChangeArrowheads="1"/>
                </p:cNvSpPr>
                <p:nvPr/>
              </p:nvSpPr>
              <p:spPr bwMode="auto">
                <a:xfrm>
                  <a:off x="2322547"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32" name="Oval 13">
                  <a:extLst>
                    <a:ext uri="{FF2B5EF4-FFF2-40B4-BE49-F238E27FC236}">
                      <a16:creationId xmlns:a16="http://schemas.microsoft.com/office/drawing/2014/main" id="{082E2D91-8439-4A62-AED5-FC4DB16F6FE3}"/>
                    </a:ext>
                  </a:extLst>
                </p:cNvPr>
                <p:cNvSpPr>
                  <a:spLocks noChangeArrowheads="1"/>
                </p:cNvSpPr>
                <p:nvPr/>
              </p:nvSpPr>
              <p:spPr bwMode="auto">
                <a:xfrm>
                  <a:off x="2359134" y="1599181"/>
                  <a:ext cx="23923" cy="23923"/>
                </a:xfrm>
                <a:prstGeom prst="ellipse">
                  <a:avLst/>
                </a:prstGeom>
                <a:solidFill>
                  <a:srgbClr val="0078D7"/>
                </a:solidFill>
                <a:ln w="1270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nvGrpSpPr>
              <p:cNvPr id="27" name="Group 26">
                <a:extLst>
                  <a:ext uri="{FF2B5EF4-FFF2-40B4-BE49-F238E27FC236}">
                    <a16:creationId xmlns:a16="http://schemas.microsoft.com/office/drawing/2014/main" id="{F0276D1D-6B0D-494F-BDDA-A0E29FF92C0A}"/>
                  </a:ext>
                </a:extLst>
              </p:cNvPr>
              <p:cNvGrpSpPr/>
              <p:nvPr/>
            </p:nvGrpSpPr>
            <p:grpSpPr>
              <a:xfrm>
                <a:off x="2202934" y="1701907"/>
                <a:ext cx="95690" cy="90061"/>
                <a:chOff x="2202934" y="1701907"/>
                <a:chExt cx="95690" cy="90061"/>
              </a:xfrm>
            </p:grpSpPr>
            <p:sp>
              <p:nvSpPr>
                <p:cNvPr id="28" name="Freeform 14">
                  <a:extLst>
                    <a:ext uri="{FF2B5EF4-FFF2-40B4-BE49-F238E27FC236}">
                      <a16:creationId xmlns:a16="http://schemas.microsoft.com/office/drawing/2014/main" id="{59E12AB6-31BF-4E00-8CE5-EE213ADAD7F3}"/>
                    </a:ext>
                  </a:extLst>
                </p:cNvPr>
                <p:cNvSpPr>
                  <a:spLocks/>
                </p:cNvSpPr>
                <p:nvPr/>
              </p:nvSpPr>
              <p:spPr bwMode="auto">
                <a:xfrm>
                  <a:off x="2202934" y="1701907"/>
                  <a:ext cx="95690" cy="90061"/>
                </a:xfrm>
                <a:custGeom>
                  <a:avLst/>
                  <a:gdLst>
                    <a:gd name="T0" fmla="*/ 0 w 68"/>
                    <a:gd name="T1" fmla="*/ 64 h 64"/>
                    <a:gd name="T2" fmla="*/ 0 w 68"/>
                    <a:gd name="T3" fmla="*/ 34 h 64"/>
                    <a:gd name="T4" fmla="*/ 34 w 68"/>
                    <a:gd name="T5" fmla="*/ 0 h 64"/>
                    <a:gd name="T6" fmla="*/ 68 w 68"/>
                    <a:gd name="T7" fmla="*/ 34 h 64"/>
                    <a:gd name="T8" fmla="*/ 68 w 68"/>
                    <a:gd name="T9" fmla="*/ 64 h 64"/>
                    <a:gd name="T10" fmla="*/ 0 w 68"/>
                    <a:gd name="T11" fmla="*/ 64 h 64"/>
                  </a:gdLst>
                  <a:ahLst/>
                  <a:cxnLst>
                    <a:cxn ang="0">
                      <a:pos x="T0" y="T1"/>
                    </a:cxn>
                    <a:cxn ang="0">
                      <a:pos x="T2" y="T3"/>
                    </a:cxn>
                    <a:cxn ang="0">
                      <a:pos x="T4" y="T5"/>
                    </a:cxn>
                    <a:cxn ang="0">
                      <a:pos x="T6" y="T7"/>
                    </a:cxn>
                    <a:cxn ang="0">
                      <a:pos x="T8" y="T9"/>
                    </a:cxn>
                    <a:cxn ang="0">
                      <a:pos x="T10" y="T11"/>
                    </a:cxn>
                  </a:cxnLst>
                  <a:rect l="0" t="0" r="r" b="b"/>
                  <a:pathLst>
                    <a:path w="68" h="64">
                      <a:moveTo>
                        <a:pt x="0" y="64"/>
                      </a:moveTo>
                      <a:lnTo>
                        <a:pt x="0" y="34"/>
                      </a:lnTo>
                      <a:lnTo>
                        <a:pt x="34" y="0"/>
                      </a:lnTo>
                      <a:lnTo>
                        <a:pt x="68" y="34"/>
                      </a:lnTo>
                      <a:lnTo>
                        <a:pt x="68" y="64"/>
                      </a:lnTo>
                      <a:lnTo>
                        <a:pt x="0" y="64"/>
                      </a:lnTo>
                      <a:close/>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sp>
              <p:nvSpPr>
                <p:cNvPr id="29" name="Line 15">
                  <a:extLst>
                    <a:ext uri="{FF2B5EF4-FFF2-40B4-BE49-F238E27FC236}">
                      <a16:creationId xmlns:a16="http://schemas.microsoft.com/office/drawing/2014/main" id="{4F6531E0-6811-429F-B006-3FC5E814D845}"/>
                    </a:ext>
                  </a:extLst>
                </p:cNvPr>
                <p:cNvSpPr>
                  <a:spLocks noChangeShapeType="1"/>
                </p:cNvSpPr>
                <p:nvPr/>
              </p:nvSpPr>
              <p:spPr bwMode="auto">
                <a:xfrm>
                  <a:off x="2253117" y="1755381"/>
                  <a:ext cx="0" cy="36587"/>
                </a:xfrm>
                <a:prstGeom prst="line">
                  <a:avLst/>
                </a:prstGeom>
                <a:noFill/>
                <a:ln w="1270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endParaRPr>
                </a:p>
              </p:txBody>
            </p:sp>
          </p:grpSp>
        </p:grpSp>
        <p:sp>
          <p:nvSpPr>
            <p:cNvPr id="35" name="Cylinder 513">
              <a:extLst>
                <a:ext uri="{FF2B5EF4-FFF2-40B4-BE49-F238E27FC236}">
                  <a16:creationId xmlns:a16="http://schemas.microsoft.com/office/drawing/2014/main" id="{F3E96206-338D-4C39-9D1D-2852DC6208B5}"/>
                </a:ext>
              </a:extLst>
            </p:cNvPr>
            <p:cNvSpPr/>
            <p:nvPr/>
          </p:nvSpPr>
          <p:spPr bwMode="auto">
            <a:xfrm>
              <a:off x="9639452" y="3218294"/>
              <a:ext cx="484514" cy="636533"/>
            </a:xfrm>
            <a:prstGeom prst="can">
              <a:avLst>
                <a:gd name="adj" fmla="val 39530"/>
              </a:avLst>
            </a:prstGeom>
            <a:noFill/>
            <a:ln w="12700" cap="flat" cmpd="sng" algn="ctr">
              <a:solidFill>
                <a:srgbClr val="0078D7"/>
              </a:solidFill>
              <a:prstDash val="solid"/>
              <a:headEnd type="none" w="med" len="med"/>
              <a:tailEnd type="none" w="med" len="med"/>
            </a:ln>
            <a:effectLst/>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defRPr/>
              </a:pPr>
              <a:r>
                <a:rPr lang="en-US" sz="1200" kern="0">
                  <a:solidFill>
                    <a:srgbClr val="0078D7"/>
                  </a:solidFill>
                  <a:latin typeface="Segoe UI Semilight" panose="020B0402040204020203" pitchFamily="34" charset="0"/>
                  <a:ea typeface="Segoe UI" pitchFamily="34" charset="0"/>
                  <a:cs typeface="Segoe UI Semilight" panose="020B0402040204020203" pitchFamily="34" charset="0"/>
                </a:rPr>
                <a:t>SQL</a:t>
              </a:r>
            </a:p>
          </p:txBody>
        </p:sp>
        <p:cxnSp>
          <p:nvCxnSpPr>
            <p:cNvPr id="36" name="Connector: Elbow 35">
              <a:extLst>
                <a:ext uri="{FF2B5EF4-FFF2-40B4-BE49-F238E27FC236}">
                  <a16:creationId xmlns:a16="http://schemas.microsoft.com/office/drawing/2014/main" id="{18AAF2F5-7634-4943-A660-5B10A0BB8FF3}"/>
                </a:ext>
              </a:extLst>
            </p:cNvPr>
            <p:cNvCxnSpPr>
              <a:cxnSpLocks/>
            </p:cNvCxnSpPr>
            <p:nvPr/>
          </p:nvCxnSpPr>
          <p:spPr>
            <a:xfrm>
              <a:off x="7208610" y="2474454"/>
              <a:ext cx="12700" cy="1487679"/>
            </a:xfrm>
            <a:prstGeom prst="bentConnector3">
              <a:avLst>
                <a:gd name="adj1" fmla="val 1800000"/>
              </a:avLst>
            </a:prstGeom>
            <a:noFill/>
            <a:ln w="12700" cap="flat" cmpd="sng" algn="ctr">
              <a:solidFill>
                <a:srgbClr val="0078D7"/>
              </a:solidFill>
              <a:prstDash val="solid"/>
              <a:headEnd type="none"/>
              <a:tailEnd type="none"/>
            </a:ln>
            <a:effectLst/>
          </p:spPr>
        </p:cxnSp>
        <p:cxnSp>
          <p:nvCxnSpPr>
            <p:cNvPr id="37" name="Straight Arrow Connector 36">
              <a:extLst>
                <a:ext uri="{FF2B5EF4-FFF2-40B4-BE49-F238E27FC236}">
                  <a16:creationId xmlns:a16="http://schemas.microsoft.com/office/drawing/2014/main" id="{19238B34-E1BD-44DB-AA4D-F7E4F325471E}"/>
                </a:ext>
              </a:extLst>
            </p:cNvPr>
            <p:cNvCxnSpPr/>
            <p:nvPr/>
          </p:nvCxnSpPr>
          <p:spPr>
            <a:xfrm>
              <a:off x="7436610" y="3656373"/>
              <a:ext cx="977702" cy="0"/>
            </a:xfrm>
            <a:prstGeom prst="straightConnector1">
              <a:avLst/>
            </a:prstGeom>
            <a:noFill/>
            <a:ln w="12700" cap="flat" cmpd="sng" algn="ctr">
              <a:solidFill>
                <a:srgbClr val="0078D7"/>
              </a:solidFill>
              <a:prstDash val="solid"/>
              <a:headEnd type="none"/>
              <a:tailEnd type="triangle"/>
            </a:ln>
            <a:effectLst/>
          </p:spPr>
        </p:cxnSp>
        <p:sp>
          <p:nvSpPr>
            <p:cNvPr id="38" name="Freeform 5">
              <a:extLst>
                <a:ext uri="{FF2B5EF4-FFF2-40B4-BE49-F238E27FC236}">
                  <a16:creationId xmlns:a16="http://schemas.microsoft.com/office/drawing/2014/main" id="{3815C6B0-302C-44B9-B22E-9D127CC1DD0F}"/>
                </a:ext>
              </a:extLst>
            </p:cNvPr>
            <p:cNvSpPr>
              <a:spLocks noChangeAspect="1" noEditPoints="1"/>
            </p:cNvSpPr>
            <p:nvPr/>
          </p:nvSpPr>
          <p:spPr bwMode="auto">
            <a:xfrm>
              <a:off x="11001266" y="2675117"/>
              <a:ext cx="430958" cy="422723"/>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cxnSp>
          <p:nvCxnSpPr>
            <p:cNvPr id="39" name="Straight Arrow Connector 38">
              <a:extLst>
                <a:ext uri="{FF2B5EF4-FFF2-40B4-BE49-F238E27FC236}">
                  <a16:creationId xmlns:a16="http://schemas.microsoft.com/office/drawing/2014/main" id="{8E812056-9921-4442-88EC-A2A444378AF9}"/>
                </a:ext>
              </a:extLst>
            </p:cNvPr>
            <p:cNvCxnSpPr>
              <a:cxnSpLocks/>
              <a:stCxn id="7" idx="2"/>
            </p:cNvCxnSpPr>
            <p:nvPr/>
          </p:nvCxnSpPr>
          <p:spPr>
            <a:xfrm>
              <a:off x="11247077" y="3457991"/>
              <a:ext cx="0" cy="1142760"/>
            </a:xfrm>
            <a:prstGeom prst="straightConnector1">
              <a:avLst/>
            </a:prstGeom>
            <a:noFill/>
            <a:ln w="12700" cap="flat" cmpd="sng" algn="ctr">
              <a:solidFill>
                <a:srgbClr val="0078D7"/>
              </a:solidFill>
              <a:prstDash val="solid"/>
              <a:headEnd type="none"/>
              <a:tailEnd type="triangle"/>
            </a:ln>
            <a:effectLst/>
          </p:spPr>
        </p:cxnSp>
        <p:sp>
          <p:nvSpPr>
            <p:cNvPr id="40" name="Freeform 18">
              <a:extLst>
                <a:ext uri="{FF2B5EF4-FFF2-40B4-BE49-F238E27FC236}">
                  <a16:creationId xmlns:a16="http://schemas.microsoft.com/office/drawing/2014/main" id="{D4B24D31-991C-4903-9A99-593B33B012B8}"/>
                </a:ext>
              </a:extLst>
            </p:cNvPr>
            <p:cNvSpPr>
              <a:spLocks noChangeArrowheads="1"/>
            </p:cNvSpPr>
            <p:nvPr/>
          </p:nvSpPr>
          <p:spPr bwMode="auto">
            <a:xfrm>
              <a:off x="10440278" y="4754568"/>
              <a:ext cx="1607582" cy="1098454"/>
            </a:xfrm>
            <a:prstGeom prst="roundRect">
              <a:avLst>
                <a:gd name="adj" fmla="val 7988"/>
              </a:avLst>
            </a:prstGeom>
            <a:solidFill>
              <a:srgbClr val="FFC000"/>
            </a:solidFill>
            <a:ln w="12700" cap="sq">
              <a:solidFill>
                <a:srgbClr val="0078D7"/>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a:solidFill>
                  <a:prstClr val="black"/>
                </a:solidFill>
                <a:latin typeface="Arial" charset="0"/>
                <a:ea typeface="Arial" charset="0"/>
                <a:cs typeface="Arial" charset="0"/>
              </a:endParaRPr>
            </a:p>
          </p:txBody>
        </p:sp>
        <p:sp>
          <p:nvSpPr>
            <p:cNvPr id="41" name="Line 19">
              <a:extLst>
                <a:ext uri="{FF2B5EF4-FFF2-40B4-BE49-F238E27FC236}">
                  <a16:creationId xmlns:a16="http://schemas.microsoft.com/office/drawing/2014/main" id="{34E93DAC-6B0A-4479-94CA-187B06DB9677}"/>
                </a:ext>
              </a:extLst>
            </p:cNvPr>
            <p:cNvSpPr>
              <a:spLocks noChangeShapeType="1"/>
            </p:cNvSpPr>
            <p:nvPr/>
          </p:nvSpPr>
          <p:spPr bwMode="auto">
            <a:xfrm>
              <a:off x="10872978" y="6019800"/>
              <a:ext cx="742182" cy="0"/>
            </a:xfrm>
            <a:prstGeom prst="line">
              <a:avLst/>
            </a:prstGeom>
            <a:noFill/>
            <a:ln w="12700" cap="sq">
              <a:solidFill>
                <a:srgbClr val="0078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defRPr/>
              </a:pPr>
              <a:endParaRPr lang="en-US" kern="0">
                <a:solidFill>
                  <a:prstClr val="black"/>
                </a:solidFill>
                <a:latin typeface="Arial" charset="0"/>
                <a:ea typeface="Arial" charset="0"/>
                <a:cs typeface="Arial" charset="0"/>
              </a:endParaRPr>
            </a:p>
          </p:txBody>
        </p:sp>
        <p:sp>
          <p:nvSpPr>
            <p:cNvPr id="42" name="Line 20">
              <a:extLst>
                <a:ext uri="{FF2B5EF4-FFF2-40B4-BE49-F238E27FC236}">
                  <a16:creationId xmlns:a16="http://schemas.microsoft.com/office/drawing/2014/main" id="{A08C18AA-40CC-4F32-9F11-3E87A2169EF9}"/>
                </a:ext>
              </a:extLst>
            </p:cNvPr>
            <p:cNvSpPr>
              <a:spLocks noChangeShapeType="1"/>
            </p:cNvSpPr>
            <p:nvPr/>
          </p:nvSpPr>
          <p:spPr bwMode="auto">
            <a:xfrm>
              <a:off x="11244071" y="5864509"/>
              <a:ext cx="0" cy="155291"/>
            </a:xfrm>
            <a:prstGeom prst="line">
              <a:avLst/>
            </a:prstGeom>
            <a:noFill/>
            <a:ln w="12700" cap="sq">
              <a:solidFill>
                <a:srgbClr val="0078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defRPr/>
              </a:pPr>
              <a:endParaRPr lang="en-US" kern="0">
                <a:solidFill>
                  <a:prstClr val="black"/>
                </a:solidFill>
                <a:latin typeface="Arial" charset="0"/>
                <a:ea typeface="Arial" charset="0"/>
                <a:cs typeface="Arial" charset="0"/>
              </a:endParaRPr>
            </a:p>
          </p:txBody>
        </p:sp>
        <p:sp>
          <p:nvSpPr>
            <p:cNvPr id="43" name="Freeform 21">
              <a:extLst>
                <a:ext uri="{FF2B5EF4-FFF2-40B4-BE49-F238E27FC236}">
                  <a16:creationId xmlns:a16="http://schemas.microsoft.com/office/drawing/2014/main" id="{9CE4B55B-23A4-459D-ACBB-AE8F48BD6BFD}"/>
                </a:ext>
              </a:extLst>
            </p:cNvPr>
            <p:cNvSpPr>
              <a:spLocks noChangeArrowheads="1"/>
            </p:cNvSpPr>
            <p:nvPr/>
          </p:nvSpPr>
          <p:spPr bwMode="auto">
            <a:xfrm>
              <a:off x="11217473" y="5727141"/>
              <a:ext cx="53192" cy="53192"/>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rgbClr val="0078D7"/>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kern="0">
                <a:solidFill>
                  <a:prstClr val="black"/>
                </a:solidFill>
                <a:latin typeface="Arial" charset="0"/>
                <a:ea typeface="Arial" charset="0"/>
                <a:cs typeface="Arial" charset="0"/>
              </a:endParaRPr>
            </a:p>
          </p:txBody>
        </p:sp>
        <p:sp>
          <p:nvSpPr>
            <p:cNvPr id="44" name="Line 22">
              <a:extLst>
                <a:ext uri="{FF2B5EF4-FFF2-40B4-BE49-F238E27FC236}">
                  <a16:creationId xmlns:a16="http://schemas.microsoft.com/office/drawing/2014/main" id="{FBF3FC7E-50E9-4A36-A71B-71170A242BA4}"/>
                </a:ext>
              </a:extLst>
            </p:cNvPr>
            <p:cNvSpPr>
              <a:spLocks noChangeShapeType="1"/>
            </p:cNvSpPr>
            <p:nvPr/>
          </p:nvSpPr>
          <p:spPr bwMode="auto">
            <a:xfrm>
              <a:off x="10440278" y="5657713"/>
              <a:ext cx="1607582" cy="0"/>
            </a:xfrm>
            <a:prstGeom prst="line">
              <a:avLst/>
            </a:prstGeom>
            <a:noFill/>
            <a:ln w="12700" cap="sq">
              <a:solidFill>
                <a:srgbClr val="0078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defRPr/>
              </a:pPr>
              <a:endParaRPr lang="en-US" kern="0">
                <a:solidFill>
                  <a:prstClr val="black"/>
                </a:solidFill>
                <a:latin typeface="Arial" charset="0"/>
                <a:ea typeface="Arial" charset="0"/>
                <a:cs typeface="Arial" charset="0"/>
              </a:endParaRPr>
            </a:p>
          </p:txBody>
        </p:sp>
        <p:grpSp>
          <p:nvGrpSpPr>
            <p:cNvPr id="45" name="Group 44">
              <a:extLst>
                <a:ext uri="{FF2B5EF4-FFF2-40B4-BE49-F238E27FC236}">
                  <a16:creationId xmlns:a16="http://schemas.microsoft.com/office/drawing/2014/main" id="{52F2445C-9010-4083-BA09-A8A3C32D0A23}"/>
                </a:ext>
              </a:extLst>
            </p:cNvPr>
            <p:cNvGrpSpPr/>
            <p:nvPr/>
          </p:nvGrpSpPr>
          <p:grpSpPr>
            <a:xfrm>
              <a:off x="11025441" y="4882849"/>
              <a:ext cx="437256" cy="397532"/>
              <a:chOff x="4530976" y="2990126"/>
              <a:chExt cx="231285" cy="210274"/>
            </a:xfrm>
          </p:grpSpPr>
          <p:sp>
            <p:nvSpPr>
              <p:cNvPr id="46" name="Freeform 5">
                <a:extLst>
                  <a:ext uri="{FF2B5EF4-FFF2-40B4-BE49-F238E27FC236}">
                    <a16:creationId xmlns:a16="http://schemas.microsoft.com/office/drawing/2014/main" id="{10ED46F5-F31A-44E0-9A7C-5FEACF085923}"/>
                  </a:ext>
                </a:extLst>
              </p:cNvPr>
              <p:cNvSpPr>
                <a:spLocks noEditPoints="1"/>
              </p:cNvSpPr>
              <p:nvPr/>
            </p:nvSpPr>
            <p:spPr bwMode="auto">
              <a:xfrm>
                <a:off x="4530976" y="2990126"/>
                <a:ext cx="231285" cy="210274"/>
              </a:xfrm>
              <a:prstGeom prst="triangle">
                <a:avLst/>
              </a:prstGeom>
              <a:noFill/>
              <a:ln w="12700">
                <a:solidFill>
                  <a:srgbClr val="0078D7"/>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47" name="Group 46">
                <a:extLst>
                  <a:ext uri="{FF2B5EF4-FFF2-40B4-BE49-F238E27FC236}">
                    <a16:creationId xmlns:a16="http://schemas.microsoft.com/office/drawing/2014/main" id="{E9F44E4C-1D78-4B0A-9959-8B9EB7A8E5D5}"/>
                  </a:ext>
                </a:extLst>
              </p:cNvPr>
              <p:cNvGrpSpPr/>
              <p:nvPr/>
            </p:nvGrpSpPr>
            <p:grpSpPr>
              <a:xfrm>
                <a:off x="4646619" y="3052306"/>
                <a:ext cx="0" cy="122254"/>
                <a:chOff x="4791447" y="2616042"/>
                <a:chExt cx="0" cy="1427764"/>
              </a:xfrm>
            </p:grpSpPr>
            <p:cxnSp>
              <p:nvCxnSpPr>
                <p:cNvPr id="48" name="Straight Connector 47">
                  <a:extLst>
                    <a:ext uri="{FF2B5EF4-FFF2-40B4-BE49-F238E27FC236}">
                      <a16:creationId xmlns:a16="http://schemas.microsoft.com/office/drawing/2014/main" id="{56B3BB5C-6290-41B2-9743-D5B7F0032296}"/>
                    </a:ext>
                  </a:extLst>
                </p:cNvPr>
                <p:cNvCxnSpPr>
                  <a:cxnSpLocks/>
                </p:cNvCxnSpPr>
                <p:nvPr/>
              </p:nvCxnSpPr>
              <p:spPr>
                <a:xfrm>
                  <a:off x="4791447" y="2616042"/>
                  <a:ext cx="0" cy="1030199"/>
                </a:xfrm>
                <a:prstGeom prst="line">
                  <a:avLst/>
                </a:prstGeom>
                <a:noFill/>
                <a:ln w="12700" cap="flat" cmpd="sng" algn="ctr">
                  <a:solidFill>
                    <a:srgbClr val="0078D7"/>
                  </a:solidFill>
                  <a:prstDash val="solid"/>
                  <a:headEnd type="none"/>
                  <a:tailEnd type="none"/>
                </a:ln>
                <a:effectLst/>
              </p:spPr>
            </p:cxnSp>
            <p:cxnSp>
              <p:nvCxnSpPr>
                <p:cNvPr id="49" name="Straight Connector 48">
                  <a:extLst>
                    <a:ext uri="{FF2B5EF4-FFF2-40B4-BE49-F238E27FC236}">
                      <a16:creationId xmlns:a16="http://schemas.microsoft.com/office/drawing/2014/main" id="{AE2D479A-C3FD-4484-B195-052BB4CE295E}"/>
                    </a:ext>
                  </a:extLst>
                </p:cNvPr>
                <p:cNvCxnSpPr>
                  <a:cxnSpLocks/>
                </p:cNvCxnSpPr>
                <p:nvPr/>
              </p:nvCxnSpPr>
              <p:spPr>
                <a:xfrm>
                  <a:off x="4791447" y="3793908"/>
                  <a:ext cx="0" cy="249898"/>
                </a:xfrm>
                <a:prstGeom prst="line">
                  <a:avLst/>
                </a:prstGeom>
                <a:noFill/>
                <a:ln w="12700" cap="flat" cmpd="sng" algn="ctr">
                  <a:solidFill>
                    <a:srgbClr val="0078D7"/>
                  </a:solidFill>
                  <a:prstDash val="solid"/>
                  <a:headEnd type="none"/>
                  <a:tailEnd type="none"/>
                </a:ln>
                <a:effectLst/>
              </p:spPr>
            </p:cxnSp>
          </p:grpSp>
        </p:grpSp>
      </p:grpSp>
      <p:graphicFrame>
        <p:nvGraphicFramePr>
          <p:cNvPr id="50" name="Diagram 49">
            <a:extLst>
              <a:ext uri="{FF2B5EF4-FFF2-40B4-BE49-F238E27FC236}">
                <a16:creationId xmlns:a16="http://schemas.microsoft.com/office/drawing/2014/main" id="{4081CE8E-C9DB-46F3-BAA5-AD50B90E02C5}"/>
              </a:ext>
            </a:extLst>
          </p:cNvPr>
          <p:cNvGraphicFramePr/>
          <p:nvPr>
            <p:extLst>
              <p:ext uri="{D42A27DB-BD31-4B8C-83A1-F6EECF244321}">
                <p14:modId xmlns:p14="http://schemas.microsoft.com/office/powerpoint/2010/main" val="1671516862"/>
              </p:ext>
            </p:extLst>
          </p:nvPr>
        </p:nvGraphicFramePr>
        <p:xfrm>
          <a:off x="685800" y="1127466"/>
          <a:ext cx="5592539" cy="50999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35379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graphicEl>
                                              <a:dgm id="{BDA57DFC-E7F9-49B2-A3BB-628BA08352A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graphicEl>
                                              <a:dgm id="{B2A66DFB-DE94-42E1-846B-97FC41941F3A}"/>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graphicEl>
                                              <a:dgm id="{5B4BAB36-4A28-4F7C-B3CA-D40F208FC8F1}"/>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graphicEl>
                                              <a:dgm id="{F5AEE719-E992-48FE-B440-F4CA3BEAE3F1}"/>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graphicEl>
                                              <a:dgm id="{34F064BD-6E3B-404A-8008-495C8F683392}"/>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
                                            <p:graphicEl>
                                              <a:dgm id="{B0E9120E-4483-4CB0-85A2-0EE5C7EE30FB}"/>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graphicEl>
                                              <a:dgm id="{A04785D2-AA36-49CD-944B-292AA71DBCB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0">
                                            <p:graphicEl>
                                              <a:dgm id="{97173A74-1DF9-466F-9423-C532B991070C}"/>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0">
                                            <p:graphicEl>
                                              <a:dgm id="{FA4FC5E8-D983-41E4-8EB7-E9C862CA1019}"/>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0" grpId="0">
        <p:bldSub>
          <a:bldDgm bld="one"/>
        </p:bldSub>
      </p:bldGraphic>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FA922-CABC-4EFD-BBCF-A80F543A1240}"/>
              </a:ext>
            </a:extLst>
          </p:cNvPr>
          <p:cNvSpPr>
            <a:spLocks noGrp="1"/>
          </p:cNvSpPr>
          <p:nvPr>
            <p:ph type="title"/>
          </p:nvPr>
        </p:nvSpPr>
        <p:spPr>
          <a:xfrm>
            <a:off x="655638" y="320040"/>
            <a:ext cx="10880725" cy="461665"/>
          </a:xfrm>
        </p:spPr>
        <p:txBody>
          <a:bodyPr/>
          <a:lstStyle/>
          <a:p>
            <a:r>
              <a:rPr lang="en-US"/>
              <a:t>How Threat Detection Works</a:t>
            </a:r>
          </a:p>
        </p:txBody>
      </p:sp>
      <p:cxnSp>
        <p:nvCxnSpPr>
          <p:cNvPr id="4" name="Straight Arrow Connector 11">
            <a:extLst>
              <a:ext uri="{FF2B5EF4-FFF2-40B4-BE49-F238E27FC236}">
                <a16:creationId xmlns:a16="http://schemas.microsoft.com/office/drawing/2014/main" id="{B80A9105-1AE0-480D-90F4-E055E991B5FC}"/>
              </a:ext>
            </a:extLst>
          </p:cNvPr>
          <p:cNvCxnSpPr/>
          <p:nvPr/>
        </p:nvCxnSpPr>
        <p:spPr>
          <a:xfrm flipV="1">
            <a:off x="8521401" y="2461650"/>
            <a:ext cx="1817885" cy="600761"/>
          </a:xfrm>
          <a:prstGeom prst="curvedConnector2">
            <a:avLst/>
          </a:prstGeom>
          <a:noFill/>
          <a:ln w="57150" cap="flat" cmpd="sng" algn="ctr">
            <a:solidFill>
              <a:sysClr val="window" lastClr="FFFFFF"/>
            </a:solidFill>
            <a:prstDash val="solid"/>
            <a:tailEnd type="triangle"/>
          </a:ln>
          <a:effectLst/>
        </p:spPr>
      </p:cxnSp>
      <p:sp>
        <p:nvSpPr>
          <p:cNvPr id="5" name="Rectangle 4">
            <a:extLst>
              <a:ext uri="{FF2B5EF4-FFF2-40B4-BE49-F238E27FC236}">
                <a16:creationId xmlns:a16="http://schemas.microsoft.com/office/drawing/2014/main" id="{EA3B2B9F-6BB5-4AA5-8520-5F7FA72BE12D}"/>
              </a:ext>
            </a:extLst>
          </p:cNvPr>
          <p:cNvSpPr/>
          <p:nvPr/>
        </p:nvSpPr>
        <p:spPr bwMode="auto">
          <a:xfrm>
            <a:off x="8103014" y="1466445"/>
            <a:ext cx="3749040" cy="4754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2000" kern="0">
                <a:solidFill>
                  <a:srgbClr val="0078D7"/>
                </a:solidFill>
                <a:latin typeface="Segoe UI Semilight" panose="020B0402040204020203" pitchFamily="34" charset="0"/>
                <a:cs typeface="Segoe UI Semilight" panose="020B0402040204020203" pitchFamily="34" charset="0"/>
              </a:rPr>
              <a:t>Explore </a:t>
            </a:r>
          </a:p>
          <a:p>
            <a:pPr marL="0" lvl="1">
              <a:defRPr/>
            </a:pPr>
            <a:endParaRPr lang="en-US" sz="2000" kern="0">
              <a:solidFill>
                <a:srgbClr val="0078D7"/>
              </a:solidFill>
              <a:latin typeface="Segoe UI Semilight" panose="020B0402040204020203" pitchFamily="34" charset="0"/>
              <a:cs typeface="Segoe UI Semilight" panose="020B0402040204020203" pitchFamily="34" charset="0"/>
            </a:endParaRPr>
          </a:p>
          <a:p>
            <a:pPr>
              <a:defRPr/>
            </a:pPr>
            <a:endParaRPr lang="en-US" sz="2000" kern="0">
              <a:solidFill>
                <a:srgbClr val="0078D7"/>
              </a:solidFill>
              <a:latin typeface="Segoe UI Semilight" panose="020B0402040204020203" pitchFamily="34" charset="0"/>
              <a:cs typeface="Segoe UI Semilight" panose="020B0402040204020203" pitchFamily="34" charset="0"/>
            </a:endParaRPr>
          </a:p>
        </p:txBody>
      </p:sp>
      <p:sp>
        <p:nvSpPr>
          <p:cNvPr id="6" name="Rectangle 5">
            <a:extLst>
              <a:ext uri="{FF2B5EF4-FFF2-40B4-BE49-F238E27FC236}">
                <a16:creationId xmlns:a16="http://schemas.microsoft.com/office/drawing/2014/main" id="{6D257947-EC23-40AF-9FD7-F56FAE24186A}"/>
              </a:ext>
            </a:extLst>
          </p:cNvPr>
          <p:cNvSpPr/>
          <p:nvPr/>
        </p:nvSpPr>
        <p:spPr bwMode="auto">
          <a:xfrm>
            <a:off x="323906" y="1497977"/>
            <a:ext cx="3749040" cy="4754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defRPr/>
            </a:pPr>
            <a:r>
              <a:rPr lang="en-US" sz="2000" kern="0">
                <a:solidFill>
                  <a:srgbClr val="0078D7"/>
                </a:solidFill>
                <a:latin typeface="Segoe UI Semilight" panose="020B0402040204020203" pitchFamily="34" charset="0"/>
                <a:cs typeface="Segoe UI Semilight" panose="020B0402040204020203" pitchFamily="34" charset="0"/>
              </a:rPr>
              <a:t>Set up</a:t>
            </a:r>
          </a:p>
          <a:p>
            <a:pPr marL="0" lvl="2">
              <a:defRPr/>
            </a:pPr>
            <a:endParaRPr lang="en-US" sz="2000" kern="0">
              <a:solidFill>
                <a:srgbClr val="0078D7"/>
              </a:solidFill>
              <a:latin typeface="Segoe UI Semilight" panose="020B0402040204020203" pitchFamily="34" charset="0"/>
              <a:cs typeface="Segoe UI Semilight" panose="020B0402040204020203" pitchFamily="34" charset="0"/>
            </a:endParaRPr>
          </a:p>
        </p:txBody>
      </p:sp>
      <p:sp>
        <p:nvSpPr>
          <p:cNvPr id="7" name="Rectangle 6">
            <a:extLst>
              <a:ext uri="{FF2B5EF4-FFF2-40B4-BE49-F238E27FC236}">
                <a16:creationId xmlns:a16="http://schemas.microsoft.com/office/drawing/2014/main" id="{456C5FD1-EB72-42EF-B1CB-7F3885D908CD}"/>
              </a:ext>
            </a:extLst>
          </p:cNvPr>
          <p:cNvSpPr/>
          <p:nvPr/>
        </p:nvSpPr>
        <p:spPr bwMode="auto">
          <a:xfrm>
            <a:off x="4213460" y="1482211"/>
            <a:ext cx="3749040" cy="47548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defRPr/>
            </a:pPr>
            <a:r>
              <a:rPr lang="en-US" sz="2000" kern="0">
                <a:solidFill>
                  <a:srgbClr val="0078D7"/>
                </a:solidFill>
                <a:latin typeface="Segoe UI Semilight" panose="020B0402040204020203" pitchFamily="34" charset="0"/>
                <a:cs typeface="Segoe UI Semilight" panose="020B0402040204020203" pitchFamily="34" charset="0"/>
              </a:rPr>
              <a:t>Alert </a:t>
            </a:r>
            <a:endParaRPr lang="en-US" sz="2000" kern="0">
              <a:solidFill>
                <a:srgbClr val="0078D7"/>
              </a:solidFill>
              <a:latin typeface="Segoe UI Semilight" panose="020B0402040204020203" pitchFamily="34" charset="0"/>
              <a:ea typeface="Segoe UI" pitchFamily="34" charset="0"/>
              <a:cs typeface="Segoe UI Semilight" panose="020B0402040204020203" pitchFamily="34" charset="0"/>
            </a:endParaRPr>
          </a:p>
        </p:txBody>
      </p:sp>
      <p:pic>
        <p:nvPicPr>
          <p:cNvPr id="8" name="Picture 7">
            <a:extLst>
              <a:ext uri="{FF2B5EF4-FFF2-40B4-BE49-F238E27FC236}">
                <a16:creationId xmlns:a16="http://schemas.microsoft.com/office/drawing/2014/main" id="{A8FC3728-3A60-4F7E-9DAF-94766E15F156}"/>
              </a:ext>
            </a:extLst>
          </p:cNvPr>
          <p:cNvPicPr>
            <a:picLocks noChangeAspect="1"/>
          </p:cNvPicPr>
          <p:nvPr/>
        </p:nvPicPr>
        <p:blipFill>
          <a:blip r:embed="rId3"/>
          <a:stretch>
            <a:fillRect/>
          </a:stretch>
        </p:blipFill>
        <p:spPr>
          <a:xfrm>
            <a:off x="1245476" y="1939159"/>
            <a:ext cx="2581866" cy="4099034"/>
          </a:xfrm>
          <a:prstGeom prst="rect">
            <a:avLst/>
          </a:prstGeom>
        </p:spPr>
      </p:pic>
      <p:pic>
        <p:nvPicPr>
          <p:cNvPr id="9" name="Picture 8">
            <a:extLst>
              <a:ext uri="{FF2B5EF4-FFF2-40B4-BE49-F238E27FC236}">
                <a16:creationId xmlns:a16="http://schemas.microsoft.com/office/drawing/2014/main" id="{60B69432-3770-4E04-82DD-90AA362A0307}"/>
              </a:ext>
            </a:extLst>
          </p:cNvPr>
          <p:cNvPicPr>
            <a:picLocks noChangeAspect="1"/>
          </p:cNvPicPr>
          <p:nvPr/>
        </p:nvPicPr>
        <p:blipFill>
          <a:blip r:embed="rId4"/>
          <a:stretch>
            <a:fillRect/>
          </a:stretch>
        </p:blipFill>
        <p:spPr>
          <a:xfrm>
            <a:off x="4840015" y="2008206"/>
            <a:ext cx="2827958" cy="4077283"/>
          </a:xfrm>
          <a:prstGeom prst="rect">
            <a:avLst/>
          </a:prstGeom>
        </p:spPr>
      </p:pic>
      <p:pic>
        <p:nvPicPr>
          <p:cNvPr id="10" name="Picture 9">
            <a:extLst>
              <a:ext uri="{FF2B5EF4-FFF2-40B4-BE49-F238E27FC236}">
                <a16:creationId xmlns:a16="http://schemas.microsoft.com/office/drawing/2014/main" id="{DB837D27-9B80-49B3-A7B8-A0A1549DE8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6634" y="4573416"/>
            <a:ext cx="371019" cy="331511"/>
          </a:xfrm>
          <a:prstGeom prst="rect">
            <a:avLst/>
          </a:prstGeom>
        </p:spPr>
      </p:pic>
      <p:pic>
        <p:nvPicPr>
          <p:cNvPr id="11" name="Picture 10">
            <a:extLst>
              <a:ext uri="{FF2B5EF4-FFF2-40B4-BE49-F238E27FC236}">
                <a16:creationId xmlns:a16="http://schemas.microsoft.com/office/drawing/2014/main" id="{E5187062-2C45-4D14-B423-D06274A95C8A}"/>
              </a:ext>
            </a:extLst>
          </p:cNvPr>
          <p:cNvPicPr>
            <a:picLocks noChangeAspect="1"/>
          </p:cNvPicPr>
          <p:nvPr/>
        </p:nvPicPr>
        <p:blipFill>
          <a:blip r:embed="rId6"/>
          <a:stretch>
            <a:fillRect/>
          </a:stretch>
        </p:blipFill>
        <p:spPr>
          <a:xfrm>
            <a:off x="8605294" y="1992441"/>
            <a:ext cx="2986806" cy="3584257"/>
          </a:xfrm>
          <a:prstGeom prst="rect">
            <a:avLst/>
          </a:prstGeom>
        </p:spPr>
      </p:pic>
      <p:pic>
        <p:nvPicPr>
          <p:cNvPr id="12" name="Picture 11">
            <a:extLst>
              <a:ext uri="{FF2B5EF4-FFF2-40B4-BE49-F238E27FC236}">
                <a16:creationId xmlns:a16="http://schemas.microsoft.com/office/drawing/2014/main" id="{C684CC57-666F-49ED-A2D9-2F5380869C87}"/>
              </a:ext>
            </a:extLst>
          </p:cNvPr>
          <p:cNvPicPr>
            <a:picLocks noChangeAspect="1"/>
          </p:cNvPicPr>
          <p:nvPr/>
        </p:nvPicPr>
        <p:blipFill>
          <a:blip r:embed="rId7"/>
          <a:stretch>
            <a:fillRect/>
          </a:stretch>
        </p:blipFill>
        <p:spPr>
          <a:xfrm>
            <a:off x="9096703" y="4364892"/>
            <a:ext cx="2556703" cy="1830955"/>
          </a:xfrm>
          <a:prstGeom prst="rect">
            <a:avLst/>
          </a:prstGeom>
        </p:spPr>
      </p:pic>
    </p:spTree>
    <p:extLst>
      <p:ext uri="{BB962C8B-B14F-4D97-AF65-F5344CB8AC3E}">
        <p14:creationId xmlns:p14="http://schemas.microsoft.com/office/powerpoint/2010/main" val="1701640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par>
                          <p:cTn id="19" fill="hold">
                            <p:stCondLst>
                              <p:cond delay="500"/>
                            </p:stCondLst>
                            <p:childTnLst>
                              <p:par>
                                <p:cTn id="20" presetID="10" presetClass="entr" presetSubtype="0" fill="hold" nodeType="afterEffect">
                                  <p:stCondLst>
                                    <p:cond delay="2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5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FA922-CABC-4EFD-BBCF-A80F543A1240}"/>
              </a:ext>
            </a:extLst>
          </p:cNvPr>
          <p:cNvSpPr>
            <a:spLocks noGrp="1"/>
          </p:cNvSpPr>
          <p:nvPr>
            <p:ph type="title"/>
          </p:nvPr>
        </p:nvSpPr>
        <p:spPr>
          <a:xfrm>
            <a:off x="655638" y="320040"/>
            <a:ext cx="10880725" cy="461665"/>
          </a:xfrm>
        </p:spPr>
        <p:txBody>
          <a:bodyPr/>
          <a:lstStyle/>
          <a:p>
            <a:r>
              <a:rPr lang="en-US"/>
              <a:t>Azure SQL Database Threat Detection Alerts</a:t>
            </a:r>
          </a:p>
        </p:txBody>
      </p:sp>
      <p:graphicFrame>
        <p:nvGraphicFramePr>
          <p:cNvPr id="4" name="Diagram 3">
            <a:extLst>
              <a:ext uri="{FF2B5EF4-FFF2-40B4-BE49-F238E27FC236}">
                <a16:creationId xmlns:a16="http://schemas.microsoft.com/office/drawing/2014/main" id="{D04C4CC6-4338-494B-850D-7305A037FCE4}"/>
              </a:ext>
            </a:extLst>
          </p:cNvPr>
          <p:cNvGraphicFramePr/>
          <p:nvPr>
            <p:extLst>
              <p:ext uri="{D42A27DB-BD31-4B8C-83A1-F6EECF244321}">
                <p14:modId xmlns:p14="http://schemas.microsoft.com/office/powerpoint/2010/main" val="1759639187"/>
              </p:ext>
            </p:extLst>
          </p:nvPr>
        </p:nvGraphicFramePr>
        <p:xfrm>
          <a:off x="673052" y="1434240"/>
          <a:ext cx="10863309" cy="4878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45596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95D53B1B-5754-4C13-94F6-DB860CFF652B}"/>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E8E5CE25-A54E-4012-8E1D-D2AB08D98A99}"/>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B9DC1C5B-AA1F-4657-B30E-8BDDAE3FB49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1030206F-BA13-443D-8C11-AA99242C8FC7}"/>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7284C32C-6157-49E3-9A98-0D2F9230B2C7}"/>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dgm id="{91DC3EF6-96A7-49D4-A97D-47E9C5DCCD3E}"/>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graphicEl>
                                              <a:dgm id="{E2C44903-3735-48E7-8E6A-DF0A4E480900}"/>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E1C4BB68-B2A4-4A92-87B2-49D3DA1CE52C}"/>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graphicEl>
                                              <a:dgm id="{50FAECC8-400D-453E-AA16-073CDDD205C9}"/>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graphicEl>
                                              <a:dgm id="{8592102B-D3F4-494B-BF45-E0A5C3BB44BC}"/>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graphicEl>
                                              <a:dgm id="{F93A98EF-7F21-410E-9A87-1849BCF2FFB9}"/>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graphicEl>
                                              <a:dgm id="{BE9DEAFF-DD7D-4687-A090-4FAE277F6833}"/>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graphicEl>
                                              <a:dgm id="{606ED6B2-0023-4C77-AF3D-10661181B949}"/>
                                            </p:graphic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graphicEl>
                                              <a:dgm id="{94B0EC2D-894F-42F8-888F-4B813C74F162}"/>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
                                            <p:graphicEl>
                                              <a:dgm id="{0FCCAEF5-117F-42DE-BFFD-C46437B7FC5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Threat Detection for Azure SQL Database</a:t>
            </a:r>
          </a:p>
          <a:p>
            <a:pPr marL="571500" lvl="1" indent="-342900">
              <a:buFont typeface="Arial" panose="020B0604020202020204" pitchFamily="34" charset="0"/>
              <a:buChar char="•"/>
            </a:pPr>
            <a:r>
              <a:rPr lang="en-US"/>
              <a:t>Enable Threat Detection for Azure SQL Databa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053386836"/>
      </p:ext>
    </p:extLst>
  </p:cSld>
  <p:clrMapOvr>
    <a:masterClrMapping/>
  </p:clrMapOvr>
  <p:transition spd="slow"/>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106C1-85EA-48C4-B450-8E63694F8E1A}"/>
              </a:ext>
            </a:extLst>
          </p:cNvPr>
          <p:cNvSpPr>
            <a:spLocks noGrp="1"/>
          </p:cNvSpPr>
          <p:nvPr>
            <p:ph type="title"/>
          </p:nvPr>
        </p:nvSpPr>
        <p:spPr>
          <a:xfrm>
            <a:off x="655638" y="320040"/>
            <a:ext cx="10880725" cy="461665"/>
          </a:xfrm>
        </p:spPr>
        <p:txBody>
          <a:bodyPr/>
          <a:lstStyle/>
          <a:p>
            <a:r>
              <a:rPr lang="en-US"/>
              <a:t>Data Discovery and Classification</a:t>
            </a:r>
          </a:p>
        </p:txBody>
      </p:sp>
      <p:graphicFrame>
        <p:nvGraphicFramePr>
          <p:cNvPr id="4" name="Diagram 3">
            <a:extLst>
              <a:ext uri="{FF2B5EF4-FFF2-40B4-BE49-F238E27FC236}">
                <a16:creationId xmlns:a16="http://schemas.microsoft.com/office/drawing/2014/main" id="{3B7BC4A1-705E-40E6-8B6F-A3AD2074333D}"/>
              </a:ext>
            </a:extLst>
          </p:cNvPr>
          <p:cNvGraphicFramePr/>
          <p:nvPr>
            <p:extLst>
              <p:ext uri="{D42A27DB-BD31-4B8C-83A1-F6EECF244321}">
                <p14:modId xmlns:p14="http://schemas.microsoft.com/office/powerpoint/2010/main" val="384327633"/>
              </p:ext>
            </p:extLst>
          </p:nvPr>
        </p:nvGraphicFramePr>
        <p:xfrm>
          <a:off x="640717" y="2075704"/>
          <a:ext cx="10895645" cy="33517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99676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106C1-85EA-48C4-B450-8E63694F8E1A}"/>
              </a:ext>
            </a:extLst>
          </p:cNvPr>
          <p:cNvSpPr>
            <a:spLocks noGrp="1"/>
          </p:cNvSpPr>
          <p:nvPr>
            <p:ph type="title"/>
          </p:nvPr>
        </p:nvSpPr>
        <p:spPr>
          <a:xfrm>
            <a:off x="655638" y="320040"/>
            <a:ext cx="10880725" cy="461665"/>
          </a:xfrm>
        </p:spPr>
        <p:txBody>
          <a:bodyPr/>
          <a:lstStyle/>
          <a:p>
            <a:r>
              <a:rPr lang="en-US"/>
              <a:t>Data Discovery and Classification (continued)</a:t>
            </a:r>
          </a:p>
        </p:txBody>
      </p:sp>
      <p:graphicFrame>
        <p:nvGraphicFramePr>
          <p:cNvPr id="4" name="Diagram 3">
            <a:extLst>
              <a:ext uri="{FF2B5EF4-FFF2-40B4-BE49-F238E27FC236}">
                <a16:creationId xmlns:a16="http://schemas.microsoft.com/office/drawing/2014/main" id="{94B72629-560A-4424-A744-84C769A525B8}"/>
              </a:ext>
            </a:extLst>
          </p:cNvPr>
          <p:cNvGraphicFramePr/>
          <p:nvPr>
            <p:extLst>
              <p:ext uri="{D42A27DB-BD31-4B8C-83A1-F6EECF244321}">
                <p14:modId xmlns:p14="http://schemas.microsoft.com/office/powerpoint/2010/main" val="2626445785"/>
              </p:ext>
            </p:extLst>
          </p:nvPr>
        </p:nvGraphicFramePr>
        <p:xfrm>
          <a:off x="655636" y="1408114"/>
          <a:ext cx="9291155" cy="4982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9530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3E6CE577-3135-45ED-B437-0909A2276718}"/>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048F5345-A67F-4ACB-8EF6-A0C71A556E29}"/>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8EAA2EF7-0365-4860-B5A9-34020B27D7F3}"/>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D085F822-9231-42EA-80AE-D414E5E81C2E}"/>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EC4A256D-0EDB-4DCE-87DC-AA2E4F390A92}"/>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dgm id="{BFE8A08C-85C2-4E79-BC90-76A29B928BEE}"/>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graphicEl>
                                              <a:dgm id="{C69E11E5-B507-4C20-A75A-858083FD981E}"/>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E782F6CC-65FA-4263-B239-FD0ACD11C09F}"/>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graphicEl>
                                              <a:dgm id="{A7AC9D81-28D7-4F58-B969-D3F080D7F31D}"/>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graphicEl>
                                              <a:dgm id="{1598694E-D32E-4874-90F4-366BFC842A01}"/>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graphicEl>
                                              <a:dgm id="{976697AF-387E-466C-BB8E-F19958E78F0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rEXt8STxUy5UIXINzsJ5Q"/>
</p:tagLst>
</file>

<file path=ppt/tags/tag33.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6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6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6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0b15a96f-9efd-4f0c-b199-c53b2a01cb9d" xsi:nil="true"/>
    <_Flow_SignoffStatus xmlns="0b15a96f-9efd-4f0c-b199-c53b2a01cb9d" xsi:nil="true"/>
  </documentManagement>
</p:properties>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0.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4" ma:contentTypeDescription="Create a new document." ma:contentTypeScope="" ma:versionID="1df681d697d8aac7f77a088f07a7b417">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5129d515aaa5dedb4e6d2d94ccbda6ba"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Flow_SignoffStatus" ma:index="21"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9CFE9A22-C3CB-45B7-B365-FE59FD6BB66B}">
  <ds:schemaRefs>
    <ds:schemaRef ds:uri="Strauss.PersonalizationDefinition"/>
  </ds:schemaRefs>
</ds:datastoreItem>
</file>

<file path=customXml/itemProps10.xml><?xml version="1.0" encoding="utf-8"?>
<ds:datastoreItem xmlns:ds="http://schemas.openxmlformats.org/officeDocument/2006/customXml" ds:itemID="{67E0FE29-8C79-46F7-BD38-B00360908665}">
  <ds:schemaRefs>
    <ds:schemaRef ds:uri="0b15a96f-9efd-4f0c-b199-c53b2a01cb9d"/>
    <ds:schemaRef ds:uri="http://schemas.microsoft.com/office/2006/metadata/properties"/>
    <ds:schemaRef ds:uri="http://schemas.microsoft.com/office/infopath/2007/PartnerControls"/>
    <ds:schemaRef ds:uri="http://schemas.microsoft.com/sharepoint/v3"/>
  </ds:schemaRefs>
</ds:datastoreItem>
</file>

<file path=customXml/itemProps11.xml><?xml version="1.0" encoding="utf-8"?>
<ds:datastoreItem xmlns:ds="http://schemas.openxmlformats.org/officeDocument/2006/customXml" ds:itemID="{3E57901B-10F4-4A7B-A96A-FB3186A10B8F}">
  <ds:schemaRefs>
    <ds:schemaRef ds:uri="Strauss.PersonalizationDefinition"/>
  </ds:schemaRefs>
</ds:datastoreItem>
</file>

<file path=customXml/itemProps12.xml><?xml version="1.0" encoding="utf-8"?>
<ds:datastoreItem xmlns:ds="http://schemas.openxmlformats.org/officeDocument/2006/customXml" ds:itemID="{75C05EC8-D295-4080-807A-6EA8C339A657}">
  <ds:schemaRefs>
    <ds:schemaRef ds:uri="Strauss.PersonalizationDefinition"/>
  </ds:schemaRefs>
</ds:datastoreItem>
</file>

<file path=customXml/itemProps13.xml><?xml version="1.0" encoding="utf-8"?>
<ds:datastoreItem xmlns:ds="http://schemas.openxmlformats.org/officeDocument/2006/customXml" ds:itemID="{AC5672B1-279F-4228-9ECF-085D3CAB7D2D}">
  <ds:schemaRefs>
    <ds:schemaRef ds:uri="Strauss.PersonalizationDefinition"/>
  </ds:schemaRefs>
</ds:datastoreItem>
</file>

<file path=customXml/itemProps14.xml><?xml version="1.0" encoding="utf-8"?>
<ds:datastoreItem xmlns:ds="http://schemas.openxmlformats.org/officeDocument/2006/customXml" ds:itemID="{9EEC7FED-AC7D-45C9-8F29-C2C8A7233C3D}">
  <ds:schemaRefs>
    <ds:schemaRef ds:uri="Strauss.PersonalizationDefinition"/>
  </ds:schemaRefs>
</ds:datastoreItem>
</file>

<file path=customXml/itemProps15.xml><?xml version="1.0" encoding="utf-8"?>
<ds:datastoreItem xmlns:ds="http://schemas.openxmlformats.org/officeDocument/2006/customXml" ds:itemID="{FA103567-A47B-476E-B206-447EDB9440F5}">
  <ds:schemaRefs>
    <ds:schemaRef ds:uri="Strauss.PersonalizationDefinition"/>
  </ds:schemaRefs>
</ds:datastoreItem>
</file>

<file path=customXml/itemProps16.xml><?xml version="1.0" encoding="utf-8"?>
<ds:datastoreItem xmlns:ds="http://schemas.openxmlformats.org/officeDocument/2006/customXml" ds:itemID="{54498AF5-C914-4214-A2A4-E532E18ECF76}">
  <ds:schemaRefs>
    <ds:schemaRef ds:uri="Strauss.PersonalizationDefinition"/>
  </ds:schemaRefs>
</ds:datastoreItem>
</file>

<file path=customXml/itemProps17.xml><?xml version="1.0" encoding="utf-8"?>
<ds:datastoreItem xmlns:ds="http://schemas.openxmlformats.org/officeDocument/2006/customXml" ds:itemID="{7C42A160-080E-4178-8FDB-B5422D4D778A}">
  <ds:schemaRefs>
    <ds:schemaRef ds:uri="Strauss.PersonalizationDefinition"/>
  </ds:schemaRefs>
</ds:datastoreItem>
</file>

<file path=customXml/itemProps18.xml><?xml version="1.0" encoding="utf-8"?>
<ds:datastoreItem xmlns:ds="http://schemas.openxmlformats.org/officeDocument/2006/customXml" ds:itemID="{FBE5948A-D4B5-4C88-A1B5-B30440530184}">
  <ds:schemaRefs>
    <ds:schemaRef ds:uri="Strauss.PersonalizationDefinition"/>
  </ds:schemaRefs>
</ds:datastoreItem>
</file>

<file path=customXml/itemProps19.xml><?xml version="1.0" encoding="utf-8"?>
<ds:datastoreItem xmlns:ds="http://schemas.openxmlformats.org/officeDocument/2006/customXml" ds:itemID="{CEBC341D-9FBB-4923-8A22-6FF544FAB77A}">
  <ds:schemaRefs>
    <ds:schemaRef ds:uri="http://schemas.microsoft.com/sharepoint/v3/contenttype/forms"/>
  </ds:schemaRefs>
</ds:datastoreItem>
</file>

<file path=customXml/itemProps2.xml><?xml version="1.0" encoding="utf-8"?>
<ds:datastoreItem xmlns:ds="http://schemas.openxmlformats.org/officeDocument/2006/customXml" ds:itemID="{CEB25AA4-A32B-479D-820D-4322371558EC}">
  <ds:schemaRefs>
    <ds:schemaRef ds:uri="Strauss.PersonalizationDefinition"/>
  </ds:schemaRefs>
</ds:datastoreItem>
</file>

<file path=customXml/itemProps20.xml><?xml version="1.0" encoding="utf-8"?>
<ds:datastoreItem xmlns:ds="http://schemas.openxmlformats.org/officeDocument/2006/customXml" ds:itemID="{D46C0731-270B-42DE-A4E3-7C9E928DFC58}">
  <ds:schemaRefs>
    <ds:schemaRef ds:uri="Strauss.PersonalizationDefinition"/>
  </ds:schemaRefs>
</ds:datastoreItem>
</file>

<file path=customXml/itemProps21.xml><?xml version="1.0" encoding="utf-8"?>
<ds:datastoreItem xmlns:ds="http://schemas.openxmlformats.org/officeDocument/2006/customXml" ds:itemID="{33FCCF74-3891-4547-A269-6BF8A62AC792}">
  <ds:schemaRefs>
    <ds:schemaRef ds:uri="Strauss.PersonalizationDefinition"/>
  </ds:schemaRefs>
</ds:datastoreItem>
</file>

<file path=customXml/itemProps22.xml><?xml version="1.0" encoding="utf-8"?>
<ds:datastoreItem xmlns:ds="http://schemas.openxmlformats.org/officeDocument/2006/customXml" ds:itemID="{8F73FC2B-28FE-4A96-8F23-62BC58F85FB9}">
  <ds:schemaRefs>
    <ds:schemaRef ds:uri="Strauss.PersonalizationDefinition"/>
  </ds:schemaRefs>
</ds:datastoreItem>
</file>

<file path=customXml/itemProps23.xml><?xml version="1.0" encoding="utf-8"?>
<ds:datastoreItem xmlns:ds="http://schemas.openxmlformats.org/officeDocument/2006/customXml" ds:itemID="{906185C0-AC71-4EEE-9EEB-68CA1E6364D4}">
  <ds:schemaRefs>
    <ds:schemaRef ds:uri="Strauss.PersonalizationDefinition"/>
  </ds:schemaRefs>
</ds:datastoreItem>
</file>

<file path=customXml/itemProps3.xml><?xml version="1.0" encoding="utf-8"?>
<ds:datastoreItem xmlns:ds="http://schemas.openxmlformats.org/officeDocument/2006/customXml" ds:itemID="{EBCC33FC-94BB-4B1D-A4C6-D2E6A3A4B1FD}">
  <ds:schemaRefs>
    <ds:schemaRef ds:uri="Strauss.PersonalizationDefinition"/>
  </ds:schemaRefs>
</ds:datastoreItem>
</file>

<file path=customXml/itemProps4.xml><?xml version="1.0" encoding="utf-8"?>
<ds:datastoreItem xmlns:ds="http://schemas.openxmlformats.org/officeDocument/2006/customXml" ds:itemID="{30190835-AE4D-42D9-8963-5B0830E35E4D}">
  <ds:schemaRefs>
    <ds:schemaRef ds:uri="Strauss.PersonalizationDefinition"/>
  </ds:schemaRefs>
</ds:datastoreItem>
</file>

<file path=customXml/itemProps5.xml><?xml version="1.0" encoding="utf-8"?>
<ds:datastoreItem xmlns:ds="http://schemas.openxmlformats.org/officeDocument/2006/customXml" ds:itemID="{23CF4F9F-9375-453C-B766-B48358B613DF}">
  <ds:schemaRefs>
    <ds:schemaRef ds:uri="Strauss.PersonalizationDefinition"/>
  </ds:schemaRefs>
</ds:datastoreItem>
</file>

<file path=customXml/itemProps6.xml><?xml version="1.0" encoding="utf-8"?>
<ds:datastoreItem xmlns:ds="http://schemas.openxmlformats.org/officeDocument/2006/customXml" ds:itemID="{582758D1-8822-43CA-8465-36DDFE678751}">
  <ds:schemaRefs>
    <ds:schemaRef ds:uri="0b15a96f-9efd-4f0c-b199-c53b2a01cb9d"/>
    <ds:schemaRef ds:uri="b66b6bb9-0c3b-4baf-b7e0-24038b18f2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7.xml><?xml version="1.0" encoding="utf-8"?>
<ds:datastoreItem xmlns:ds="http://schemas.openxmlformats.org/officeDocument/2006/customXml" ds:itemID="{DE5DD1DB-9F8A-4CA9-9FE8-A87D4D17608B}">
  <ds:schemaRefs>
    <ds:schemaRef ds:uri="Strauss.PersonalizationDefinition"/>
  </ds:schemaRefs>
</ds:datastoreItem>
</file>

<file path=customXml/itemProps8.xml><?xml version="1.0" encoding="utf-8"?>
<ds:datastoreItem xmlns:ds="http://schemas.openxmlformats.org/officeDocument/2006/customXml" ds:itemID="{CD086AF5-CCD3-41C8-B98A-2B159789D38E}">
  <ds:schemaRefs>
    <ds:schemaRef ds:uri="Strauss.PersonalizationDefinition"/>
  </ds:schemaRefs>
</ds:datastoreItem>
</file>

<file path=customXml/itemProps9.xml><?xml version="1.0" encoding="utf-8"?>
<ds:datastoreItem xmlns:ds="http://schemas.openxmlformats.org/officeDocument/2006/customXml" ds:itemID="{F973FDFB-FA58-4AD2-82DD-0FDC63DA2482}">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39</TotalTime>
  <Words>18162</Words>
  <Application>Microsoft Office PowerPoint</Application>
  <PresentationFormat>Widescreen</PresentationFormat>
  <Paragraphs>1489</Paragraphs>
  <Slides>109</Slides>
  <Notes>106</Notes>
  <HiddenSlides>2</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109</vt:i4>
      </vt:variant>
    </vt:vector>
  </HeadingPairs>
  <TitlesOfParts>
    <vt:vector size="121" baseType="lpstr">
      <vt:lpstr>Arial</vt:lpstr>
      <vt:lpstr>Calibri Light</vt:lpstr>
      <vt:lpstr>Comic Sans MS</vt:lpstr>
      <vt:lpstr>Consolas</vt:lpstr>
      <vt:lpstr>Lucida Console</vt:lpstr>
      <vt:lpstr>Segoe UI</vt:lpstr>
      <vt:lpstr>Segoe UI Light</vt:lpstr>
      <vt:lpstr>Segoe UI Semibold</vt:lpstr>
      <vt:lpstr>Segoe UI Semilight</vt:lpstr>
      <vt:lpstr>Wingdings</vt:lpstr>
      <vt:lpstr>Wingdings 3</vt:lpstr>
      <vt:lpstr>Dark Blue</vt:lpstr>
      <vt:lpstr>Manage Security for Azure SQL Database</vt:lpstr>
      <vt:lpstr>PowerPoint Presentation</vt:lpstr>
      <vt:lpstr>Learning Units covered in this Module</vt:lpstr>
      <vt:lpstr>Lesson 1: Introduction to Azure SQL Database Security</vt:lpstr>
      <vt:lpstr>Objectives</vt:lpstr>
      <vt:lpstr>Azure SQL Database Security Layers</vt:lpstr>
      <vt:lpstr>Security Features for Azure SQL DB</vt:lpstr>
      <vt:lpstr>Types of data encryption </vt:lpstr>
      <vt:lpstr>Questions?</vt:lpstr>
      <vt:lpstr>Knowledge Check</vt:lpstr>
      <vt:lpstr>Lesson 2:  Implement Azure Active Directory Security</vt:lpstr>
      <vt:lpstr>Objectives</vt:lpstr>
      <vt:lpstr>Azure Active Directory(AAD) Security</vt:lpstr>
      <vt:lpstr>Three Types of AAD Authentication</vt:lpstr>
      <vt:lpstr>Benefits of AAD Authentication</vt:lpstr>
      <vt:lpstr>Trust architecture</vt:lpstr>
      <vt:lpstr>Demonstration</vt:lpstr>
      <vt:lpstr>Questions?</vt:lpstr>
      <vt:lpstr>Knowledge Check</vt:lpstr>
      <vt:lpstr>Lesson 3: Manage Logins in Azure SQL Database</vt:lpstr>
      <vt:lpstr>Objectives</vt:lpstr>
      <vt:lpstr>Unrestricted Administrative Accounts</vt:lpstr>
      <vt:lpstr>Administrator Access Path</vt:lpstr>
      <vt:lpstr>Additional Special Roles</vt:lpstr>
      <vt:lpstr>Additional Special Roles (continued)</vt:lpstr>
      <vt:lpstr>Non-administrator Users</vt:lpstr>
      <vt:lpstr>Non-administrator Access Path</vt:lpstr>
      <vt:lpstr>Groups and Roles</vt:lpstr>
      <vt:lpstr>Database Roles</vt:lpstr>
      <vt:lpstr>Naming Requirements</vt:lpstr>
      <vt:lpstr>Demonstration</vt:lpstr>
      <vt:lpstr>Questions?</vt:lpstr>
      <vt:lpstr>Knowledge Check</vt:lpstr>
      <vt:lpstr>Lesson 4: Implement Firewall Rules and Virtual Networks</vt:lpstr>
      <vt:lpstr>Objectives</vt:lpstr>
      <vt:lpstr>Securing your database with firewalls</vt:lpstr>
      <vt:lpstr>Firewall configuration using portal</vt:lpstr>
      <vt:lpstr>Firewall configuration using PowerShell/T-SQL</vt:lpstr>
      <vt:lpstr>Virtual Network service endpoints</vt:lpstr>
      <vt:lpstr>Private Link* for Azure SQL Database</vt:lpstr>
      <vt:lpstr>Questions?</vt:lpstr>
      <vt:lpstr>Knowledge Check</vt:lpstr>
      <vt:lpstr>Lesson 5: Implement Transparent Data Encryption</vt:lpstr>
      <vt:lpstr>Objectives</vt:lpstr>
      <vt:lpstr>Understanding TDE Functionality</vt:lpstr>
      <vt:lpstr>Encryption Keys</vt:lpstr>
      <vt:lpstr>Enable TDE Using Azure Portal</vt:lpstr>
      <vt:lpstr>TDE with customer-managed key (BYOK)</vt:lpstr>
      <vt:lpstr>Demonstration </vt:lpstr>
      <vt:lpstr>Questions?</vt:lpstr>
      <vt:lpstr>Knowledge Check</vt:lpstr>
      <vt:lpstr>Lesson 6: Implement Always Encrypted</vt:lpstr>
      <vt:lpstr>Objectives</vt:lpstr>
      <vt:lpstr>Always Encrypted</vt:lpstr>
      <vt:lpstr>Understanding Always Encrypted Functionality</vt:lpstr>
      <vt:lpstr>Understanding Always Encrypted Functionality (Contd.)</vt:lpstr>
      <vt:lpstr>Encryption Methodologies</vt:lpstr>
      <vt:lpstr>Enabling Always Encrypted on Azure SQL DB</vt:lpstr>
      <vt:lpstr>Enabling Always Encrypted on Azure SQL DB (contd.)</vt:lpstr>
      <vt:lpstr>Demonstration</vt:lpstr>
      <vt:lpstr>Implement Always Encrypted</vt:lpstr>
      <vt:lpstr>Always Encrypted - Challenges </vt:lpstr>
      <vt:lpstr>Questions?</vt:lpstr>
      <vt:lpstr>Knowledge Check</vt:lpstr>
      <vt:lpstr>Lesson 7: Implement Row Level Security</vt:lpstr>
      <vt:lpstr>Objectives</vt:lpstr>
      <vt:lpstr>Row Level Security (RLS)</vt:lpstr>
      <vt:lpstr>Understanding RLS Functionality</vt:lpstr>
      <vt:lpstr>RLS Implementation details</vt:lpstr>
      <vt:lpstr>Demonstration</vt:lpstr>
      <vt:lpstr>Implement Row Level Security</vt:lpstr>
      <vt:lpstr>Questions?</vt:lpstr>
      <vt:lpstr>Knowledge Check</vt:lpstr>
      <vt:lpstr>Lesson 8: Implement Dynamic Data Masking</vt:lpstr>
      <vt:lpstr>Objectives</vt:lpstr>
      <vt:lpstr>Dynamic Data Masking</vt:lpstr>
      <vt:lpstr>Understanding Dynamic Data Masking Functionality</vt:lpstr>
      <vt:lpstr>Enable Dynamic Data Masking on Azure SQL DB</vt:lpstr>
      <vt:lpstr>Demonstration </vt:lpstr>
      <vt:lpstr>Questions?</vt:lpstr>
      <vt:lpstr>Knowledge Check</vt:lpstr>
      <vt:lpstr>Lesson 9: Implement Auditing for Azure SQL Database</vt:lpstr>
      <vt:lpstr>Objectives</vt:lpstr>
      <vt:lpstr>SQL Auditing</vt:lpstr>
      <vt:lpstr>SQL Auditing (continued)</vt:lpstr>
      <vt:lpstr>Analyze audit logs and reports</vt:lpstr>
      <vt:lpstr>Demonstration </vt:lpstr>
      <vt:lpstr>Questions?</vt:lpstr>
      <vt:lpstr>Knowledge Check</vt:lpstr>
      <vt:lpstr>Lesson 10: Implement Advanced Data Security</vt:lpstr>
      <vt:lpstr>Objectives</vt:lpstr>
      <vt:lpstr>Advanced Data Security (ADS) </vt:lpstr>
      <vt:lpstr>Advanced Threat Detection</vt:lpstr>
      <vt:lpstr>Advanced Threat Detection (continued)</vt:lpstr>
      <vt:lpstr>How Threat Detection Works</vt:lpstr>
      <vt:lpstr>Azure SQL Database Threat Detection Alerts</vt:lpstr>
      <vt:lpstr>Demonstration</vt:lpstr>
      <vt:lpstr>Data Discovery and Classification</vt:lpstr>
      <vt:lpstr>Data Discovery and Classification (continued)</vt:lpstr>
      <vt:lpstr>Demonstration</vt:lpstr>
      <vt:lpstr>SQL Vulnerability Assessment</vt:lpstr>
      <vt:lpstr>SQL Vulnerability Assessment (continued)</vt:lpstr>
      <vt:lpstr>Using Vulnerability Assessment </vt:lpstr>
      <vt:lpstr>Demonstration</vt:lpstr>
      <vt:lpstr>Vulnerability Assessment</vt:lpstr>
      <vt:lpstr>Questions?</vt:lpstr>
      <vt:lpstr>Knowledge Check</vt:lpstr>
      <vt:lpstr>Module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e Security for Azure SQL Database</dc:title>
  <dc:creator>Renata Festa</dc:creator>
  <cp:lastModifiedBy>John Deardurff</cp:lastModifiedBy>
  <cp:revision>6</cp:revision>
  <dcterms:created xsi:type="dcterms:W3CDTF">2020-03-30T10:35:48Z</dcterms:created>
  <dcterms:modified xsi:type="dcterms:W3CDTF">2022-01-19T19:0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